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37.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8.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9.xml" ContentType="application/vnd.openxmlformats-officedocument.presentationml.tags+xml"/>
  <Override PartName="/ppt/notesSlides/notesSlide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4.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0.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19" r:id="rId4"/>
    <p:sldMasterId id="2147483779" r:id="rId5"/>
  </p:sldMasterIdLst>
  <p:notesMasterIdLst>
    <p:notesMasterId r:id="rId43"/>
  </p:notesMasterIdLst>
  <p:handoutMasterIdLst>
    <p:handoutMasterId r:id="rId44"/>
  </p:handoutMasterIdLst>
  <p:sldIdLst>
    <p:sldId id="2147480803" r:id="rId6"/>
    <p:sldId id="8942" r:id="rId7"/>
    <p:sldId id="2147480796" r:id="rId8"/>
    <p:sldId id="8957" r:id="rId9"/>
    <p:sldId id="2147480804" r:id="rId10"/>
    <p:sldId id="2147480805" r:id="rId11"/>
    <p:sldId id="2147480822" r:id="rId12"/>
    <p:sldId id="2147480758" r:id="rId13"/>
    <p:sldId id="8938" r:id="rId14"/>
    <p:sldId id="2145707172" r:id="rId15"/>
    <p:sldId id="2147480821" r:id="rId16"/>
    <p:sldId id="2147480783" r:id="rId17"/>
    <p:sldId id="2147480806" r:id="rId18"/>
    <p:sldId id="1063" r:id="rId19"/>
    <p:sldId id="1066" r:id="rId20"/>
    <p:sldId id="1067" r:id="rId21"/>
    <p:sldId id="2147480786" r:id="rId22"/>
    <p:sldId id="2147480808" r:id="rId23"/>
    <p:sldId id="8924" r:id="rId24"/>
    <p:sldId id="2147480761" r:id="rId25"/>
    <p:sldId id="8983" r:id="rId26"/>
    <p:sldId id="2147480810" r:id="rId27"/>
    <p:sldId id="2147480763" r:id="rId28"/>
    <p:sldId id="2147480818" r:id="rId29"/>
    <p:sldId id="406" r:id="rId30"/>
    <p:sldId id="423" r:id="rId31"/>
    <p:sldId id="2147480766" r:id="rId32"/>
    <p:sldId id="2147480820" r:id="rId33"/>
    <p:sldId id="2147480782" r:id="rId34"/>
    <p:sldId id="2147480819" r:id="rId35"/>
    <p:sldId id="2147480811" r:id="rId36"/>
    <p:sldId id="2147480813" r:id="rId37"/>
    <p:sldId id="2147480814" r:id="rId38"/>
    <p:sldId id="2147480815" r:id="rId39"/>
    <p:sldId id="2147480816" r:id="rId40"/>
    <p:sldId id="2147480817" r:id="rId41"/>
    <p:sldId id="321" r:id="rId42"/>
  </p:sldIdLst>
  <p:sldSz cx="12192000" cy="6858000"/>
  <p:notesSz cx="6888163" cy="10020300"/>
  <p:embeddedFontLst>
    <p:embeddedFont>
      <p:font typeface="Playfair Display" pitchFamily="2" charset="0"/>
      <p:regular r:id="rId45"/>
      <p:bold r:id="rId46"/>
      <p:italic r:id="rId47"/>
      <p:boldItalic r:id="rId48"/>
    </p:embeddedFont>
    <p:embeddedFont>
      <p:font typeface="Playfair Display Black" pitchFamily="2" charset="0"/>
      <p:bold r:id="rId49"/>
      <p:boldItalic r:id="rId50"/>
    </p:embeddedFont>
    <p:embeddedFont>
      <p:font typeface="Work Sans" pitchFamily="2" charset="0"/>
      <p:regular r:id="rId51"/>
      <p:italic r:id="rId52"/>
    </p:embeddedFont>
    <p:embeddedFont>
      <p:font typeface="Work Sans Light" pitchFamily="2" charset="0"/>
      <p:regular r:id="rId53"/>
      <p:italic r:id="rId54"/>
    </p:embeddedFont>
    <p:embeddedFont>
      <p:font typeface="Work Sans Light Italic" pitchFamily="2" charset="0"/>
      <p:italic r:id="rId55"/>
    </p:embeddedFont>
    <p:embeddedFont>
      <p:font typeface="WORK SANS LIGHT ROMAN" panose="020B0604020202020204" charset="0"/>
      <p:regular r:id="rId56"/>
    </p:embeddedFont>
    <p:embeddedFont>
      <p:font typeface="Work Sans Medium" pitchFamily="2" charset="0"/>
      <p:regular r:id="rId57"/>
      <p:italic r:id="rId58"/>
    </p:embeddedFont>
    <p:embeddedFont>
      <p:font typeface="Work Sans Medium Roman" panose="020B0604020202020204" charset="0"/>
      <p:regular r:id="rId59"/>
    </p:embeddedFont>
    <p:embeddedFont>
      <p:font typeface="Work Sans Regular Roman" panose="020B0604020202020204" charset="0"/>
      <p:regular r:id="rId60"/>
    </p:embeddedFont>
    <p:embeddedFont>
      <p:font typeface="Work Sans SemiBold" pitchFamily="2" charset="0"/>
      <p:bold r:id="rId61"/>
      <p:boldItalic r:id="rId6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etting started" id="{8C7C1331-13F1-4BE0-8CEE-0D7FC8C9F854}">
          <p14:sldIdLst>
            <p14:sldId id="2147480803"/>
            <p14:sldId id="8942"/>
            <p14:sldId id="2147480796"/>
            <p14:sldId id="8957"/>
            <p14:sldId id="2147480804"/>
            <p14:sldId id="2147480805"/>
            <p14:sldId id="2147480822"/>
            <p14:sldId id="2147480758"/>
            <p14:sldId id="8938"/>
            <p14:sldId id="2145707172"/>
            <p14:sldId id="2147480821"/>
            <p14:sldId id="2147480783"/>
            <p14:sldId id="2147480806"/>
            <p14:sldId id="1063"/>
            <p14:sldId id="1066"/>
            <p14:sldId id="1067"/>
            <p14:sldId id="2147480786"/>
            <p14:sldId id="2147480808"/>
            <p14:sldId id="8924"/>
            <p14:sldId id="2147480761"/>
            <p14:sldId id="8983"/>
            <p14:sldId id="2147480810"/>
            <p14:sldId id="2147480763"/>
            <p14:sldId id="2147480818"/>
            <p14:sldId id="406"/>
            <p14:sldId id="423"/>
            <p14:sldId id="2147480766"/>
            <p14:sldId id="2147480820"/>
            <p14:sldId id="2147480782"/>
            <p14:sldId id="2147480819"/>
            <p14:sldId id="2147480811"/>
            <p14:sldId id="2147480813"/>
            <p14:sldId id="2147480814"/>
            <p14:sldId id="2147480815"/>
            <p14:sldId id="2147480816"/>
            <p14:sldId id="2147480817"/>
            <p14:sldId id="321"/>
          </p14:sldIdLst>
        </p14:section>
        <p14:section name="Title and divider layouts" id="{24E8F389-49B4-47DB-A85F-6C68853B6A36}">
          <p14:sldIdLst/>
        </p14:section>
        <p14:section name="Presenter layouts" id="{5F4DF6E4-A831-4BC2-AC20-3F19F5189F1C}">
          <p14:sldIdLst/>
        </p14:section>
        <p14:section name="Agenda layouts" id="{8C85EB5B-73A7-4526-B353-FE5DFC811679}">
          <p14:sldIdLst/>
        </p14:section>
        <p14:section name="Text content layouts" id="{C5F6AEE2-3A8F-4BED-8EF1-9F5EEE7149A9}">
          <p14:sldIdLst/>
        </p14:section>
        <p14:section name="Picture layouts" id="{6D2AF64A-4BB8-400D-B4DD-1E4F15B2B6A5}">
          <p14:sldIdLst/>
        </p14:section>
        <p14:section name="Statistics layouts" id="{7B55C60E-0DAF-4F33-8656-7E9060E966B8}">
          <p14:sldIdLst/>
        </p14:section>
        <p14:section name="Statement layouts" id="{DB76DEC0-3D3B-4E72-9395-3F24DEB564FE}">
          <p14:sldIdLst/>
        </p14:section>
        <p14:section name="End layouts" id="{26553556-6602-48EE-AED6-4854B8837139}">
          <p14:sldIdLst/>
        </p14:section>
      </p14:sectionLst>
    </p:ext>
    <p:ext uri="{EFAFB233-063F-42B5-8137-9DF3F51BA10A}">
      <p15:sldGuideLst xmlns:p15="http://schemas.microsoft.com/office/powerpoint/2012/main">
        <p15:guide id="1" orient="horz" pos="2409" userDrawn="1">
          <p15:clr>
            <a:srgbClr val="A4A3A4"/>
          </p15:clr>
        </p15:guide>
        <p15:guide id="2" pos="3840" userDrawn="1">
          <p15:clr>
            <a:srgbClr val="A4A3A4"/>
          </p15:clr>
        </p15:guide>
        <p15:guide id="3" pos="7401" userDrawn="1">
          <p15:clr>
            <a:srgbClr val="A4A3A4"/>
          </p15:clr>
        </p15:guide>
        <p15:guide id="4" pos="279" userDrawn="1">
          <p15:clr>
            <a:srgbClr val="A4A3A4"/>
          </p15:clr>
        </p15:guide>
        <p15:guide id="5" orient="horz" pos="3861" userDrawn="1">
          <p15:clr>
            <a:srgbClr val="A4A3A4"/>
          </p15:clr>
        </p15:guide>
        <p15:guide id="6" orient="horz" pos="6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ABC"/>
    <a:srgbClr val="6EA2E8"/>
    <a:srgbClr val="1F67CA"/>
    <a:srgbClr val="000000"/>
    <a:srgbClr val="00264E"/>
    <a:srgbClr val="F2F3F7"/>
    <a:srgbClr val="00214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162" autoAdjust="0"/>
  </p:normalViewPr>
  <p:slideViewPr>
    <p:cSldViewPr snapToGrid="0" showGuides="1">
      <p:cViewPr varScale="1">
        <p:scale>
          <a:sx n="56" d="100"/>
          <a:sy n="56" d="100"/>
        </p:scale>
        <p:origin x="1000" y="40"/>
      </p:cViewPr>
      <p:guideLst>
        <p:guide orient="horz" pos="2409"/>
        <p:guide pos="3840"/>
        <p:guide pos="7401"/>
        <p:guide pos="279"/>
        <p:guide orient="horz" pos="3861"/>
        <p:guide orient="horz" pos="640"/>
      </p:guideLst>
    </p:cSldViewPr>
  </p:slideViewPr>
  <p:outlineViewPr>
    <p:cViewPr>
      <p:scale>
        <a:sx n="33" d="100"/>
        <a:sy n="33" d="100"/>
      </p:scale>
      <p:origin x="0" y="-2621"/>
    </p:cViewPr>
  </p:outlineViewPr>
  <p:notesTextViewPr>
    <p:cViewPr>
      <p:scale>
        <a:sx n="100" d="100"/>
        <a:sy n="100" d="100"/>
      </p:scale>
      <p:origin x="0" y="0"/>
    </p:cViewPr>
  </p:notesTextViewPr>
  <p:sorterViewPr>
    <p:cViewPr>
      <p:scale>
        <a:sx n="50" d="100"/>
        <a:sy n="50" d="100"/>
      </p:scale>
      <p:origin x="0" y="0"/>
    </p:cViewPr>
  </p:sorterViewPr>
  <p:notesViewPr>
    <p:cSldViewPr snapToGrid="0">
      <p:cViewPr>
        <p:scale>
          <a:sx n="150" d="100"/>
          <a:sy n="150" d="100"/>
        </p:scale>
        <p:origin x="1518" y="-237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font" Target="fonts/font11.fntdata"/><Relationship Id="rId63"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font" Target="fonts/font1.fntdata"/><Relationship Id="rId53" Type="http://schemas.openxmlformats.org/officeDocument/2006/relationships/font" Target="fonts/font9.fntdata"/><Relationship Id="rId58" Type="http://schemas.openxmlformats.org/officeDocument/2006/relationships/font" Target="fonts/font14.fntdata"/><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font" Target="fonts/font17.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font" Target="fonts/font4.fntdata"/><Relationship Id="rId56" Type="http://schemas.openxmlformats.org/officeDocument/2006/relationships/font" Target="fonts/font12.fntdata"/><Relationship Id="rId64"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font" Target="fonts/font7.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2.fntdata"/><Relationship Id="rId59" Type="http://schemas.openxmlformats.org/officeDocument/2006/relationships/font" Target="fonts/font15.fntdata"/><Relationship Id="rId67" Type="http://schemas.microsoft.com/office/2016/11/relationships/changesInfo" Target="changesInfos/changesInfo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10.fntdata"/><Relationship Id="rId62" Type="http://schemas.openxmlformats.org/officeDocument/2006/relationships/font" Target="fonts/font18.fntdata"/><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5.fntdata"/><Relationship Id="rId57" Type="http://schemas.openxmlformats.org/officeDocument/2006/relationships/font" Target="fonts/font13.fntdata"/><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handoutMaster" Target="handoutMasters/handoutMaster1.xml"/><Relationship Id="rId52" Type="http://schemas.openxmlformats.org/officeDocument/2006/relationships/font" Target="fonts/font8.fntdata"/><Relationship Id="rId60" Type="http://schemas.openxmlformats.org/officeDocument/2006/relationships/font" Target="fonts/font16.fntdata"/><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rlotte Leproust" userId="fb069689-236a-4d0f-9666-bf90f2b956d2" providerId="ADAL" clId="{348B9074-3BE0-408B-97AB-F4C231256F84}"/>
    <pc:docChg chg="undo custSel addSld delSld modSld sldOrd modSection">
      <pc:chgData name="Charlotte Leproust" userId="fb069689-236a-4d0f-9666-bf90f2b956d2" providerId="ADAL" clId="{348B9074-3BE0-408B-97AB-F4C231256F84}" dt="2025-06-06T12:35:58.564" v="4178" actId="113"/>
      <pc:docMkLst>
        <pc:docMk/>
      </pc:docMkLst>
      <pc:sldChg chg="delSp mod">
        <pc:chgData name="Charlotte Leproust" userId="fb069689-236a-4d0f-9666-bf90f2b956d2" providerId="ADAL" clId="{348B9074-3BE0-408B-97AB-F4C231256F84}" dt="2025-06-06T06:47:34.244" v="4069" actId="478"/>
        <pc:sldMkLst>
          <pc:docMk/>
          <pc:sldMk cId="809971149" sldId="321"/>
        </pc:sldMkLst>
      </pc:sldChg>
      <pc:sldChg chg="addSp delSp modSp add del mod setBg">
        <pc:chgData name="Charlotte Leproust" userId="fb069689-236a-4d0f-9666-bf90f2b956d2" providerId="ADAL" clId="{348B9074-3BE0-408B-97AB-F4C231256F84}" dt="2025-05-14T14:53:41.515" v="1314" actId="2696"/>
        <pc:sldMkLst>
          <pc:docMk/>
          <pc:sldMk cId="1002290623" sldId="324"/>
        </pc:sldMkLst>
      </pc:sldChg>
      <pc:sldChg chg="addSp delSp modSp add del mod setBg">
        <pc:chgData name="Charlotte Leproust" userId="fb069689-236a-4d0f-9666-bf90f2b956d2" providerId="ADAL" clId="{348B9074-3BE0-408B-97AB-F4C231256F84}" dt="2025-05-14T14:53:41.515" v="1314" actId="2696"/>
        <pc:sldMkLst>
          <pc:docMk/>
          <pc:sldMk cId="3078593513" sldId="325"/>
        </pc:sldMkLst>
      </pc:sldChg>
      <pc:sldChg chg="modSp add del mod setBg">
        <pc:chgData name="Charlotte Leproust" userId="fb069689-236a-4d0f-9666-bf90f2b956d2" providerId="ADAL" clId="{348B9074-3BE0-408B-97AB-F4C231256F84}" dt="2025-05-14T14:53:41.515" v="1314" actId="2696"/>
        <pc:sldMkLst>
          <pc:docMk/>
          <pc:sldMk cId="996723224" sldId="346"/>
        </pc:sldMkLst>
      </pc:sldChg>
      <pc:sldChg chg="modSp add del mod setBg">
        <pc:chgData name="Charlotte Leproust" userId="fb069689-236a-4d0f-9666-bf90f2b956d2" providerId="ADAL" clId="{348B9074-3BE0-408B-97AB-F4C231256F84}" dt="2025-05-14T14:53:41.515" v="1314" actId="2696"/>
        <pc:sldMkLst>
          <pc:docMk/>
          <pc:sldMk cId="3993215655" sldId="347"/>
        </pc:sldMkLst>
      </pc:sldChg>
      <pc:sldChg chg="addSp modSp add del mod setBg">
        <pc:chgData name="Charlotte Leproust" userId="fb069689-236a-4d0f-9666-bf90f2b956d2" providerId="ADAL" clId="{348B9074-3BE0-408B-97AB-F4C231256F84}" dt="2025-05-14T14:53:41.515" v="1314" actId="2696"/>
        <pc:sldMkLst>
          <pc:docMk/>
          <pc:sldMk cId="1000858608" sldId="348"/>
        </pc:sldMkLst>
      </pc:sldChg>
      <pc:sldChg chg="modSp mod">
        <pc:chgData name="Charlotte Leproust" userId="fb069689-236a-4d0f-9666-bf90f2b956d2" providerId="ADAL" clId="{348B9074-3BE0-408B-97AB-F4C231256F84}" dt="2025-05-15T09:57:33.635" v="3742" actId="255"/>
        <pc:sldMkLst>
          <pc:docMk/>
          <pc:sldMk cId="390288512" sldId="406"/>
        </pc:sldMkLst>
        <pc:spChg chg="mod">
          <ac:chgData name="Charlotte Leproust" userId="fb069689-236a-4d0f-9666-bf90f2b956d2" providerId="ADAL" clId="{348B9074-3BE0-408B-97AB-F4C231256F84}" dt="2025-05-15T09:57:33.635" v="3742" actId="255"/>
          <ac:spMkLst>
            <pc:docMk/>
            <pc:sldMk cId="390288512" sldId="406"/>
            <ac:spMk id="5" creationId="{13DA5B91-AC26-6CCA-7C9C-CC1125970B09}"/>
          </ac:spMkLst>
        </pc:spChg>
        <pc:spChg chg="mod">
          <ac:chgData name="Charlotte Leproust" userId="fb069689-236a-4d0f-9666-bf90f2b956d2" providerId="ADAL" clId="{348B9074-3BE0-408B-97AB-F4C231256F84}" dt="2025-05-15T09:57:33.635" v="3742" actId="255"/>
          <ac:spMkLst>
            <pc:docMk/>
            <pc:sldMk cId="390288512" sldId="406"/>
            <ac:spMk id="6" creationId="{5833DFE6-7B9A-71EE-56E0-83E206251DA7}"/>
          </ac:spMkLst>
        </pc:spChg>
        <pc:spChg chg="mod">
          <ac:chgData name="Charlotte Leproust" userId="fb069689-236a-4d0f-9666-bf90f2b956d2" providerId="ADAL" clId="{348B9074-3BE0-408B-97AB-F4C231256F84}" dt="2025-05-15T09:57:33.635" v="3742" actId="255"/>
          <ac:spMkLst>
            <pc:docMk/>
            <pc:sldMk cId="390288512" sldId="406"/>
            <ac:spMk id="7" creationId="{1D86EEE9-DDC3-AEF4-875C-857827AC6428}"/>
          </ac:spMkLst>
        </pc:spChg>
      </pc:sldChg>
      <pc:sldChg chg="modSp del mod">
        <pc:chgData name="Charlotte Leproust" userId="fb069689-236a-4d0f-9666-bf90f2b956d2" providerId="ADAL" clId="{348B9074-3BE0-408B-97AB-F4C231256F84}" dt="2025-05-13T07:02:47.046" v="20" actId="2696"/>
        <pc:sldMkLst>
          <pc:docMk/>
          <pc:sldMk cId="2723425120" sldId="411"/>
        </pc:sldMkLst>
      </pc:sldChg>
      <pc:sldChg chg="del">
        <pc:chgData name="Charlotte Leproust" userId="fb069689-236a-4d0f-9666-bf90f2b956d2" providerId="ADAL" clId="{348B9074-3BE0-408B-97AB-F4C231256F84}" dt="2025-05-15T09:47:24.410" v="3717" actId="47"/>
        <pc:sldMkLst>
          <pc:docMk/>
          <pc:sldMk cId="2225548392" sldId="414"/>
        </pc:sldMkLst>
      </pc:sldChg>
      <pc:sldChg chg="modSp mod">
        <pc:chgData name="Charlotte Leproust" userId="fb069689-236a-4d0f-9666-bf90f2b956d2" providerId="ADAL" clId="{348B9074-3BE0-408B-97AB-F4C231256F84}" dt="2025-05-15T09:57:38.550" v="3743" actId="255"/>
        <pc:sldMkLst>
          <pc:docMk/>
          <pc:sldMk cId="2765329921" sldId="423"/>
        </pc:sldMkLst>
        <pc:spChg chg="mod">
          <ac:chgData name="Charlotte Leproust" userId="fb069689-236a-4d0f-9666-bf90f2b956d2" providerId="ADAL" clId="{348B9074-3BE0-408B-97AB-F4C231256F84}" dt="2025-05-15T09:57:38.550" v="3743" actId="255"/>
          <ac:spMkLst>
            <pc:docMk/>
            <pc:sldMk cId="2765329921" sldId="423"/>
            <ac:spMk id="3" creationId="{937D1597-A2D8-4F0D-99E5-3F91E2AB20F8}"/>
          </ac:spMkLst>
        </pc:spChg>
        <pc:spChg chg="mod">
          <ac:chgData name="Charlotte Leproust" userId="fb069689-236a-4d0f-9666-bf90f2b956d2" providerId="ADAL" clId="{348B9074-3BE0-408B-97AB-F4C231256F84}" dt="2025-05-15T09:57:38.550" v="3743" actId="255"/>
          <ac:spMkLst>
            <pc:docMk/>
            <pc:sldMk cId="2765329921" sldId="423"/>
            <ac:spMk id="4" creationId="{1AA18CC5-B97A-46D1-97B2-3CD54F0DDD58}"/>
          </ac:spMkLst>
        </pc:spChg>
        <pc:spChg chg="mod">
          <ac:chgData name="Charlotte Leproust" userId="fb069689-236a-4d0f-9666-bf90f2b956d2" providerId="ADAL" clId="{348B9074-3BE0-408B-97AB-F4C231256F84}" dt="2025-05-15T09:57:38.550" v="3743" actId="255"/>
          <ac:spMkLst>
            <pc:docMk/>
            <pc:sldMk cId="2765329921" sldId="423"/>
            <ac:spMk id="5" creationId="{4F81821A-40BB-4311-B77A-C672FABB0B68}"/>
          </ac:spMkLst>
        </pc:spChg>
      </pc:sldChg>
      <pc:sldChg chg="modSp add del">
        <pc:chgData name="Charlotte Leproust" userId="fb069689-236a-4d0f-9666-bf90f2b956d2" providerId="ADAL" clId="{348B9074-3BE0-408B-97AB-F4C231256F84}" dt="2025-05-13T14:28:13.528" v="812" actId="2696"/>
        <pc:sldMkLst>
          <pc:docMk/>
          <pc:sldMk cId="3187370937" sldId="428"/>
        </pc:sldMkLst>
      </pc:sldChg>
      <pc:sldChg chg="modSp add del mod setBg">
        <pc:chgData name="Charlotte Leproust" userId="fb069689-236a-4d0f-9666-bf90f2b956d2" providerId="ADAL" clId="{348B9074-3BE0-408B-97AB-F4C231256F84}" dt="2025-05-14T14:53:41.515" v="1314" actId="2696"/>
        <pc:sldMkLst>
          <pc:docMk/>
          <pc:sldMk cId="3911471888" sldId="429"/>
        </pc:sldMkLst>
      </pc:sldChg>
      <pc:sldChg chg="modSp add del">
        <pc:chgData name="Charlotte Leproust" userId="fb069689-236a-4d0f-9666-bf90f2b956d2" providerId="ADAL" clId="{348B9074-3BE0-408B-97AB-F4C231256F84}" dt="2025-05-14T14:53:41.515" v="1314" actId="2696"/>
        <pc:sldMkLst>
          <pc:docMk/>
          <pc:sldMk cId="3945809622" sldId="431"/>
        </pc:sldMkLst>
      </pc:sldChg>
      <pc:sldChg chg="del">
        <pc:chgData name="Charlotte Leproust" userId="fb069689-236a-4d0f-9666-bf90f2b956d2" providerId="ADAL" clId="{348B9074-3BE0-408B-97AB-F4C231256F84}" dt="2025-05-15T09:47:24.410" v="3717" actId="47"/>
        <pc:sldMkLst>
          <pc:docMk/>
          <pc:sldMk cId="3460330748" sldId="512"/>
        </pc:sldMkLst>
      </pc:sldChg>
      <pc:sldChg chg="del">
        <pc:chgData name="Charlotte Leproust" userId="fb069689-236a-4d0f-9666-bf90f2b956d2" providerId="ADAL" clId="{348B9074-3BE0-408B-97AB-F4C231256F84}" dt="2025-05-15T09:47:24.410" v="3717" actId="47"/>
        <pc:sldMkLst>
          <pc:docMk/>
          <pc:sldMk cId="805325593" sldId="523"/>
        </pc:sldMkLst>
      </pc:sldChg>
      <pc:sldChg chg="del">
        <pc:chgData name="Charlotte Leproust" userId="fb069689-236a-4d0f-9666-bf90f2b956d2" providerId="ADAL" clId="{348B9074-3BE0-408B-97AB-F4C231256F84}" dt="2025-05-15T09:47:24.410" v="3717" actId="47"/>
        <pc:sldMkLst>
          <pc:docMk/>
          <pc:sldMk cId="117873722" sldId="525"/>
        </pc:sldMkLst>
      </pc:sldChg>
      <pc:sldChg chg="del">
        <pc:chgData name="Charlotte Leproust" userId="fb069689-236a-4d0f-9666-bf90f2b956d2" providerId="ADAL" clId="{348B9074-3BE0-408B-97AB-F4C231256F84}" dt="2025-05-15T09:47:24.410" v="3717" actId="47"/>
        <pc:sldMkLst>
          <pc:docMk/>
          <pc:sldMk cId="3128275975" sldId="535"/>
        </pc:sldMkLst>
      </pc:sldChg>
      <pc:sldChg chg="addSp delSp modSp add del mod setBg">
        <pc:chgData name="Charlotte Leproust" userId="fb069689-236a-4d0f-9666-bf90f2b956d2" providerId="ADAL" clId="{348B9074-3BE0-408B-97AB-F4C231256F84}" dt="2025-05-14T14:53:41.515" v="1314" actId="2696"/>
        <pc:sldMkLst>
          <pc:docMk/>
          <pc:sldMk cId="3324089072" sldId="547"/>
        </pc:sldMkLst>
      </pc:sldChg>
      <pc:sldChg chg="addSp delSp modSp del mod">
        <pc:chgData name="Charlotte Leproust" userId="fb069689-236a-4d0f-9666-bf90f2b956d2" providerId="ADAL" clId="{348B9074-3BE0-408B-97AB-F4C231256F84}" dt="2025-06-06T08:16:07.484" v="4111" actId="2696"/>
        <pc:sldMkLst>
          <pc:docMk/>
          <pc:sldMk cId="2744708951" sldId="995"/>
        </pc:sldMkLst>
      </pc:sldChg>
      <pc:sldChg chg="del ord">
        <pc:chgData name="Charlotte Leproust" userId="fb069689-236a-4d0f-9666-bf90f2b956d2" providerId="ADAL" clId="{348B9074-3BE0-408B-97AB-F4C231256F84}" dt="2025-06-06T07:30:34.825" v="4088" actId="2696"/>
        <pc:sldMkLst>
          <pc:docMk/>
          <pc:sldMk cId="1742471102" sldId="1030"/>
        </pc:sldMkLst>
      </pc:sldChg>
      <pc:sldChg chg="addSp delSp modSp del mod">
        <pc:chgData name="Charlotte Leproust" userId="fb069689-236a-4d0f-9666-bf90f2b956d2" providerId="ADAL" clId="{348B9074-3BE0-408B-97AB-F4C231256F84}" dt="2025-06-06T08:16:11.125" v="4112" actId="2696"/>
        <pc:sldMkLst>
          <pc:docMk/>
          <pc:sldMk cId="4145618170" sldId="1039"/>
        </pc:sldMkLst>
      </pc:sldChg>
      <pc:sldChg chg="modSp mod">
        <pc:chgData name="Charlotte Leproust" userId="fb069689-236a-4d0f-9666-bf90f2b956d2" providerId="ADAL" clId="{348B9074-3BE0-408B-97AB-F4C231256F84}" dt="2025-05-15T09:24:15.986" v="3128" actId="948"/>
        <pc:sldMkLst>
          <pc:docMk/>
          <pc:sldMk cId="4097741135" sldId="1063"/>
        </pc:sldMkLst>
        <pc:spChg chg="mod">
          <ac:chgData name="Charlotte Leproust" userId="fb069689-236a-4d0f-9666-bf90f2b956d2" providerId="ADAL" clId="{348B9074-3BE0-408B-97AB-F4C231256F84}" dt="2025-05-15T09:19:17.129" v="3082" actId="6549"/>
          <ac:spMkLst>
            <pc:docMk/>
            <pc:sldMk cId="4097741135" sldId="1063"/>
            <ac:spMk id="2" creationId="{60E62961-E51F-3CA1-77F5-2E6E94BD642D}"/>
          </ac:spMkLst>
        </pc:spChg>
        <pc:spChg chg="mod">
          <ac:chgData name="Charlotte Leproust" userId="fb069689-236a-4d0f-9666-bf90f2b956d2" providerId="ADAL" clId="{348B9074-3BE0-408B-97AB-F4C231256F84}" dt="2025-05-15T09:18:53.194" v="3079" actId="255"/>
          <ac:spMkLst>
            <pc:docMk/>
            <pc:sldMk cId="4097741135" sldId="1063"/>
            <ac:spMk id="3" creationId="{2E821794-F3C8-A1C4-D7C4-3748B348EA3D}"/>
          </ac:spMkLst>
        </pc:spChg>
        <pc:spChg chg="mod">
          <ac:chgData name="Charlotte Leproust" userId="fb069689-236a-4d0f-9666-bf90f2b956d2" providerId="ADAL" clId="{348B9074-3BE0-408B-97AB-F4C231256F84}" dt="2025-05-15T09:18:53.194" v="3079" actId="255"/>
          <ac:spMkLst>
            <pc:docMk/>
            <pc:sldMk cId="4097741135" sldId="1063"/>
            <ac:spMk id="4" creationId="{EE289586-481E-3BD0-171E-18A53DC299E9}"/>
          </ac:spMkLst>
        </pc:spChg>
        <pc:spChg chg="mod">
          <ac:chgData name="Charlotte Leproust" userId="fb069689-236a-4d0f-9666-bf90f2b956d2" providerId="ADAL" clId="{348B9074-3BE0-408B-97AB-F4C231256F84}" dt="2025-05-15T09:18:53.194" v="3079" actId="255"/>
          <ac:spMkLst>
            <pc:docMk/>
            <pc:sldMk cId="4097741135" sldId="1063"/>
            <ac:spMk id="5" creationId="{92566864-E2BA-E344-634C-A9222F7DD3D9}"/>
          </ac:spMkLst>
        </pc:spChg>
        <pc:spChg chg="mod">
          <ac:chgData name="Charlotte Leproust" userId="fb069689-236a-4d0f-9666-bf90f2b956d2" providerId="ADAL" clId="{348B9074-3BE0-408B-97AB-F4C231256F84}" dt="2025-05-15T09:24:15.986" v="3128" actId="948"/>
          <ac:spMkLst>
            <pc:docMk/>
            <pc:sldMk cId="4097741135" sldId="1063"/>
            <ac:spMk id="18" creationId="{31481767-0418-0F9D-BAFC-E034D8ECC640}"/>
          </ac:spMkLst>
        </pc:spChg>
        <pc:graphicFrameChg chg="mod">
          <ac:chgData name="Charlotte Leproust" userId="fb069689-236a-4d0f-9666-bf90f2b956d2" providerId="ADAL" clId="{348B9074-3BE0-408B-97AB-F4C231256F84}" dt="2025-05-15T09:21:20.752" v="3089" actId="255"/>
          <ac:graphicFrameMkLst>
            <pc:docMk/>
            <pc:sldMk cId="4097741135" sldId="1063"/>
            <ac:graphicFrameMk id="14" creationId="{A10402E1-105D-10F5-53D4-22730D8CA1CB}"/>
          </ac:graphicFrameMkLst>
        </pc:graphicFrameChg>
      </pc:sldChg>
      <pc:sldChg chg="addSp delSp modSp mod delAnim">
        <pc:chgData name="Charlotte Leproust" userId="fb069689-236a-4d0f-9666-bf90f2b956d2" providerId="ADAL" clId="{348B9074-3BE0-408B-97AB-F4C231256F84}" dt="2025-06-06T08:29:18.835" v="4176" actId="1076"/>
        <pc:sldMkLst>
          <pc:docMk/>
          <pc:sldMk cId="1889040559" sldId="1066"/>
        </pc:sldMkLst>
        <pc:spChg chg="mod">
          <ac:chgData name="Charlotte Leproust" userId="fb069689-236a-4d0f-9666-bf90f2b956d2" providerId="ADAL" clId="{348B9074-3BE0-408B-97AB-F4C231256F84}" dt="2025-05-15T09:18:59.171" v="3080" actId="255"/>
          <ac:spMkLst>
            <pc:docMk/>
            <pc:sldMk cId="1889040559" sldId="1066"/>
            <ac:spMk id="3" creationId="{F104A000-7B6E-2450-478C-0FE5B3D7471A}"/>
          </ac:spMkLst>
        </pc:spChg>
        <pc:spChg chg="mod">
          <ac:chgData name="Charlotte Leproust" userId="fb069689-236a-4d0f-9666-bf90f2b956d2" providerId="ADAL" clId="{348B9074-3BE0-408B-97AB-F4C231256F84}" dt="2025-05-15T09:18:59.171" v="3080" actId="255"/>
          <ac:spMkLst>
            <pc:docMk/>
            <pc:sldMk cId="1889040559" sldId="1066"/>
            <ac:spMk id="4" creationId="{0F06FAFC-7353-F08E-D7BB-A6B94FAD5323}"/>
          </ac:spMkLst>
        </pc:spChg>
        <pc:spChg chg="mod">
          <ac:chgData name="Charlotte Leproust" userId="fb069689-236a-4d0f-9666-bf90f2b956d2" providerId="ADAL" clId="{348B9074-3BE0-408B-97AB-F4C231256F84}" dt="2025-05-15T09:18:59.171" v="3080" actId="255"/>
          <ac:spMkLst>
            <pc:docMk/>
            <pc:sldMk cId="1889040559" sldId="1066"/>
            <ac:spMk id="5" creationId="{59CC0A6D-11CA-5E65-8A06-0C6D2870249D}"/>
          </ac:spMkLst>
        </pc:spChg>
        <pc:spChg chg="add mod">
          <ac:chgData name="Charlotte Leproust" userId="fb069689-236a-4d0f-9666-bf90f2b956d2" providerId="ADAL" clId="{348B9074-3BE0-408B-97AB-F4C231256F84}" dt="2025-06-06T08:20:01.379" v="4156" actId="1076"/>
          <ac:spMkLst>
            <pc:docMk/>
            <pc:sldMk cId="1889040559" sldId="1066"/>
            <ac:spMk id="7" creationId="{54648BBD-3363-363E-289A-7511BF046F5A}"/>
          </ac:spMkLst>
        </pc:spChg>
        <pc:spChg chg="mod">
          <ac:chgData name="Charlotte Leproust" userId="fb069689-236a-4d0f-9666-bf90f2b956d2" providerId="ADAL" clId="{348B9074-3BE0-408B-97AB-F4C231256F84}" dt="2025-06-06T08:29:18.835" v="4176" actId="1076"/>
          <ac:spMkLst>
            <pc:docMk/>
            <pc:sldMk cId="1889040559" sldId="1066"/>
            <ac:spMk id="9" creationId="{9C0B5CEC-D40C-FFE5-B48E-61AD8ACB65C3}"/>
          </ac:spMkLst>
        </pc:spChg>
        <pc:spChg chg="add mod">
          <ac:chgData name="Charlotte Leproust" userId="fb069689-236a-4d0f-9666-bf90f2b956d2" providerId="ADAL" clId="{348B9074-3BE0-408B-97AB-F4C231256F84}" dt="2025-06-06T08:28:48.093" v="4170" actId="1076"/>
          <ac:spMkLst>
            <pc:docMk/>
            <pc:sldMk cId="1889040559" sldId="1066"/>
            <ac:spMk id="10" creationId="{3F769696-D227-B9CC-AE30-D37573D6DF21}"/>
          </ac:spMkLst>
        </pc:spChg>
        <pc:spChg chg="add mod">
          <ac:chgData name="Charlotte Leproust" userId="fb069689-236a-4d0f-9666-bf90f2b956d2" providerId="ADAL" clId="{348B9074-3BE0-408B-97AB-F4C231256F84}" dt="2025-06-06T08:20:06.590" v="4157" actId="207"/>
          <ac:spMkLst>
            <pc:docMk/>
            <pc:sldMk cId="1889040559" sldId="1066"/>
            <ac:spMk id="13" creationId="{286BE2FC-CEE2-B805-0F2C-FAA65C6DE01E}"/>
          </ac:spMkLst>
        </pc:spChg>
        <pc:picChg chg="add mod">
          <ac:chgData name="Charlotte Leproust" userId="fb069689-236a-4d0f-9666-bf90f2b956d2" providerId="ADAL" clId="{348B9074-3BE0-408B-97AB-F4C231256F84}" dt="2025-06-06T08:28:50.054" v="4171" actId="1076"/>
          <ac:picMkLst>
            <pc:docMk/>
            <pc:sldMk cId="1889040559" sldId="1066"/>
            <ac:picMk id="1026" creationId="{E8C51CFB-73BE-8E69-0364-410CEF77958B}"/>
          </ac:picMkLst>
        </pc:picChg>
      </pc:sldChg>
      <pc:sldChg chg="addSp delSp modSp mod">
        <pc:chgData name="Charlotte Leproust" userId="fb069689-236a-4d0f-9666-bf90f2b956d2" providerId="ADAL" clId="{348B9074-3BE0-408B-97AB-F4C231256F84}" dt="2025-06-06T12:35:58.564" v="4178" actId="113"/>
        <pc:sldMkLst>
          <pc:docMk/>
          <pc:sldMk cId="2009415135" sldId="1067"/>
        </pc:sldMkLst>
        <pc:spChg chg="add del">
          <ac:chgData name="Charlotte Leproust" userId="fb069689-236a-4d0f-9666-bf90f2b956d2" providerId="ADAL" clId="{348B9074-3BE0-408B-97AB-F4C231256F84}" dt="2025-06-06T07:34:46.589" v="4094" actId="478"/>
          <ac:spMkLst>
            <pc:docMk/>
            <pc:sldMk cId="2009415135" sldId="1067"/>
            <ac:spMk id="8" creationId="{8126DBE5-B3A4-B9CD-43C1-D3F12CBF1C33}"/>
          </ac:spMkLst>
        </pc:spChg>
        <pc:graphicFrameChg chg="mod">
          <ac:chgData name="Charlotte Leproust" userId="fb069689-236a-4d0f-9666-bf90f2b956d2" providerId="ADAL" clId="{348B9074-3BE0-408B-97AB-F4C231256F84}" dt="2025-06-06T12:35:58.564" v="4178" actId="113"/>
          <ac:graphicFrameMkLst>
            <pc:docMk/>
            <pc:sldMk cId="2009415135" sldId="1067"/>
            <ac:graphicFrameMk id="14" creationId="{F636E444-D42A-6A87-9825-216033450724}"/>
          </ac:graphicFrameMkLst>
        </pc:graphicFrameChg>
        <pc:graphicFrameChg chg="add del mod">
          <ac:chgData name="Charlotte Leproust" userId="fb069689-236a-4d0f-9666-bf90f2b956d2" providerId="ADAL" clId="{348B9074-3BE0-408B-97AB-F4C231256F84}" dt="2025-06-06T07:35:17.817" v="4100" actId="113"/>
          <ac:graphicFrameMkLst>
            <pc:docMk/>
            <pc:sldMk cId="2009415135" sldId="1067"/>
            <ac:graphicFrameMk id="16" creationId="{409D889C-DD14-97AC-6530-1359011311D6}"/>
          </ac:graphicFrameMkLst>
        </pc:graphicFrameChg>
      </pc:sldChg>
      <pc:sldChg chg="del">
        <pc:chgData name="Charlotte Leproust" userId="fb069689-236a-4d0f-9666-bf90f2b956d2" providerId="ADAL" clId="{348B9074-3BE0-408B-97AB-F4C231256F84}" dt="2025-05-15T09:47:24.410" v="3717" actId="47"/>
        <pc:sldMkLst>
          <pc:docMk/>
          <pc:sldMk cId="2103710315" sldId="5826"/>
        </pc:sldMkLst>
      </pc:sldChg>
      <pc:sldChg chg="addSp delSp modSp add mod modClrScheme chgLayout">
        <pc:chgData name="Charlotte Leproust" userId="fb069689-236a-4d0f-9666-bf90f2b956d2" providerId="ADAL" clId="{348B9074-3BE0-408B-97AB-F4C231256F84}" dt="2025-05-15T09:36:56.826" v="3315" actId="6549"/>
        <pc:sldMkLst>
          <pc:docMk/>
          <pc:sldMk cId="1826819966" sldId="8924"/>
        </pc:sldMkLst>
        <pc:spChg chg="add mod">
          <ac:chgData name="Charlotte Leproust" userId="fb069689-236a-4d0f-9666-bf90f2b956d2" providerId="ADAL" clId="{348B9074-3BE0-408B-97AB-F4C231256F84}" dt="2025-05-15T09:36:56.826" v="3315" actId="6549"/>
          <ac:spMkLst>
            <pc:docMk/>
            <pc:sldMk cId="1826819966" sldId="8924"/>
            <ac:spMk id="3" creationId="{4E946871-16BE-5100-BC25-0C663E228BEE}"/>
          </ac:spMkLst>
        </pc:spChg>
        <pc:spChg chg="mod ord">
          <ac:chgData name="Charlotte Leproust" userId="fb069689-236a-4d0f-9666-bf90f2b956d2" providerId="ADAL" clId="{348B9074-3BE0-408B-97AB-F4C231256F84}" dt="2025-05-15T09:33:58.015" v="3239" actId="700"/>
          <ac:spMkLst>
            <pc:docMk/>
            <pc:sldMk cId="1826819966" sldId="8924"/>
            <ac:spMk id="5" creationId="{84675973-D00E-49E2-A91D-F08A97FF68EB}"/>
          </ac:spMkLst>
        </pc:spChg>
        <pc:spChg chg="mod ord">
          <ac:chgData name="Charlotte Leproust" userId="fb069689-236a-4d0f-9666-bf90f2b956d2" providerId="ADAL" clId="{348B9074-3BE0-408B-97AB-F4C231256F84}" dt="2025-05-15T09:33:58.015" v="3239" actId="700"/>
          <ac:spMkLst>
            <pc:docMk/>
            <pc:sldMk cId="1826819966" sldId="8924"/>
            <ac:spMk id="6" creationId="{E00537AC-7B90-4FDD-9028-4745512C8C6D}"/>
          </ac:spMkLst>
        </pc:spChg>
        <pc:spChg chg="mod ord">
          <ac:chgData name="Charlotte Leproust" userId="fb069689-236a-4d0f-9666-bf90f2b956d2" providerId="ADAL" clId="{348B9074-3BE0-408B-97AB-F4C231256F84}" dt="2025-05-15T09:33:58.015" v="3239" actId="700"/>
          <ac:spMkLst>
            <pc:docMk/>
            <pc:sldMk cId="1826819966" sldId="8924"/>
            <ac:spMk id="7" creationId="{60B596AD-114F-449A-9484-11BF9D96300D}"/>
          </ac:spMkLst>
        </pc:spChg>
        <pc:spChg chg="mod ord">
          <ac:chgData name="Charlotte Leproust" userId="fb069689-236a-4d0f-9666-bf90f2b956d2" providerId="ADAL" clId="{348B9074-3BE0-408B-97AB-F4C231256F84}" dt="2025-05-15T09:36:44.633" v="3299" actId="20577"/>
          <ac:spMkLst>
            <pc:docMk/>
            <pc:sldMk cId="1826819966" sldId="8924"/>
            <ac:spMk id="13" creationId="{0F32F665-CD7B-4BD9-990C-250A9AFD7E6B}"/>
          </ac:spMkLst>
        </pc:spChg>
        <pc:spChg chg="mod">
          <ac:chgData name="Charlotte Leproust" userId="fb069689-236a-4d0f-9666-bf90f2b956d2" providerId="ADAL" clId="{348B9074-3BE0-408B-97AB-F4C231256F84}" dt="2025-05-15T09:36:52.166" v="3311" actId="1076"/>
          <ac:spMkLst>
            <pc:docMk/>
            <pc:sldMk cId="1826819966" sldId="8924"/>
            <ac:spMk id="19" creationId="{A524F855-4027-47AC-9298-DE9771EF705F}"/>
          </ac:spMkLst>
        </pc:spChg>
        <pc:picChg chg="mod">
          <ac:chgData name="Charlotte Leproust" userId="fb069689-236a-4d0f-9666-bf90f2b956d2" providerId="ADAL" clId="{348B9074-3BE0-408B-97AB-F4C231256F84}" dt="2025-05-15T09:36:53.567" v="3312" actId="1076"/>
          <ac:picMkLst>
            <pc:docMk/>
            <pc:sldMk cId="1826819966" sldId="8924"/>
            <ac:picMk id="2" creationId="{CFA07830-32A9-D7B9-6CD3-28E21D9EDFFF}"/>
          </ac:picMkLst>
        </pc:picChg>
        <pc:picChg chg="mod">
          <ac:chgData name="Charlotte Leproust" userId="fb069689-236a-4d0f-9666-bf90f2b956d2" providerId="ADAL" clId="{348B9074-3BE0-408B-97AB-F4C231256F84}" dt="2025-05-15T09:36:49.246" v="3310" actId="1035"/>
          <ac:picMkLst>
            <pc:docMk/>
            <pc:sldMk cId="1826819966" sldId="8924"/>
            <ac:picMk id="18434" creationId="{959BFF66-641B-4D4A-A2CC-FC431D304CBF}"/>
          </ac:picMkLst>
        </pc:picChg>
      </pc:sldChg>
      <pc:sldChg chg="addSp modSp mod">
        <pc:chgData name="Charlotte Leproust" userId="fb069689-236a-4d0f-9666-bf90f2b956d2" providerId="ADAL" clId="{348B9074-3BE0-408B-97AB-F4C231256F84}" dt="2025-05-15T09:02:20.851" v="3006"/>
        <pc:sldMkLst>
          <pc:docMk/>
          <pc:sldMk cId="1752294994" sldId="8938"/>
        </pc:sldMkLst>
        <pc:spChg chg="mod">
          <ac:chgData name="Charlotte Leproust" userId="fb069689-236a-4d0f-9666-bf90f2b956d2" providerId="ADAL" clId="{348B9074-3BE0-408B-97AB-F4C231256F84}" dt="2025-05-15T09:00:47.713" v="3001" actId="947"/>
          <ac:spMkLst>
            <pc:docMk/>
            <pc:sldMk cId="1752294994" sldId="8938"/>
            <ac:spMk id="2" creationId="{664AC047-39B1-4AEA-ABB2-23DCDC9BAED1}"/>
          </ac:spMkLst>
        </pc:spChg>
        <pc:spChg chg="mod">
          <ac:chgData name="Charlotte Leproust" userId="fb069689-236a-4d0f-9666-bf90f2b956d2" providerId="ADAL" clId="{348B9074-3BE0-408B-97AB-F4C231256F84}" dt="2025-05-15T09:02:16.213" v="3005" actId="255"/>
          <ac:spMkLst>
            <pc:docMk/>
            <pc:sldMk cId="1752294994" sldId="8938"/>
            <ac:spMk id="4" creationId="{DCF25026-2421-4744-AC85-03293FA5B3D2}"/>
          </ac:spMkLst>
        </pc:spChg>
        <pc:spChg chg="add mod">
          <ac:chgData name="Charlotte Leproust" userId="fb069689-236a-4d0f-9666-bf90f2b956d2" providerId="ADAL" clId="{348B9074-3BE0-408B-97AB-F4C231256F84}" dt="2025-05-15T09:02:20.851" v="3006"/>
          <ac:spMkLst>
            <pc:docMk/>
            <pc:sldMk cId="1752294994" sldId="8938"/>
            <ac:spMk id="11" creationId="{24E4EC8D-8404-81E7-CBD3-C5D051BF7FEA}"/>
          </ac:spMkLst>
        </pc:spChg>
        <pc:spChg chg="add mod">
          <ac:chgData name="Charlotte Leproust" userId="fb069689-236a-4d0f-9666-bf90f2b956d2" providerId="ADAL" clId="{348B9074-3BE0-408B-97AB-F4C231256F84}" dt="2025-05-15T09:02:20.851" v="3006"/>
          <ac:spMkLst>
            <pc:docMk/>
            <pc:sldMk cId="1752294994" sldId="8938"/>
            <ac:spMk id="12" creationId="{D3F73961-EB61-47DB-BEAE-AEB7C60CF259}"/>
          </ac:spMkLst>
        </pc:spChg>
      </pc:sldChg>
      <pc:sldChg chg="addSp delSp modSp mod">
        <pc:chgData name="Charlotte Leproust" userId="fb069689-236a-4d0f-9666-bf90f2b956d2" providerId="ADAL" clId="{348B9074-3BE0-408B-97AB-F4C231256F84}" dt="2025-05-15T12:59:52.610" v="3823" actId="478"/>
        <pc:sldMkLst>
          <pc:docMk/>
          <pc:sldMk cId="3462001954" sldId="8942"/>
        </pc:sldMkLst>
        <pc:spChg chg="mod">
          <ac:chgData name="Charlotte Leproust" userId="fb069689-236a-4d0f-9666-bf90f2b956d2" providerId="ADAL" clId="{348B9074-3BE0-408B-97AB-F4C231256F84}" dt="2025-05-15T12:59:38.395" v="3789" actId="14100"/>
          <ac:spMkLst>
            <pc:docMk/>
            <pc:sldMk cId="3462001954" sldId="8942"/>
            <ac:spMk id="8" creationId="{D3CED123-99DC-35C1-5B40-209F723B77F0}"/>
          </ac:spMkLst>
        </pc:spChg>
        <pc:spChg chg="mod">
          <ac:chgData name="Charlotte Leproust" userId="fb069689-236a-4d0f-9666-bf90f2b956d2" providerId="ADAL" clId="{348B9074-3BE0-408B-97AB-F4C231256F84}" dt="2025-05-15T12:59:43.492" v="3806" actId="1036"/>
          <ac:spMkLst>
            <pc:docMk/>
            <pc:sldMk cId="3462001954" sldId="8942"/>
            <ac:spMk id="9" creationId="{68123127-BAF3-E7EC-B98E-192C803DB4FA}"/>
          </ac:spMkLst>
        </pc:spChg>
        <pc:spChg chg="mod">
          <ac:chgData name="Charlotte Leproust" userId="fb069689-236a-4d0f-9666-bf90f2b956d2" providerId="ADAL" clId="{348B9074-3BE0-408B-97AB-F4C231256F84}" dt="2025-05-14T14:57:56.938" v="1440" actId="1036"/>
          <ac:spMkLst>
            <pc:docMk/>
            <pc:sldMk cId="3462001954" sldId="8942"/>
            <ac:spMk id="13" creationId="{584B3C24-D76B-D46E-9037-660FCDF637B6}"/>
          </ac:spMkLst>
        </pc:spChg>
        <pc:spChg chg="mod">
          <ac:chgData name="Charlotte Leproust" userId="fb069689-236a-4d0f-9666-bf90f2b956d2" providerId="ADAL" clId="{348B9074-3BE0-408B-97AB-F4C231256F84}" dt="2025-05-15T12:59:50.308" v="3822" actId="20577"/>
          <ac:spMkLst>
            <pc:docMk/>
            <pc:sldMk cId="3462001954" sldId="8942"/>
            <ac:spMk id="16" creationId="{7784DFDD-21EE-35D3-FE16-A83BB1F7E7C4}"/>
          </ac:spMkLst>
        </pc:spChg>
      </pc:sldChg>
      <pc:sldChg chg="modSp mod">
        <pc:chgData name="Charlotte Leproust" userId="fb069689-236a-4d0f-9666-bf90f2b956d2" providerId="ADAL" clId="{348B9074-3BE0-408B-97AB-F4C231256F84}" dt="2025-05-15T08:34:48.526" v="2621" actId="255"/>
        <pc:sldMkLst>
          <pc:docMk/>
          <pc:sldMk cId="3989826500" sldId="8957"/>
        </pc:sldMkLst>
        <pc:spChg chg="mod">
          <ac:chgData name="Charlotte Leproust" userId="fb069689-236a-4d0f-9666-bf90f2b956d2" providerId="ADAL" clId="{348B9074-3BE0-408B-97AB-F4C231256F84}" dt="2025-05-15T08:34:22.531" v="2597" actId="1076"/>
          <ac:spMkLst>
            <pc:docMk/>
            <pc:sldMk cId="3989826500" sldId="8957"/>
            <ac:spMk id="2" creationId="{55710E2A-3444-3651-F8FA-1F7585600221}"/>
          </ac:spMkLst>
        </pc:spChg>
        <pc:spChg chg="mod">
          <ac:chgData name="Charlotte Leproust" userId="fb069689-236a-4d0f-9666-bf90f2b956d2" providerId="ADAL" clId="{348B9074-3BE0-408B-97AB-F4C231256F84}" dt="2025-05-15T08:34:48.526" v="2621" actId="255"/>
          <ac:spMkLst>
            <pc:docMk/>
            <pc:sldMk cId="3989826500" sldId="8957"/>
            <ac:spMk id="5" creationId="{84675973-D00E-49E2-A91D-F08A97FF68EB}"/>
          </ac:spMkLst>
        </pc:spChg>
        <pc:spChg chg="mod">
          <ac:chgData name="Charlotte Leproust" userId="fb069689-236a-4d0f-9666-bf90f2b956d2" providerId="ADAL" clId="{348B9074-3BE0-408B-97AB-F4C231256F84}" dt="2025-05-15T08:34:48.526" v="2621" actId="255"/>
          <ac:spMkLst>
            <pc:docMk/>
            <pc:sldMk cId="3989826500" sldId="8957"/>
            <ac:spMk id="6" creationId="{E00537AC-7B90-4FDD-9028-4745512C8C6D}"/>
          </ac:spMkLst>
        </pc:spChg>
        <pc:spChg chg="mod">
          <ac:chgData name="Charlotte Leproust" userId="fb069689-236a-4d0f-9666-bf90f2b956d2" providerId="ADAL" clId="{348B9074-3BE0-408B-97AB-F4C231256F84}" dt="2025-05-15T08:34:48.526" v="2621" actId="255"/>
          <ac:spMkLst>
            <pc:docMk/>
            <pc:sldMk cId="3989826500" sldId="8957"/>
            <ac:spMk id="7" creationId="{60B596AD-114F-449A-9484-11BF9D96300D}"/>
          </ac:spMkLst>
        </pc:spChg>
        <pc:spChg chg="mod">
          <ac:chgData name="Charlotte Leproust" userId="fb069689-236a-4d0f-9666-bf90f2b956d2" providerId="ADAL" clId="{348B9074-3BE0-408B-97AB-F4C231256F84}" dt="2025-05-15T08:34:35.943" v="2611" actId="20577"/>
          <ac:spMkLst>
            <pc:docMk/>
            <pc:sldMk cId="3989826500" sldId="8957"/>
            <ac:spMk id="9" creationId="{71FD5603-6A05-4133-8C40-BA0F036C74B9}"/>
          </ac:spMkLst>
        </pc:spChg>
        <pc:spChg chg="mod">
          <ac:chgData name="Charlotte Leproust" userId="fb069689-236a-4d0f-9666-bf90f2b956d2" providerId="ADAL" clId="{348B9074-3BE0-408B-97AB-F4C231256F84}" dt="2025-05-15T08:34:41.362" v="2620" actId="1035"/>
          <ac:spMkLst>
            <pc:docMk/>
            <pc:sldMk cId="3989826500" sldId="8957"/>
            <ac:spMk id="22" creationId="{BD6DBC4B-9430-174F-D6B2-D970074C382C}"/>
          </ac:spMkLst>
        </pc:spChg>
        <pc:grpChg chg="mod">
          <ac:chgData name="Charlotte Leproust" userId="fb069689-236a-4d0f-9666-bf90f2b956d2" providerId="ADAL" clId="{348B9074-3BE0-408B-97AB-F4C231256F84}" dt="2025-05-15T08:34:25.172" v="2598" actId="1076"/>
          <ac:grpSpMkLst>
            <pc:docMk/>
            <pc:sldMk cId="3989826500" sldId="8957"/>
            <ac:grpSpMk id="3" creationId="{D624F292-061E-BFDF-F5E9-F5A1892EC221}"/>
          </ac:grpSpMkLst>
        </pc:grpChg>
        <pc:grpChg chg="mod">
          <ac:chgData name="Charlotte Leproust" userId="fb069689-236a-4d0f-9666-bf90f2b956d2" providerId="ADAL" clId="{348B9074-3BE0-408B-97AB-F4C231256F84}" dt="2025-05-15T08:34:41.362" v="2620" actId="1035"/>
          <ac:grpSpMkLst>
            <pc:docMk/>
            <pc:sldMk cId="3989826500" sldId="8957"/>
            <ac:grpSpMk id="12" creationId="{2D7F4419-7E18-72D8-3D88-957CBFC2D279}"/>
          </ac:grpSpMkLst>
        </pc:grpChg>
        <pc:grpChg chg="mod">
          <ac:chgData name="Charlotte Leproust" userId="fb069689-236a-4d0f-9666-bf90f2b956d2" providerId="ADAL" clId="{348B9074-3BE0-408B-97AB-F4C231256F84}" dt="2025-05-15T08:34:31.195" v="2601" actId="1076"/>
          <ac:grpSpMkLst>
            <pc:docMk/>
            <pc:sldMk cId="3989826500" sldId="8957"/>
            <ac:grpSpMk id="39" creationId="{7DB31846-EAC1-DFA7-06BA-CA8D18A3390D}"/>
          </ac:grpSpMkLst>
        </pc:grpChg>
        <pc:picChg chg="mod">
          <ac:chgData name="Charlotte Leproust" userId="fb069689-236a-4d0f-9666-bf90f2b956d2" providerId="ADAL" clId="{348B9074-3BE0-408B-97AB-F4C231256F84}" dt="2025-05-15T08:34:41.362" v="2620" actId="1035"/>
          <ac:picMkLst>
            <pc:docMk/>
            <pc:sldMk cId="3989826500" sldId="8957"/>
            <ac:picMk id="15" creationId="{1F60EE86-7B4E-367B-6968-E20CD513A5A9}"/>
          </ac:picMkLst>
        </pc:picChg>
        <pc:picChg chg="mod">
          <ac:chgData name="Charlotte Leproust" userId="fb069689-236a-4d0f-9666-bf90f2b956d2" providerId="ADAL" clId="{348B9074-3BE0-408B-97AB-F4C231256F84}" dt="2025-05-15T08:34:41.362" v="2620" actId="1035"/>
          <ac:picMkLst>
            <pc:docMk/>
            <pc:sldMk cId="3989826500" sldId="8957"/>
            <ac:picMk id="31" creationId="{791E6AEC-A8AA-3507-E7D6-2E2D8CC982AF}"/>
          </ac:picMkLst>
        </pc:picChg>
        <pc:picChg chg="mod">
          <ac:chgData name="Charlotte Leproust" userId="fb069689-236a-4d0f-9666-bf90f2b956d2" providerId="ADAL" clId="{348B9074-3BE0-408B-97AB-F4C231256F84}" dt="2025-05-15T08:34:41.362" v="2620" actId="1035"/>
          <ac:picMkLst>
            <pc:docMk/>
            <pc:sldMk cId="3989826500" sldId="8957"/>
            <ac:picMk id="36" creationId="{05A70603-DCDE-91FA-456C-32BFE0556976}"/>
          </ac:picMkLst>
        </pc:picChg>
        <pc:picChg chg="mod">
          <ac:chgData name="Charlotte Leproust" userId="fb069689-236a-4d0f-9666-bf90f2b956d2" providerId="ADAL" clId="{348B9074-3BE0-408B-97AB-F4C231256F84}" dt="2025-05-15T08:34:41.362" v="2620" actId="1035"/>
          <ac:picMkLst>
            <pc:docMk/>
            <pc:sldMk cId="3989826500" sldId="8957"/>
            <ac:picMk id="37" creationId="{E0E0DA59-6911-C892-3DCD-1475F1227865}"/>
          </ac:picMkLst>
        </pc:picChg>
        <pc:picChg chg="mod">
          <ac:chgData name="Charlotte Leproust" userId="fb069689-236a-4d0f-9666-bf90f2b956d2" providerId="ADAL" clId="{348B9074-3BE0-408B-97AB-F4C231256F84}" dt="2025-05-15T08:34:41.362" v="2620" actId="1035"/>
          <ac:picMkLst>
            <pc:docMk/>
            <pc:sldMk cId="3989826500" sldId="8957"/>
            <ac:picMk id="38" creationId="{9C407042-3E48-D2AA-FADA-3301F5625F40}"/>
          </ac:picMkLst>
        </pc:picChg>
        <pc:picChg chg="mod">
          <ac:chgData name="Charlotte Leproust" userId="fb069689-236a-4d0f-9666-bf90f2b956d2" providerId="ADAL" clId="{348B9074-3BE0-408B-97AB-F4C231256F84}" dt="2025-05-15T08:34:41.362" v="2620" actId="1035"/>
          <ac:picMkLst>
            <pc:docMk/>
            <pc:sldMk cId="3989826500" sldId="8957"/>
            <ac:picMk id="42" creationId="{AEDFF42E-9E52-1E79-B850-941A9695EE10}"/>
          </ac:picMkLst>
        </pc:picChg>
        <pc:picChg chg="mod">
          <ac:chgData name="Charlotte Leproust" userId="fb069689-236a-4d0f-9666-bf90f2b956d2" providerId="ADAL" clId="{348B9074-3BE0-408B-97AB-F4C231256F84}" dt="2025-05-15T08:34:41.362" v="2620" actId="1035"/>
          <ac:picMkLst>
            <pc:docMk/>
            <pc:sldMk cId="3989826500" sldId="8957"/>
            <ac:picMk id="43" creationId="{2C216383-BD97-AB96-6863-C5C6F5DD41ED}"/>
          </ac:picMkLst>
        </pc:picChg>
      </pc:sldChg>
      <pc:sldChg chg="addSp delSp modSp add del mod setBg">
        <pc:chgData name="Charlotte Leproust" userId="fb069689-236a-4d0f-9666-bf90f2b956d2" providerId="ADAL" clId="{348B9074-3BE0-408B-97AB-F4C231256F84}" dt="2025-05-14T14:53:41.515" v="1314" actId="2696"/>
        <pc:sldMkLst>
          <pc:docMk/>
          <pc:sldMk cId="1466415987" sldId="2145707129"/>
        </pc:sldMkLst>
      </pc:sldChg>
      <pc:sldChg chg="addSp delSp modSp add del mod modClrScheme chgLayout">
        <pc:chgData name="Charlotte Leproust" userId="fb069689-236a-4d0f-9666-bf90f2b956d2" providerId="ADAL" clId="{348B9074-3BE0-408B-97AB-F4C231256F84}" dt="2025-05-14T14:53:41.515" v="1314" actId="2696"/>
        <pc:sldMkLst>
          <pc:docMk/>
          <pc:sldMk cId="62795161" sldId="2145707130"/>
        </pc:sldMkLst>
      </pc:sldChg>
      <pc:sldChg chg="addSp modSp add del mod setBg modClrScheme chgLayout">
        <pc:chgData name="Charlotte Leproust" userId="fb069689-236a-4d0f-9666-bf90f2b956d2" providerId="ADAL" clId="{348B9074-3BE0-408B-97AB-F4C231256F84}" dt="2025-05-14T14:53:41.515" v="1314" actId="2696"/>
        <pc:sldMkLst>
          <pc:docMk/>
          <pc:sldMk cId="11259408" sldId="2145707131"/>
        </pc:sldMkLst>
      </pc:sldChg>
      <pc:sldChg chg="addSp delSp modSp add del mod modClrScheme chgLayout">
        <pc:chgData name="Charlotte Leproust" userId="fb069689-236a-4d0f-9666-bf90f2b956d2" providerId="ADAL" clId="{348B9074-3BE0-408B-97AB-F4C231256F84}" dt="2025-05-13T13:29:56.437" v="722" actId="2696"/>
        <pc:sldMkLst>
          <pc:docMk/>
          <pc:sldMk cId="1944787763" sldId="2145707135"/>
        </pc:sldMkLst>
      </pc:sldChg>
      <pc:sldChg chg="modSp add del mod setBg">
        <pc:chgData name="Charlotte Leproust" userId="fb069689-236a-4d0f-9666-bf90f2b956d2" providerId="ADAL" clId="{348B9074-3BE0-408B-97AB-F4C231256F84}" dt="2025-05-14T14:53:41.515" v="1314" actId="2696"/>
        <pc:sldMkLst>
          <pc:docMk/>
          <pc:sldMk cId="3269540618" sldId="2145707136"/>
        </pc:sldMkLst>
      </pc:sldChg>
      <pc:sldChg chg="addSp delSp modSp add del mod setBg">
        <pc:chgData name="Charlotte Leproust" userId="fb069689-236a-4d0f-9666-bf90f2b956d2" providerId="ADAL" clId="{348B9074-3BE0-408B-97AB-F4C231256F84}" dt="2025-05-14T14:53:41.515" v="1314" actId="2696"/>
        <pc:sldMkLst>
          <pc:docMk/>
          <pc:sldMk cId="3697552899" sldId="2145707137"/>
        </pc:sldMkLst>
      </pc:sldChg>
      <pc:sldChg chg="addSp delSp modSp add del mod setBg">
        <pc:chgData name="Charlotte Leproust" userId="fb069689-236a-4d0f-9666-bf90f2b956d2" providerId="ADAL" clId="{348B9074-3BE0-408B-97AB-F4C231256F84}" dt="2025-05-14T14:53:41.515" v="1314" actId="2696"/>
        <pc:sldMkLst>
          <pc:docMk/>
          <pc:sldMk cId="1890189854" sldId="2145707138"/>
        </pc:sldMkLst>
      </pc:sldChg>
      <pc:sldChg chg="modSp add del mod setBg">
        <pc:chgData name="Charlotte Leproust" userId="fb069689-236a-4d0f-9666-bf90f2b956d2" providerId="ADAL" clId="{348B9074-3BE0-408B-97AB-F4C231256F84}" dt="2025-05-14T14:53:41.515" v="1314" actId="2696"/>
        <pc:sldMkLst>
          <pc:docMk/>
          <pc:sldMk cId="2024564530" sldId="2145707139"/>
        </pc:sldMkLst>
      </pc:sldChg>
      <pc:sldChg chg="add del">
        <pc:chgData name="Charlotte Leproust" userId="fb069689-236a-4d0f-9666-bf90f2b956d2" providerId="ADAL" clId="{348B9074-3BE0-408B-97AB-F4C231256F84}" dt="2025-05-14T14:53:41.515" v="1314" actId="2696"/>
        <pc:sldMkLst>
          <pc:docMk/>
          <pc:sldMk cId="3106652221" sldId="2145707140"/>
        </pc:sldMkLst>
      </pc:sldChg>
      <pc:sldChg chg="modSp add del mod setBg">
        <pc:chgData name="Charlotte Leproust" userId="fb069689-236a-4d0f-9666-bf90f2b956d2" providerId="ADAL" clId="{348B9074-3BE0-408B-97AB-F4C231256F84}" dt="2025-05-14T14:53:41.515" v="1314" actId="2696"/>
        <pc:sldMkLst>
          <pc:docMk/>
          <pc:sldMk cId="2422183649" sldId="2145707141"/>
        </pc:sldMkLst>
      </pc:sldChg>
      <pc:sldChg chg="addSp delSp modSp add del mod setBg">
        <pc:chgData name="Charlotte Leproust" userId="fb069689-236a-4d0f-9666-bf90f2b956d2" providerId="ADAL" clId="{348B9074-3BE0-408B-97AB-F4C231256F84}" dt="2025-05-14T14:53:41.515" v="1314" actId="2696"/>
        <pc:sldMkLst>
          <pc:docMk/>
          <pc:sldMk cId="2501021063" sldId="2145707143"/>
        </pc:sldMkLst>
      </pc:sldChg>
      <pc:sldChg chg="modSp add del">
        <pc:chgData name="Charlotte Leproust" userId="fb069689-236a-4d0f-9666-bf90f2b956d2" providerId="ADAL" clId="{348B9074-3BE0-408B-97AB-F4C231256F84}" dt="2025-05-14T14:53:41.515" v="1314" actId="2696"/>
        <pc:sldMkLst>
          <pc:docMk/>
          <pc:sldMk cId="573611958" sldId="2145707146"/>
        </pc:sldMkLst>
      </pc:sldChg>
      <pc:sldChg chg="modSp add del">
        <pc:chgData name="Charlotte Leproust" userId="fb069689-236a-4d0f-9666-bf90f2b956d2" providerId="ADAL" clId="{348B9074-3BE0-408B-97AB-F4C231256F84}" dt="2025-05-14T14:53:41.515" v="1314" actId="2696"/>
        <pc:sldMkLst>
          <pc:docMk/>
          <pc:sldMk cId="1166060833" sldId="2145707152"/>
        </pc:sldMkLst>
      </pc:sldChg>
      <pc:sldChg chg="del">
        <pc:chgData name="Charlotte Leproust" userId="fb069689-236a-4d0f-9666-bf90f2b956d2" providerId="ADAL" clId="{348B9074-3BE0-408B-97AB-F4C231256F84}" dt="2025-05-15T09:47:24.410" v="3717" actId="47"/>
        <pc:sldMkLst>
          <pc:docMk/>
          <pc:sldMk cId="2606724030" sldId="2145707159"/>
        </pc:sldMkLst>
      </pc:sldChg>
      <pc:sldChg chg="modSp add del mod setBg">
        <pc:chgData name="Charlotte Leproust" userId="fb069689-236a-4d0f-9666-bf90f2b956d2" providerId="ADAL" clId="{348B9074-3BE0-408B-97AB-F4C231256F84}" dt="2025-05-14T14:53:41.515" v="1314" actId="2696"/>
        <pc:sldMkLst>
          <pc:docMk/>
          <pc:sldMk cId="1078822452" sldId="2145707161"/>
        </pc:sldMkLst>
      </pc:sldChg>
      <pc:sldChg chg="modSp add del mod setBg">
        <pc:chgData name="Charlotte Leproust" userId="fb069689-236a-4d0f-9666-bf90f2b956d2" providerId="ADAL" clId="{348B9074-3BE0-408B-97AB-F4C231256F84}" dt="2025-05-14T14:53:41.515" v="1314" actId="2696"/>
        <pc:sldMkLst>
          <pc:docMk/>
          <pc:sldMk cId="581717601" sldId="2145707162"/>
        </pc:sldMkLst>
      </pc:sldChg>
      <pc:sldChg chg="addSp delSp modSp add del mod ord modClrScheme chgLayout">
        <pc:chgData name="Charlotte Leproust" userId="fb069689-236a-4d0f-9666-bf90f2b956d2" providerId="ADAL" clId="{348B9074-3BE0-408B-97AB-F4C231256F84}" dt="2025-05-14T14:53:41.515" v="1314" actId="2696"/>
        <pc:sldMkLst>
          <pc:docMk/>
          <pc:sldMk cId="3904512231" sldId="2145707163"/>
        </pc:sldMkLst>
      </pc:sldChg>
      <pc:sldChg chg="add del">
        <pc:chgData name="Charlotte Leproust" userId="fb069689-236a-4d0f-9666-bf90f2b956d2" providerId="ADAL" clId="{348B9074-3BE0-408B-97AB-F4C231256F84}" dt="2025-05-14T14:53:41.515" v="1314" actId="2696"/>
        <pc:sldMkLst>
          <pc:docMk/>
          <pc:sldMk cId="1201592368" sldId="2145707166"/>
        </pc:sldMkLst>
      </pc:sldChg>
      <pc:sldChg chg="modSp add del mod setBg">
        <pc:chgData name="Charlotte Leproust" userId="fb069689-236a-4d0f-9666-bf90f2b956d2" providerId="ADAL" clId="{348B9074-3BE0-408B-97AB-F4C231256F84}" dt="2025-05-14T14:53:41.515" v="1314" actId="2696"/>
        <pc:sldMkLst>
          <pc:docMk/>
          <pc:sldMk cId="2114213257" sldId="2145707167"/>
        </pc:sldMkLst>
      </pc:sldChg>
      <pc:sldChg chg="modSp add del mod setBg">
        <pc:chgData name="Charlotte Leproust" userId="fb069689-236a-4d0f-9666-bf90f2b956d2" providerId="ADAL" clId="{348B9074-3BE0-408B-97AB-F4C231256F84}" dt="2025-05-14T14:53:41.515" v="1314" actId="2696"/>
        <pc:sldMkLst>
          <pc:docMk/>
          <pc:sldMk cId="2089388955" sldId="2145707168"/>
        </pc:sldMkLst>
      </pc:sldChg>
      <pc:sldChg chg="modSp add del setBg">
        <pc:chgData name="Charlotte Leproust" userId="fb069689-236a-4d0f-9666-bf90f2b956d2" providerId="ADAL" clId="{348B9074-3BE0-408B-97AB-F4C231256F84}" dt="2025-05-14T14:53:41.515" v="1314" actId="2696"/>
        <pc:sldMkLst>
          <pc:docMk/>
          <pc:sldMk cId="2171279358" sldId="2145707171"/>
        </pc:sldMkLst>
      </pc:sldChg>
      <pc:sldChg chg="addSp modSp mod ord">
        <pc:chgData name="Charlotte Leproust" userId="fb069689-236a-4d0f-9666-bf90f2b956d2" providerId="ADAL" clId="{348B9074-3BE0-408B-97AB-F4C231256F84}" dt="2025-05-15T09:02:04.817" v="3003" actId="255"/>
        <pc:sldMkLst>
          <pc:docMk/>
          <pc:sldMk cId="447660342" sldId="2145707172"/>
        </pc:sldMkLst>
        <pc:spChg chg="mod">
          <ac:chgData name="Charlotte Leproust" userId="fb069689-236a-4d0f-9666-bf90f2b956d2" providerId="ADAL" clId="{348B9074-3BE0-408B-97AB-F4C231256F84}" dt="2025-05-15T08:56:39.235" v="2795" actId="113"/>
          <ac:spMkLst>
            <pc:docMk/>
            <pc:sldMk cId="447660342" sldId="2145707172"/>
            <ac:spMk id="2" creationId="{270731AB-0C40-B20C-7010-94A4F016C5E7}"/>
          </ac:spMkLst>
        </pc:spChg>
        <pc:spChg chg="mod">
          <ac:chgData name="Charlotte Leproust" userId="fb069689-236a-4d0f-9666-bf90f2b956d2" providerId="ADAL" clId="{348B9074-3BE0-408B-97AB-F4C231256F84}" dt="2025-05-15T09:02:04.817" v="3003" actId="255"/>
          <ac:spMkLst>
            <pc:docMk/>
            <pc:sldMk cId="447660342" sldId="2145707172"/>
            <ac:spMk id="3" creationId="{9EC1B088-F20A-51BD-C03A-6A11CB15C7F0}"/>
          </ac:spMkLst>
        </pc:spChg>
        <pc:spChg chg="mod">
          <ac:chgData name="Charlotte Leproust" userId="fb069689-236a-4d0f-9666-bf90f2b956d2" providerId="ADAL" clId="{348B9074-3BE0-408B-97AB-F4C231256F84}" dt="2025-05-15T09:02:04.817" v="3003" actId="255"/>
          <ac:spMkLst>
            <pc:docMk/>
            <pc:sldMk cId="447660342" sldId="2145707172"/>
            <ac:spMk id="4" creationId="{6CDFF808-92D8-82F1-E7AE-C73EAEBCD676}"/>
          </ac:spMkLst>
        </pc:spChg>
        <pc:spChg chg="mod">
          <ac:chgData name="Charlotte Leproust" userId="fb069689-236a-4d0f-9666-bf90f2b956d2" providerId="ADAL" clId="{348B9074-3BE0-408B-97AB-F4C231256F84}" dt="2025-05-15T08:56:54.691" v="2804" actId="113"/>
          <ac:spMkLst>
            <pc:docMk/>
            <pc:sldMk cId="447660342" sldId="2145707172"/>
            <ac:spMk id="5" creationId="{80F53FCF-2962-A5C4-6FD2-8F2F123FE5C9}"/>
          </ac:spMkLst>
        </pc:spChg>
        <pc:spChg chg="mod">
          <ac:chgData name="Charlotte Leproust" userId="fb069689-236a-4d0f-9666-bf90f2b956d2" providerId="ADAL" clId="{348B9074-3BE0-408B-97AB-F4C231256F84}" dt="2025-05-15T08:56:47.960" v="2800" actId="113"/>
          <ac:spMkLst>
            <pc:docMk/>
            <pc:sldMk cId="447660342" sldId="2145707172"/>
            <ac:spMk id="6" creationId="{0FFF0B68-C7A0-0C83-30F8-F3737ECCAEC0}"/>
          </ac:spMkLst>
        </pc:spChg>
        <pc:spChg chg="mod">
          <ac:chgData name="Charlotte Leproust" userId="fb069689-236a-4d0f-9666-bf90f2b956d2" providerId="ADAL" clId="{348B9074-3BE0-408B-97AB-F4C231256F84}" dt="2025-05-15T09:02:04.817" v="3003" actId="255"/>
          <ac:spMkLst>
            <pc:docMk/>
            <pc:sldMk cId="447660342" sldId="2145707172"/>
            <ac:spMk id="7" creationId="{9CBEE90C-FF64-5AFC-FE68-91524ADBEE24}"/>
          </ac:spMkLst>
        </pc:spChg>
        <pc:spChg chg="add mod">
          <ac:chgData name="Charlotte Leproust" userId="fb069689-236a-4d0f-9666-bf90f2b956d2" providerId="ADAL" clId="{348B9074-3BE0-408B-97AB-F4C231256F84}" dt="2025-05-15T08:55:51.498" v="2786" actId="255"/>
          <ac:spMkLst>
            <pc:docMk/>
            <pc:sldMk cId="447660342" sldId="2145707172"/>
            <ac:spMk id="8" creationId="{E0ADEA2C-2545-9398-F8F3-C0CCBEBA1859}"/>
          </ac:spMkLst>
        </pc:spChg>
        <pc:spChg chg="add mod">
          <ac:chgData name="Charlotte Leproust" userId="fb069689-236a-4d0f-9666-bf90f2b956d2" providerId="ADAL" clId="{348B9074-3BE0-408B-97AB-F4C231256F84}" dt="2025-05-15T08:56:05.331" v="2790" actId="1038"/>
          <ac:spMkLst>
            <pc:docMk/>
            <pc:sldMk cId="447660342" sldId="2145707172"/>
            <ac:spMk id="9" creationId="{27A1268F-B2EA-993E-5106-32B566B83B16}"/>
          </ac:spMkLst>
        </pc:spChg>
        <pc:spChg chg="mod">
          <ac:chgData name="Charlotte Leproust" userId="fb069689-236a-4d0f-9666-bf90f2b956d2" providerId="ADAL" clId="{348B9074-3BE0-408B-97AB-F4C231256F84}" dt="2025-05-15T08:57:38.228" v="2843" actId="255"/>
          <ac:spMkLst>
            <pc:docMk/>
            <pc:sldMk cId="447660342" sldId="2145707172"/>
            <ac:spMk id="10" creationId="{340BE811-89C0-A23B-4A89-CEFF45CCDF9E}"/>
          </ac:spMkLst>
        </pc:spChg>
        <pc:spChg chg="add mod">
          <ac:chgData name="Charlotte Leproust" userId="fb069689-236a-4d0f-9666-bf90f2b956d2" providerId="ADAL" clId="{348B9074-3BE0-408B-97AB-F4C231256F84}" dt="2025-05-15T08:56:09.983" v="2792" actId="1076"/>
          <ac:spMkLst>
            <pc:docMk/>
            <pc:sldMk cId="447660342" sldId="2145707172"/>
            <ac:spMk id="16" creationId="{B54144A8-453E-5717-4855-BDEB9F93FC81}"/>
          </ac:spMkLst>
        </pc:spChg>
        <pc:graphicFrameChg chg="mod">
          <ac:chgData name="Charlotte Leproust" userId="fb069689-236a-4d0f-9666-bf90f2b956d2" providerId="ADAL" clId="{348B9074-3BE0-408B-97AB-F4C231256F84}" dt="2025-05-15T08:53:29.697" v="2767" actId="207"/>
          <ac:graphicFrameMkLst>
            <pc:docMk/>
            <pc:sldMk cId="447660342" sldId="2145707172"/>
            <ac:graphicFrameMk id="11" creationId="{45231730-F72E-A758-0AFC-6F477ABBD3AD}"/>
          </ac:graphicFrameMkLst>
        </pc:graphicFrameChg>
        <pc:graphicFrameChg chg="mod">
          <ac:chgData name="Charlotte Leproust" userId="fb069689-236a-4d0f-9666-bf90f2b956d2" providerId="ADAL" clId="{348B9074-3BE0-408B-97AB-F4C231256F84}" dt="2025-05-15T08:53:41.630" v="2773" actId="207"/>
          <ac:graphicFrameMkLst>
            <pc:docMk/>
            <pc:sldMk cId="447660342" sldId="2145707172"/>
            <ac:graphicFrameMk id="13" creationId="{0FDDDDF6-DCC2-0B8D-7231-CD1E5B2D7D96}"/>
          </ac:graphicFrameMkLst>
        </pc:graphicFrameChg>
        <pc:graphicFrameChg chg="mod">
          <ac:chgData name="Charlotte Leproust" userId="fb069689-236a-4d0f-9666-bf90f2b956d2" providerId="ADAL" clId="{348B9074-3BE0-408B-97AB-F4C231256F84}" dt="2025-05-15T08:53:52.171" v="2777" actId="207"/>
          <ac:graphicFrameMkLst>
            <pc:docMk/>
            <pc:sldMk cId="447660342" sldId="2145707172"/>
            <ac:graphicFrameMk id="14" creationId="{B0CF1BC0-3812-E59B-0FF9-BCC32ADB09A0}"/>
          </ac:graphicFrameMkLst>
        </pc:graphicFrameChg>
      </pc:sldChg>
      <pc:sldChg chg="modSp add del mod setBg">
        <pc:chgData name="Charlotte Leproust" userId="fb069689-236a-4d0f-9666-bf90f2b956d2" providerId="ADAL" clId="{348B9074-3BE0-408B-97AB-F4C231256F84}" dt="2025-05-14T14:53:41.515" v="1314" actId="2696"/>
        <pc:sldMkLst>
          <pc:docMk/>
          <pc:sldMk cId="3156435776" sldId="2145707173"/>
        </pc:sldMkLst>
      </pc:sldChg>
      <pc:sldChg chg="addSp delSp modSp add del mod setBg">
        <pc:chgData name="Charlotte Leproust" userId="fb069689-236a-4d0f-9666-bf90f2b956d2" providerId="ADAL" clId="{348B9074-3BE0-408B-97AB-F4C231256F84}" dt="2025-05-14T14:53:41.515" v="1314" actId="2696"/>
        <pc:sldMkLst>
          <pc:docMk/>
          <pc:sldMk cId="1203582660" sldId="2145707175"/>
        </pc:sldMkLst>
      </pc:sldChg>
      <pc:sldChg chg="addSp delSp modSp add del mod setBg">
        <pc:chgData name="Charlotte Leproust" userId="fb069689-236a-4d0f-9666-bf90f2b956d2" providerId="ADAL" clId="{348B9074-3BE0-408B-97AB-F4C231256F84}" dt="2025-05-14T14:53:41.515" v="1314" actId="2696"/>
        <pc:sldMkLst>
          <pc:docMk/>
          <pc:sldMk cId="1398954520" sldId="2145707176"/>
        </pc:sldMkLst>
      </pc:sldChg>
      <pc:sldChg chg="addSp modSp add del mod">
        <pc:chgData name="Charlotte Leproust" userId="fb069689-236a-4d0f-9666-bf90f2b956d2" providerId="ADAL" clId="{348B9074-3BE0-408B-97AB-F4C231256F84}" dt="2025-05-14T14:53:41.515" v="1314" actId="2696"/>
        <pc:sldMkLst>
          <pc:docMk/>
          <pc:sldMk cId="2767185807" sldId="2145707178"/>
        </pc:sldMkLst>
      </pc:sldChg>
      <pc:sldChg chg="del">
        <pc:chgData name="Charlotte Leproust" userId="fb069689-236a-4d0f-9666-bf90f2b956d2" providerId="ADAL" clId="{348B9074-3BE0-408B-97AB-F4C231256F84}" dt="2025-05-15T09:47:24.410" v="3717" actId="47"/>
        <pc:sldMkLst>
          <pc:docMk/>
          <pc:sldMk cId="2187660455" sldId="2145707179"/>
        </pc:sldMkLst>
      </pc:sldChg>
      <pc:sldChg chg="modSp add del">
        <pc:chgData name="Charlotte Leproust" userId="fb069689-236a-4d0f-9666-bf90f2b956d2" providerId="ADAL" clId="{348B9074-3BE0-408B-97AB-F4C231256F84}" dt="2025-05-14T14:53:41.515" v="1314" actId="2696"/>
        <pc:sldMkLst>
          <pc:docMk/>
          <pc:sldMk cId="1585149509" sldId="2145707180"/>
        </pc:sldMkLst>
      </pc:sldChg>
      <pc:sldChg chg="modSp add del mod">
        <pc:chgData name="Charlotte Leproust" userId="fb069689-236a-4d0f-9666-bf90f2b956d2" providerId="ADAL" clId="{348B9074-3BE0-408B-97AB-F4C231256F84}" dt="2025-05-14T14:53:41.515" v="1314" actId="2696"/>
        <pc:sldMkLst>
          <pc:docMk/>
          <pc:sldMk cId="2641726558" sldId="2145707181"/>
        </pc:sldMkLst>
      </pc:sldChg>
      <pc:sldChg chg="del">
        <pc:chgData name="Charlotte Leproust" userId="fb069689-236a-4d0f-9666-bf90f2b956d2" providerId="ADAL" clId="{348B9074-3BE0-408B-97AB-F4C231256F84}" dt="2025-05-15T09:47:24.410" v="3717" actId="47"/>
        <pc:sldMkLst>
          <pc:docMk/>
          <pc:sldMk cId="1109359373" sldId="2145707734"/>
        </pc:sldMkLst>
      </pc:sldChg>
      <pc:sldChg chg="del">
        <pc:chgData name="Charlotte Leproust" userId="fb069689-236a-4d0f-9666-bf90f2b956d2" providerId="ADAL" clId="{348B9074-3BE0-408B-97AB-F4C231256F84}" dt="2025-05-15T09:47:24.410" v="3717" actId="47"/>
        <pc:sldMkLst>
          <pc:docMk/>
          <pc:sldMk cId="2524555633" sldId="2145707737"/>
        </pc:sldMkLst>
      </pc:sldChg>
      <pc:sldChg chg="del">
        <pc:chgData name="Charlotte Leproust" userId="fb069689-236a-4d0f-9666-bf90f2b956d2" providerId="ADAL" clId="{348B9074-3BE0-408B-97AB-F4C231256F84}" dt="2025-05-15T09:47:24.410" v="3717" actId="47"/>
        <pc:sldMkLst>
          <pc:docMk/>
          <pc:sldMk cId="379127017" sldId="2145707738"/>
        </pc:sldMkLst>
      </pc:sldChg>
      <pc:sldChg chg="del">
        <pc:chgData name="Charlotte Leproust" userId="fb069689-236a-4d0f-9666-bf90f2b956d2" providerId="ADAL" clId="{348B9074-3BE0-408B-97AB-F4C231256F84}" dt="2025-05-15T09:47:24.410" v="3717" actId="47"/>
        <pc:sldMkLst>
          <pc:docMk/>
          <pc:sldMk cId="513180089" sldId="2145707739"/>
        </pc:sldMkLst>
      </pc:sldChg>
      <pc:sldChg chg="modSp mod">
        <pc:chgData name="Charlotte Leproust" userId="fb069689-236a-4d0f-9666-bf90f2b956d2" providerId="ADAL" clId="{348B9074-3BE0-408B-97AB-F4C231256F84}" dt="2025-05-15T09:02:35.779" v="3008" actId="255"/>
        <pc:sldMkLst>
          <pc:docMk/>
          <pc:sldMk cId="250933711" sldId="2147480758"/>
        </pc:sldMkLst>
        <pc:spChg chg="mod">
          <ac:chgData name="Charlotte Leproust" userId="fb069689-236a-4d0f-9666-bf90f2b956d2" providerId="ADAL" clId="{348B9074-3BE0-408B-97AB-F4C231256F84}" dt="2025-05-15T09:02:35.779" v="3008" actId="255"/>
          <ac:spMkLst>
            <pc:docMk/>
            <pc:sldMk cId="250933711" sldId="2147480758"/>
            <ac:spMk id="3" creationId="{242CDEC3-92A5-1762-E110-29B882F7B2B8}"/>
          </ac:spMkLst>
        </pc:spChg>
        <pc:spChg chg="mod">
          <ac:chgData name="Charlotte Leproust" userId="fb069689-236a-4d0f-9666-bf90f2b956d2" providerId="ADAL" clId="{348B9074-3BE0-408B-97AB-F4C231256F84}" dt="2025-05-15T09:02:35.779" v="3008" actId="255"/>
          <ac:spMkLst>
            <pc:docMk/>
            <pc:sldMk cId="250933711" sldId="2147480758"/>
            <ac:spMk id="4" creationId="{BE0964E4-99FC-FF51-CE69-21F543427847}"/>
          </ac:spMkLst>
        </pc:spChg>
        <pc:spChg chg="mod">
          <ac:chgData name="Charlotte Leproust" userId="fb069689-236a-4d0f-9666-bf90f2b956d2" providerId="ADAL" clId="{348B9074-3BE0-408B-97AB-F4C231256F84}" dt="2025-05-15T08:57:58.418" v="2847" actId="20577"/>
          <ac:spMkLst>
            <pc:docMk/>
            <pc:sldMk cId="250933711" sldId="2147480758"/>
            <ac:spMk id="5" creationId="{D9C2EB66-D2F5-6C36-D2E2-DE6932BF275C}"/>
          </ac:spMkLst>
        </pc:spChg>
        <pc:spChg chg="mod">
          <ac:chgData name="Charlotte Leproust" userId="fb069689-236a-4d0f-9666-bf90f2b956d2" providerId="ADAL" clId="{348B9074-3BE0-408B-97AB-F4C231256F84}" dt="2025-05-15T09:02:35.779" v="3008" actId="255"/>
          <ac:spMkLst>
            <pc:docMk/>
            <pc:sldMk cId="250933711" sldId="2147480758"/>
            <ac:spMk id="7" creationId="{6310EFB9-F639-C5E6-6997-B729FA883563}"/>
          </ac:spMkLst>
        </pc:spChg>
      </pc:sldChg>
      <pc:sldChg chg="modSp del mod">
        <pc:chgData name="Charlotte Leproust" userId="fb069689-236a-4d0f-9666-bf90f2b956d2" providerId="ADAL" clId="{348B9074-3BE0-408B-97AB-F4C231256F84}" dt="2025-06-06T08:16:14.927" v="4113" actId="2696"/>
        <pc:sldMkLst>
          <pc:docMk/>
          <pc:sldMk cId="3749075176" sldId="2147480759"/>
        </pc:sldMkLst>
      </pc:sldChg>
      <pc:sldChg chg="addSp delSp modSp mod">
        <pc:chgData name="Charlotte Leproust" userId="fb069689-236a-4d0f-9666-bf90f2b956d2" providerId="ADAL" clId="{348B9074-3BE0-408B-97AB-F4C231256F84}" dt="2025-06-06T07:39:14.897" v="4103" actId="478"/>
        <pc:sldMkLst>
          <pc:docMk/>
          <pc:sldMk cId="348841047" sldId="2147480761"/>
        </pc:sldMkLst>
        <pc:spChg chg="mod">
          <ac:chgData name="Charlotte Leproust" userId="fb069689-236a-4d0f-9666-bf90f2b956d2" providerId="ADAL" clId="{348B9074-3BE0-408B-97AB-F4C231256F84}" dt="2025-05-15T09:39:37.298" v="3330" actId="20577"/>
          <ac:spMkLst>
            <pc:docMk/>
            <pc:sldMk cId="348841047" sldId="2147480761"/>
            <ac:spMk id="6" creationId="{98AB9DAB-ED29-3B2E-AF12-14578B46F183}"/>
          </ac:spMkLst>
        </pc:spChg>
        <pc:picChg chg="add del">
          <ac:chgData name="Charlotte Leproust" userId="fb069689-236a-4d0f-9666-bf90f2b956d2" providerId="ADAL" clId="{348B9074-3BE0-408B-97AB-F4C231256F84}" dt="2025-06-06T07:39:13.044" v="4102" actId="478"/>
          <ac:picMkLst>
            <pc:docMk/>
            <pc:sldMk cId="348841047" sldId="2147480761"/>
            <ac:picMk id="9" creationId="{30BE2BAC-E73E-6C6D-134D-FB575779065A}"/>
          </ac:picMkLst>
        </pc:picChg>
      </pc:sldChg>
      <pc:sldChg chg="addSp modSp">
        <pc:chgData name="Charlotte Leproust" userId="fb069689-236a-4d0f-9666-bf90f2b956d2" providerId="ADAL" clId="{348B9074-3BE0-408B-97AB-F4C231256F84}" dt="2025-05-15T09:57:25.537" v="3741"/>
        <pc:sldMkLst>
          <pc:docMk/>
          <pc:sldMk cId="4245562883" sldId="2147480763"/>
        </pc:sldMkLst>
        <pc:spChg chg="add mod">
          <ac:chgData name="Charlotte Leproust" userId="fb069689-236a-4d0f-9666-bf90f2b956d2" providerId="ADAL" clId="{348B9074-3BE0-408B-97AB-F4C231256F84}" dt="2025-05-15T09:57:25.537" v="3741"/>
          <ac:spMkLst>
            <pc:docMk/>
            <pc:sldMk cId="4245562883" sldId="2147480763"/>
            <ac:spMk id="2" creationId="{975981E3-4E4F-FD13-E706-99FC1F04AEA8}"/>
          </ac:spMkLst>
        </pc:spChg>
        <pc:spChg chg="add mod">
          <ac:chgData name="Charlotte Leproust" userId="fb069689-236a-4d0f-9666-bf90f2b956d2" providerId="ADAL" clId="{348B9074-3BE0-408B-97AB-F4C231256F84}" dt="2025-05-15T09:57:25.537" v="3741"/>
          <ac:spMkLst>
            <pc:docMk/>
            <pc:sldMk cId="4245562883" sldId="2147480763"/>
            <ac:spMk id="4" creationId="{2B1B2B8C-3D3D-0394-A658-EF2F811CC1B1}"/>
          </ac:spMkLst>
        </pc:spChg>
        <pc:spChg chg="add mod">
          <ac:chgData name="Charlotte Leproust" userId="fb069689-236a-4d0f-9666-bf90f2b956d2" providerId="ADAL" clId="{348B9074-3BE0-408B-97AB-F4C231256F84}" dt="2025-05-15T09:57:25.537" v="3741"/>
          <ac:spMkLst>
            <pc:docMk/>
            <pc:sldMk cId="4245562883" sldId="2147480763"/>
            <ac:spMk id="6" creationId="{082EA645-7653-363B-FE30-013F75A7FE61}"/>
          </ac:spMkLst>
        </pc:spChg>
      </pc:sldChg>
      <pc:sldChg chg="modSp mod">
        <pc:chgData name="Charlotte Leproust" userId="fb069689-236a-4d0f-9666-bf90f2b956d2" providerId="ADAL" clId="{348B9074-3BE0-408B-97AB-F4C231256F84}" dt="2025-05-28T13:13:51.733" v="4052" actId="20577"/>
        <pc:sldMkLst>
          <pc:docMk/>
          <pc:sldMk cId="2343790684" sldId="2147480766"/>
        </pc:sldMkLst>
        <pc:spChg chg="mod">
          <ac:chgData name="Charlotte Leproust" userId="fb069689-236a-4d0f-9666-bf90f2b956d2" providerId="ADAL" clId="{348B9074-3BE0-408B-97AB-F4C231256F84}" dt="2025-05-15T09:57:45.429" v="3744" actId="255"/>
          <ac:spMkLst>
            <pc:docMk/>
            <pc:sldMk cId="2343790684" sldId="2147480766"/>
            <ac:spMk id="3" creationId="{08AF4D30-9DE0-3B13-23AB-AD994B7E32FD}"/>
          </ac:spMkLst>
        </pc:spChg>
        <pc:spChg chg="mod">
          <ac:chgData name="Charlotte Leproust" userId="fb069689-236a-4d0f-9666-bf90f2b956d2" providerId="ADAL" clId="{348B9074-3BE0-408B-97AB-F4C231256F84}" dt="2025-05-15T09:57:45.429" v="3744" actId="255"/>
          <ac:spMkLst>
            <pc:docMk/>
            <pc:sldMk cId="2343790684" sldId="2147480766"/>
            <ac:spMk id="4" creationId="{124CDE5B-9C15-2C39-2A95-8250CCCE7C2C}"/>
          </ac:spMkLst>
        </pc:spChg>
        <pc:spChg chg="mod">
          <ac:chgData name="Charlotte Leproust" userId="fb069689-236a-4d0f-9666-bf90f2b956d2" providerId="ADAL" clId="{348B9074-3BE0-408B-97AB-F4C231256F84}" dt="2025-05-15T09:57:45.429" v="3744" actId="255"/>
          <ac:spMkLst>
            <pc:docMk/>
            <pc:sldMk cId="2343790684" sldId="2147480766"/>
            <ac:spMk id="5" creationId="{DC903025-863F-727F-E55C-38BC1A4E5D50}"/>
          </ac:spMkLst>
        </pc:spChg>
        <pc:graphicFrameChg chg="modGraphic">
          <ac:chgData name="Charlotte Leproust" userId="fb069689-236a-4d0f-9666-bf90f2b956d2" providerId="ADAL" clId="{348B9074-3BE0-408B-97AB-F4C231256F84}" dt="2025-05-28T13:13:51.733" v="4052" actId="20577"/>
          <ac:graphicFrameMkLst>
            <pc:docMk/>
            <pc:sldMk cId="2343790684" sldId="2147480766"/>
            <ac:graphicFrameMk id="12" creationId="{119A8E30-09DA-BF89-3DD6-DCF50F438BBE}"/>
          </ac:graphicFrameMkLst>
        </pc:graphicFrameChg>
      </pc:sldChg>
      <pc:sldChg chg="modSp del mod modShow">
        <pc:chgData name="Charlotte Leproust" userId="fb069689-236a-4d0f-9666-bf90f2b956d2" providerId="ADAL" clId="{348B9074-3BE0-408B-97AB-F4C231256F84}" dt="2025-05-16T14:13:50.816" v="4009" actId="2696"/>
        <pc:sldMkLst>
          <pc:docMk/>
          <pc:sldMk cId="4180579624" sldId="2147480776"/>
        </pc:sldMkLst>
      </pc:sldChg>
      <pc:sldChg chg="del">
        <pc:chgData name="Charlotte Leproust" userId="fb069689-236a-4d0f-9666-bf90f2b956d2" providerId="ADAL" clId="{348B9074-3BE0-408B-97AB-F4C231256F84}" dt="2025-05-15T09:47:24.410" v="3717" actId="47"/>
        <pc:sldMkLst>
          <pc:docMk/>
          <pc:sldMk cId="519045761" sldId="2147480778"/>
        </pc:sldMkLst>
      </pc:sldChg>
      <pc:sldChg chg="del">
        <pc:chgData name="Charlotte Leproust" userId="fb069689-236a-4d0f-9666-bf90f2b956d2" providerId="ADAL" clId="{348B9074-3BE0-408B-97AB-F4C231256F84}" dt="2025-05-15T09:47:24.410" v="3717" actId="47"/>
        <pc:sldMkLst>
          <pc:docMk/>
          <pc:sldMk cId="1562024590" sldId="2147480779"/>
        </pc:sldMkLst>
      </pc:sldChg>
      <pc:sldChg chg="del">
        <pc:chgData name="Charlotte Leproust" userId="fb069689-236a-4d0f-9666-bf90f2b956d2" providerId="ADAL" clId="{348B9074-3BE0-408B-97AB-F4C231256F84}" dt="2025-05-15T09:47:24.410" v="3717" actId="47"/>
        <pc:sldMkLst>
          <pc:docMk/>
          <pc:sldMk cId="3891022817" sldId="2147480780"/>
        </pc:sldMkLst>
      </pc:sldChg>
      <pc:sldChg chg="del">
        <pc:chgData name="Charlotte Leproust" userId="fb069689-236a-4d0f-9666-bf90f2b956d2" providerId="ADAL" clId="{348B9074-3BE0-408B-97AB-F4C231256F84}" dt="2025-05-15T09:47:24.410" v="3717" actId="47"/>
        <pc:sldMkLst>
          <pc:docMk/>
          <pc:sldMk cId="2087550177" sldId="2147480781"/>
        </pc:sldMkLst>
      </pc:sldChg>
      <pc:sldChg chg="modSp mod">
        <pc:chgData name="Charlotte Leproust" userId="fb069689-236a-4d0f-9666-bf90f2b956d2" providerId="ADAL" clId="{348B9074-3BE0-408B-97AB-F4C231256F84}" dt="2025-05-15T09:57:52.069" v="3745" actId="255"/>
        <pc:sldMkLst>
          <pc:docMk/>
          <pc:sldMk cId="1480142606" sldId="2147480782"/>
        </pc:sldMkLst>
        <pc:spChg chg="mod">
          <ac:chgData name="Charlotte Leproust" userId="fb069689-236a-4d0f-9666-bf90f2b956d2" providerId="ADAL" clId="{348B9074-3BE0-408B-97AB-F4C231256F84}" dt="2025-05-15T09:57:52.069" v="3745" actId="255"/>
          <ac:spMkLst>
            <pc:docMk/>
            <pc:sldMk cId="1480142606" sldId="2147480782"/>
            <ac:spMk id="2" creationId="{58DBDEE1-4394-2741-D8A4-9C174A3EE118}"/>
          </ac:spMkLst>
        </pc:spChg>
        <pc:spChg chg="mod">
          <ac:chgData name="Charlotte Leproust" userId="fb069689-236a-4d0f-9666-bf90f2b956d2" providerId="ADAL" clId="{348B9074-3BE0-408B-97AB-F4C231256F84}" dt="2025-05-15T09:57:52.069" v="3745" actId="255"/>
          <ac:spMkLst>
            <pc:docMk/>
            <pc:sldMk cId="1480142606" sldId="2147480782"/>
            <ac:spMk id="4" creationId="{AF644E4B-9582-A2D5-5E54-18128800427B}"/>
          </ac:spMkLst>
        </pc:spChg>
        <pc:spChg chg="mod">
          <ac:chgData name="Charlotte Leproust" userId="fb069689-236a-4d0f-9666-bf90f2b956d2" providerId="ADAL" clId="{348B9074-3BE0-408B-97AB-F4C231256F84}" dt="2025-05-15T09:57:52.069" v="3745" actId="255"/>
          <ac:spMkLst>
            <pc:docMk/>
            <pc:sldMk cId="1480142606" sldId="2147480782"/>
            <ac:spMk id="5" creationId="{D0EF64D8-3480-0216-D25D-C00AB99F2832}"/>
          </ac:spMkLst>
        </pc:spChg>
      </pc:sldChg>
      <pc:sldChg chg="modSp mod">
        <pc:chgData name="Charlotte Leproust" userId="fb069689-236a-4d0f-9666-bf90f2b956d2" providerId="ADAL" clId="{348B9074-3BE0-408B-97AB-F4C231256F84}" dt="2025-05-15T09:02:09.918" v="3004" actId="255"/>
        <pc:sldMkLst>
          <pc:docMk/>
          <pc:sldMk cId="1900740679" sldId="2147480783"/>
        </pc:sldMkLst>
        <pc:spChg chg="mod">
          <ac:chgData name="Charlotte Leproust" userId="fb069689-236a-4d0f-9666-bf90f2b956d2" providerId="ADAL" clId="{348B9074-3BE0-408B-97AB-F4C231256F84}" dt="2025-05-15T09:02:09.918" v="3004" actId="255"/>
          <ac:spMkLst>
            <pc:docMk/>
            <pc:sldMk cId="1900740679" sldId="2147480783"/>
            <ac:spMk id="5" creationId="{4F4F26F3-CF1D-C1E4-B297-3D5DF7A6E578}"/>
          </ac:spMkLst>
        </pc:spChg>
        <pc:spChg chg="mod">
          <ac:chgData name="Charlotte Leproust" userId="fb069689-236a-4d0f-9666-bf90f2b956d2" providerId="ADAL" clId="{348B9074-3BE0-408B-97AB-F4C231256F84}" dt="2025-05-15T09:02:09.918" v="3004" actId="255"/>
          <ac:spMkLst>
            <pc:docMk/>
            <pc:sldMk cId="1900740679" sldId="2147480783"/>
            <ac:spMk id="6" creationId="{C057D206-6888-7DDF-326F-0A3091B94618}"/>
          </ac:spMkLst>
        </pc:spChg>
        <pc:spChg chg="mod">
          <ac:chgData name="Charlotte Leproust" userId="fb069689-236a-4d0f-9666-bf90f2b956d2" providerId="ADAL" clId="{348B9074-3BE0-408B-97AB-F4C231256F84}" dt="2025-05-15T09:02:09.918" v="3004" actId="255"/>
          <ac:spMkLst>
            <pc:docMk/>
            <pc:sldMk cId="1900740679" sldId="2147480783"/>
            <ac:spMk id="9" creationId="{4C78B8AA-43F0-5912-C936-B20C7B47D312}"/>
          </ac:spMkLst>
        </pc:spChg>
      </pc:sldChg>
      <pc:sldChg chg="del">
        <pc:chgData name="Charlotte Leproust" userId="fb069689-236a-4d0f-9666-bf90f2b956d2" providerId="ADAL" clId="{348B9074-3BE0-408B-97AB-F4C231256F84}" dt="2025-05-15T09:47:24.410" v="3717" actId="47"/>
        <pc:sldMkLst>
          <pc:docMk/>
          <pc:sldMk cId="1473199669" sldId="2147480785"/>
        </pc:sldMkLst>
      </pc:sldChg>
      <pc:sldChg chg="add setBg">
        <pc:chgData name="Charlotte Leproust" userId="fb069689-236a-4d0f-9666-bf90f2b956d2" providerId="ADAL" clId="{348B9074-3BE0-408B-97AB-F4C231256F84}" dt="2025-05-15T09:37:59.370" v="3317"/>
        <pc:sldMkLst>
          <pc:docMk/>
          <pc:sldMk cId="1309288536" sldId="2147480786"/>
        </pc:sldMkLst>
      </pc:sldChg>
      <pc:sldChg chg="del">
        <pc:chgData name="Charlotte Leproust" userId="fb069689-236a-4d0f-9666-bf90f2b956d2" providerId="ADAL" clId="{348B9074-3BE0-408B-97AB-F4C231256F84}" dt="2025-05-15T09:47:24.410" v="3717" actId="47"/>
        <pc:sldMkLst>
          <pc:docMk/>
          <pc:sldMk cId="2013353454" sldId="2147480791"/>
        </pc:sldMkLst>
      </pc:sldChg>
      <pc:sldChg chg="del">
        <pc:chgData name="Charlotte Leproust" userId="fb069689-236a-4d0f-9666-bf90f2b956d2" providerId="ADAL" clId="{348B9074-3BE0-408B-97AB-F4C231256F84}" dt="2025-05-15T09:47:24.410" v="3717" actId="47"/>
        <pc:sldMkLst>
          <pc:docMk/>
          <pc:sldMk cId="1827972706" sldId="2147480792"/>
        </pc:sldMkLst>
      </pc:sldChg>
      <pc:sldChg chg="del">
        <pc:chgData name="Charlotte Leproust" userId="fb069689-236a-4d0f-9666-bf90f2b956d2" providerId="ADAL" clId="{348B9074-3BE0-408B-97AB-F4C231256F84}" dt="2025-05-15T09:47:24.410" v="3717" actId="47"/>
        <pc:sldMkLst>
          <pc:docMk/>
          <pc:sldMk cId="2031758996" sldId="2147480793"/>
        </pc:sldMkLst>
      </pc:sldChg>
      <pc:sldChg chg="del">
        <pc:chgData name="Charlotte Leproust" userId="fb069689-236a-4d0f-9666-bf90f2b956d2" providerId="ADAL" clId="{348B9074-3BE0-408B-97AB-F4C231256F84}" dt="2025-05-15T09:47:24.410" v="3717" actId="47"/>
        <pc:sldMkLst>
          <pc:docMk/>
          <pc:sldMk cId="1783035138" sldId="2147480794"/>
        </pc:sldMkLst>
      </pc:sldChg>
      <pc:sldChg chg="del">
        <pc:chgData name="Charlotte Leproust" userId="fb069689-236a-4d0f-9666-bf90f2b956d2" providerId="ADAL" clId="{348B9074-3BE0-408B-97AB-F4C231256F84}" dt="2025-05-15T09:47:24.410" v="3717" actId="47"/>
        <pc:sldMkLst>
          <pc:docMk/>
          <pc:sldMk cId="1084852773" sldId="2147480795"/>
        </pc:sldMkLst>
      </pc:sldChg>
      <pc:sldChg chg="modSp mod">
        <pc:chgData name="Charlotte Leproust" userId="fb069689-236a-4d0f-9666-bf90f2b956d2" providerId="ADAL" clId="{348B9074-3BE0-408B-97AB-F4C231256F84}" dt="2025-05-15T12:59:25.253" v="3785" actId="13926"/>
        <pc:sldMkLst>
          <pc:docMk/>
          <pc:sldMk cId="838213029" sldId="2147480796"/>
        </pc:sldMkLst>
        <pc:spChg chg="mod">
          <ac:chgData name="Charlotte Leproust" userId="fb069689-236a-4d0f-9666-bf90f2b956d2" providerId="ADAL" clId="{348B9074-3BE0-408B-97AB-F4C231256F84}" dt="2025-05-15T12:59:25.253" v="3785" actId="13926"/>
          <ac:spMkLst>
            <pc:docMk/>
            <pc:sldMk cId="838213029" sldId="2147480796"/>
            <ac:spMk id="6" creationId="{248BD25D-D49F-3E99-70C7-DF883066EB64}"/>
          </ac:spMkLst>
        </pc:spChg>
      </pc:sldChg>
      <pc:sldChg chg="addSp delSp modSp del mod ord">
        <pc:chgData name="Charlotte Leproust" userId="fb069689-236a-4d0f-9666-bf90f2b956d2" providerId="ADAL" clId="{348B9074-3BE0-408B-97AB-F4C231256F84}" dt="2025-06-06T06:43:43.696" v="4060" actId="2696"/>
        <pc:sldMkLst>
          <pc:docMk/>
          <pc:sldMk cId="1586795579" sldId="2147480799"/>
        </pc:sldMkLst>
      </pc:sldChg>
      <pc:sldChg chg="del ord">
        <pc:chgData name="Charlotte Leproust" userId="fb069689-236a-4d0f-9666-bf90f2b956d2" providerId="ADAL" clId="{348B9074-3BE0-408B-97AB-F4C231256F84}" dt="2025-05-15T09:40:02.292" v="3331" actId="2696"/>
        <pc:sldMkLst>
          <pc:docMk/>
          <pc:sldMk cId="1363207645" sldId="2147480800"/>
        </pc:sldMkLst>
      </pc:sldChg>
      <pc:sldChg chg="addSp delSp modSp add del mod setBg">
        <pc:chgData name="Charlotte Leproust" userId="fb069689-236a-4d0f-9666-bf90f2b956d2" providerId="ADAL" clId="{348B9074-3BE0-408B-97AB-F4C231256F84}" dt="2025-05-14T14:53:41.515" v="1314" actId="2696"/>
        <pc:sldMkLst>
          <pc:docMk/>
          <pc:sldMk cId="3204386790" sldId="2147480801"/>
        </pc:sldMkLst>
      </pc:sldChg>
      <pc:sldChg chg="modSp add del mod setBg">
        <pc:chgData name="Charlotte Leproust" userId="fb069689-236a-4d0f-9666-bf90f2b956d2" providerId="ADAL" clId="{348B9074-3BE0-408B-97AB-F4C231256F84}" dt="2025-05-14T14:53:41.515" v="1314" actId="2696"/>
        <pc:sldMkLst>
          <pc:docMk/>
          <pc:sldMk cId="1402572599" sldId="2147480802"/>
        </pc:sldMkLst>
      </pc:sldChg>
      <pc:sldChg chg="delSp modSp add mod">
        <pc:chgData name="Charlotte Leproust" userId="fb069689-236a-4d0f-9666-bf90f2b956d2" providerId="ADAL" clId="{348B9074-3BE0-408B-97AB-F4C231256F84}" dt="2025-05-16T12:59:30.145" v="4008" actId="20577"/>
        <pc:sldMkLst>
          <pc:docMk/>
          <pc:sldMk cId="4247614490" sldId="2147480803"/>
        </pc:sldMkLst>
        <pc:spChg chg="mod">
          <ac:chgData name="Charlotte Leproust" userId="fb069689-236a-4d0f-9666-bf90f2b956d2" providerId="ADAL" clId="{348B9074-3BE0-408B-97AB-F4C231256F84}" dt="2025-05-16T12:59:30.145" v="4008" actId="20577"/>
          <ac:spMkLst>
            <pc:docMk/>
            <pc:sldMk cId="4247614490" sldId="2147480803"/>
            <ac:spMk id="2" creationId="{F58A84A7-BAFD-83D7-3D9B-40059B96F67D}"/>
          </ac:spMkLst>
        </pc:spChg>
        <pc:spChg chg="mod">
          <ac:chgData name="Charlotte Leproust" userId="fb069689-236a-4d0f-9666-bf90f2b956d2" providerId="ADAL" clId="{348B9074-3BE0-408B-97AB-F4C231256F84}" dt="2025-05-15T13:28:34.879" v="3959" actId="20577"/>
          <ac:spMkLst>
            <pc:docMk/>
            <pc:sldMk cId="4247614490" sldId="2147480803"/>
            <ac:spMk id="4" creationId="{A384D533-2AB4-1ECC-76DE-C125539C5531}"/>
          </ac:spMkLst>
        </pc:spChg>
      </pc:sldChg>
      <pc:sldChg chg="addSp delSp modSp add mod">
        <pc:chgData name="Charlotte Leproust" userId="fb069689-236a-4d0f-9666-bf90f2b956d2" providerId="ADAL" clId="{348B9074-3BE0-408B-97AB-F4C231256F84}" dt="2025-06-06T07:13:29.211" v="4086" actId="1037"/>
        <pc:sldMkLst>
          <pc:docMk/>
          <pc:sldMk cId="885742284" sldId="2147480804"/>
        </pc:sldMkLst>
        <pc:spChg chg="mod">
          <ac:chgData name="Charlotte Leproust" userId="fb069689-236a-4d0f-9666-bf90f2b956d2" providerId="ADAL" clId="{348B9074-3BE0-408B-97AB-F4C231256F84}" dt="2025-05-15T09:02:51.581" v="3010" actId="255"/>
          <ac:spMkLst>
            <pc:docMk/>
            <pc:sldMk cId="885742284" sldId="2147480804"/>
            <ac:spMk id="2" creationId="{BF20C53B-7375-EAB1-E385-F9FBB9BAFB3C}"/>
          </ac:spMkLst>
        </pc:spChg>
        <pc:spChg chg="mod">
          <ac:chgData name="Charlotte Leproust" userId="fb069689-236a-4d0f-9666-bf90f2b956d2" providerId="ADAL" clId="{348B9074-3BE0-408B-97AB-F4C231256F84}" dt="2025-05-15T09:02:51.581" v="3010" actId="255"/>
          <ac:spMkLst>
            <pc:docMk/>
            <pc:sldMk cId="885742284" sldId="2147480804"/>
            <ac:spMk id="3" creationId="{76332F40-FB37-1B2F-CEF1-C24156CA066F}"/>
          </ac:spMkLst>
        </pc:spChg>
        <pc:spChg chg="mod">
          <ac:chgData name="Charlotte Leproust" userId="fb069689-236a-4d0f-9666-bf90f2b956d2" providerId="ADAL" clId="{348B9074-3BE0-408B-97AB-F4C231256F84}" dt="2025-05-15T09:02:51.581" v="3010" actId="255"/>
          <ac:spMkLst>
            <pc:docMk/>
            <pc:sldMk cId="885742284" sldId="2147480804"/>
            <ac:spMk id="4" creationId="{288CEF9A-5846-450C-E2CD-949DE373BA8D}"/>
          </ac:spMkLst>
        </pc:spChg>
        <pc:spChg chg="mod">
          <ac:chgData name="Charlotte Leproust" userId="fb069689-236a-4d0f-9666-bf90f2b956d2" providerId="ADAL" clId="{348B9074-3BE0-408B-97AB-F4C231256F84}" dt="2025-05-15T08:02:13.381" v="1597"/>
          <ac:spMkLst>
            <pc:docMk/>
            <pc:sldMk cId="885742284" sldId="2147480804"/>
            <ac:spMk id="6" creationId="{F8E5AEA4-A2A1-7DF7-1B73-A2AC5741339B}"/>
          </ac:spMkLst>
        </pc:spChg>
        <pc:spChg chg="mod">
          <ac:chgData name="Charlotte Leproust" userId="fb069689-236a-4d0f-9666-bf90f2b956d2" providerId="ADAL" clId="{348B9074-3BE0-408B-97AB-F4C231256F84}" dt="2025-05-15T08:28:21.702" v="2220" actId="1037"/>
          <ac:spMkLst>
            <pc:docMk/>
            <pc:sldMk cId="885742284" sldId="2147480804"/>
            <ac:spMk id="7" creationId="{5B4C62B7-CEEE-199A-DC7F-4B74F78F300E}"/>
          </ac:spMkLst>
        </pc:spChg>
        <pc:spChg chg="mod">
          <ac:chgData name="Charlotte Leproust" userId="fb069689-236a-4d0f-9666-bf90f2b956d2" providerId="ADAL" clId="{348B9074-3BE0-408B-97AB-F4C231256F84}" dt="2025-05-15T08:43:18.157" v="2711" actId="20577"/>
          <ac:spMkLst>
            <pc:docMk/>
            <pc:sldMk cId="885742284" sldId="2147480804"/>
            <ac:spMk id="8" creationId="{E9363AE7-41CA-B86C-35DB-4CB6A180E6E2}"/>
          </ac:spMkLst>
        </pc:spChg>
        <pc:spChg chg="mod">
          <ac:chgData name="Charlotte Leproust" userId="fb069689-236a-4d0f-9666-bf90f2b956d2" providerId="ADAL" clId="{348B9074-3BE0-408B-97AB-F4C231256F84}" dt="2025-05-15T08:31:09.865" v="2363" actId="20577"/>
          <ac:spMkLst>
            <pc:docMk/>
            <pc:sldMk cId="885742284" sldId="2147480804"/>
            <ac:spMk id="12" creationId="{E538D5D6-855D-8E8A-F8F3-CEA49A53B289}"/>
          </ac:spMkLst>
        </pc:spChg>
        <pc:spChg chg="mod">
          <ac:chgData name="Charlotte Leproust" userId="fb069689-236a-4d0f-9666-bf90f2b956d2" providerId="ADAL" clId="{348B9074-3BE0-408B-97AB-F4C231256F84}" dt="2025-05-15T08:31:32.880" v="2375" actId="1037"/>
          <ac:spMkLst>
            <pc:docMk/>
            <pc:sldMk cId="885742284" sldId="2147480804"/>
            <ac:spMk id="15" creationId="{52BC7608-82C6-4BCA-AA9F-D5F7B0DF94AD}"/>
          </ac:spMkLst>
        </pc:spChg>
        <pc:spChg chg="mod">
          <ac:chgData name="Charlotte Leproust" userId="fb069689-236a-4d0f-9666-bf90f2b956d2" providerId="ADAL" clId="{348B9074-3BE0-408B-97AB-F4C231256F84}" dt="2025-05-15T08:31:32.880" v="2375" actId="1037"/>
          <ac:spMkLst>
            <pc:docMk/>
            <pc:sldMk cId="885742284" sldId="2147480804"/>
            <ac:spMk id="16" creationId="{730CE95F-4DA0-C87A-767D-BB4211F4A45D}"/>
          </ac:spMkLst>
        </pc:spChg>
        <pc:spChg chg="add mod">
          <ac:chgData name="Charlotte Leproust" userId="fb069689-236a-4d0f-9666-bf90f2b956d2" providerId="ADAL" clId="{348B9074-3BE0-408B-97AB-F4C231256F84}" dt="2025-05-15T08:33:02.859" v="2494" actId="20577"/>
          <ac:spMkLst>
            <pc:docMk/>
            <pc:sldMk cId="885742284" sldId="2147480804"/>
            <ac:spMk id="22" creationId="{1FA7025F-7E15-37E4-682A-EE41205D508C}"/>
          </ac:spMkLst>
        </pc:spChg>
        <pc:spChg chg="mod">
          <ac:chgData name="Charlotte Leproust" userId="fb069689-236a-4d0f-9666-bf90f2b956d2" providerId="ADAL" clId="{348B9074-3BE0-408B-97AB-F4C231256F84}" dt="2025-05-15T08:30:32.707" v="2351" actId="1038"/>
          <ac:spMkLst>
            <pc:docMk/>
            <pc:sldMk cId="885742284" sldId="2147480804"/>
            <ac:spMk id="27" creationId="{3D018010-450C-D026-66DC-0592BD1E34A8}"/>
          </ac:spMkLst>
        </pc:spChg>
        <pc:spChg chg="mod">
          <ac:chgData name="Charlotte Leproust" userId="fb069689-236a-4d0f-9666-bf90f2b956d2" providerId="ADAL" clId="{348B9074-3BE0-408B-97AB-F4C231256F84}" dt="2025-05-15T08:28:26.184" v="2222" actId="1037"/>
          <ac:spMkLst>
            <pc:docMk/>
            <pc:sldMk cId="885742284" sldId="2147480804"/>
            <ac:spMk id="42" creationId="{DF6FCD1A-5440-7DF5-EFFA-B86BB4141FBA}"/>
          </ac:spMkLst>
        </pc:spChg>
        <pc:spChg chg="mod">
          <ac:chgData name="Charlotte Leproust" userId="fb069689-236a-4d0f-9666-bf90f2b956d2" providerId="ADAL" clId="{348B9074-3BE0-408B-97AB-F4C231256F84}" dt="2025-05-15T08:21:44.365" v="2027" actId="1038"/>
          <ac:spMkLst>
            <pc:docMk/>
            <pc:sldMk cId="885742284" sldId="2147480804"/>
            <ac:spMk id="51" creationId="{E569780F-E377-D1B2-B16E-F3D9145BFF38}"/>
          </ac:spMkLst>
        </pc:spChg>
        <pc:spChg chg="mod">
          <ac:chgData name="Charlotte Leproust" userId="fb069689-236a-4d0f-9666-bf90f2b956d2" providerId="ADAL" clId="{348B9074-3BE0-408B-97AB-F4C231256F84}" dt="2025-05-15T08:31:05.182" v="2361" actId="20577"/>
          <ac:spMkLst>
            <pc:docMk/>
            <pc:sldMk cId="885742284" sldId="2147480804"/>
            <ac:spMk id="52" creationId="{48B86A51-BA44-4B29-698A-CC72D399BA46}"/>
          </ac:spMkLst>
        </pc:spChg>
        <pc:spChg chg="mod">
          <ac:chgData name="Charlotte Leproust" userId="fb069689-236a-4d0f-9666-bf90f2b956d2" providerId="ADAL" clId="{348B9074-3BE0-408B-97AB-F4C231256F84}" dt="2025-05-15T08:30:32.707" v="2351" actId="1038"/>
          <ac:spMkLst>
            <pc:docMk/>
            <pc:sldMk cId="885742284" sldId="2147480804"/>
            <ac:spMk id="60" creationId="{C8D8F592-0763-053B-2883-A22D958E6A2A}"/>
          </ac:spMkLst>
        </pc:spChg>
        <pc:grpChg chg="add mod">
          <ac:chgData name="Charlotte Leproust" userId="fb069689-236a-4d0f-9666-bf90f2b956d2" providerId="ADAL" clId="{348B9074-3BE0-408B-97AB-F4C231256F84}" dt="2025-05-15T08:31:32.880" v="2375" actId="1037"/>
          <ac:grpSpMkLst>
            <pc:docMk/>
            <pc:sldMk cId="885742284" sldId="2147480804"/>
            <ac:grpSpMk id="5" creationId="{B4EEAED3-FA17-0156-555A-60802ECE2B5B}"/>
          </ac:grpSpMkLst>
        </pc:grpChg>
        <pc:grpChg chg="mod">
          <ac:chgData name="Charlotte Leproust" userId="fb069689-236a-4d0f-9666-bf90f2b956d2" providerId="ADAL" clId="{348B9074-3BE0-408B-97AB-F4C231256F84}" dt="2025-05-15T08:30:32.707" v="2351" actId="1038"/>
          <ac:grpSpMkLst>
            <pc:docMk/>
            <pc:sldMk cId="885742284" sldId="2147480804"/>
            <ac:grpSpMk id="32" creationId="{4D26894C-F8B9-91D2-9957-4D72178778B2}"/>
          </ac:grpSpMkLst>
        </pc:grpChg>
        <pc:grpChg chg="mod">
          <ac:chgData name="Charlotte Leproust" userId="fb069689-236a-4d0f-9666-bf90f2b956d2" providerId="ADAL" clId="{348B9074-3BE0-408B-97AB-F4C231256F84}" dt="2025-05-15T08:30:32.707" v="2351" actId="1038"/>
          <ac:grpSpMkLst>
            <pc:docMk/>
            <pc:sldMk cId="885742284" sldId="2147480804"/>
            <ac:grpSpMk id="49" creationId="{A3EB8B08-F84A-2C7E-D1F3-19B62545A0C5}"/>
          </ac:grpSpMkLst>
        </pc:grpChg>
        <pc:picChg chg="mod modCrop">
          <ac:chgData name="Charlotte Leproust" userId="fb069689-236a-4d0f-9666-bf90f2b956d2" providerId="ADAL" clId="{348B9074-3BE0-408B-97AB-F4C231256F84}" dt="2025-05-15T09:02:59.576" v="3011" actId="732"/>
          <ac:picMkLst>
            <pc:docMk/>
            <pc:sldMk cId="885742284" sldId="2147480804"/>
            <ac:picMk id="17" creationId="{65642960-BF70-4C6C-FE2C-1A8BF77F35A9}"/>
          </ac:picMkLst>
        </pc:picChg>
        <pc:picChg chg="mod">
          <ac:chgData name="Charlotte Leproust" userId="fb069689-236a-4d0f-9666-bf90f2b956d2" providerId="ADAL" clId="{348B9074-3BE0-408B-97AB-F4C231256F84}" dt="2025-05-15T08:30:32.707" v="2351" actId="1038"/>
          <ac:picMkLst>
            <pc:docMk/>
            <pc:sldMk cId="885742284" sldId="2147480804"/>
            <ac:picMk id="26" creationId="{3F2D5A60-B547-A7C4-4BF0-D172EC164E0B}"/>
          </ac:picMkLst>
        </pc:picChg>
        <pc:cxnChg chg="add mod">
          <ac:chgData name="Charlotte Leproust" userId="fb069689-236a-4d0f-9666-bf90f2b956d2" providerId="ADAL" clId="{348B9074-3BE0-408B-97AB-F4C231256F84}" dt="2025-05-15T08:31:00.661" v="2359" actId="1076"/>
          <ac:cxnSpMkLst>
            <pc:docMk/>
            <pc:sldMk cId="885742284" sldId="2147480804"/>
            <ac:cxnSpMk id="9" creationId="{3B7E52E4-5C07-56F7-A6F5-3BE592B6AF5A}"/>
          </ac:cxnSpMkLst>
        </pc:cxnChg>
        <pc:cxnChg chg="add mod">
          <ac:chgData name="Charlotte Leproust" userId="fb069689-236a-4d0f-9666-bf90f2b956d2" providerId="ADAL" clId="{348B9074-3BE0-408B-97AB-F4C231256F84}" dt="2025-05-15T08:31:00.661" v="2359" actId="1076"/>
          <ac:cxnSpMkLst>
            <pc:docMk/>
            <pc:sldMk cId="885742284" sldId="2147480804"/>
            <ac:cxnSpMk id="10" creationId="{1C1419FF-CCB5-32BC-C3F7-4389877BD007}"/>
          </ac:cxnSpMkLst>
        </pc:cxnChg>
        <pc:cxnChg chg="mod">
          <ac:chgData name="Charlotte Leproust" userId="fb069689-236a-4d0f-9666-bf90f2b956d2" providerId="ADAL" clId="{348B9074-3BE0-408B-97AB-F4C231256F84}" dt="2025-05-15T08:22:51.441" v="2140" actId="1035"/>
          <ac:cxnSpMkLst>
            <pc:docMk/>
            <pc:sldMk cId="885742284" sldId="2147480804"/>
            <ac:cxnSpMk id="13" creationId="{F81B0CA1-7CC6-C827-72E0-E089ABB2B617}"/>
          </ac:cxnSpMkLst>
        </pc:cxnChg>
        <pc:cxnChg chg="mod">
          <ac:chgData name="Charlotte Leproust" userId="fb069689-236a-4d0f-9666-bf90f2b956d2" providerId="ADAL" clId="{348B9074-3BE0-408B-97AB-F4C231256F84}" dt="2025-06-06T07:13:29.211" v="4086" actId="1037"/>
          <ac:cxnSpMkLst>
            <pc:docMk/>
            <pc:sldMk cId="885742284" sldId="2147480804"/>
            <ac:cxnSpMk id="14" creationId="{0ED94336-1654-EF6F-9BFB-FABE931C5F67}"/>
          </ac:cxnSpMkLst>
        </pc:cxnChg>
        <pc:cxnChg chg="mod">
          <ac:chgData name="Charlotte Leproust" userId="fb069689-236a-4d0f-9666-bf90f2b956d2" providerId="ADAL" clId="{348B9074-3BE0-408B-97AB-F4C231256F84}" dt="2025-05-15T08:32:44.316" v="2489" actId="14100"/>
          <ac:cxnSpMkLst>
            <pc:docMk/>
            <pc:sldMk cId="885742284" sldId="2147480804"/>
            <ac:cxnSpMk id="59" creationId="{D6CA8197-4F67-0E6D-ABF1-7F3C7CD91D60}"/>
          </ac:cxnSpMkLst>
        </pc:cxnChg>
        <pc:cxnChg chg="mod">
          <ac:chgData name="Charlotte Leproust" userId="fb069689-236a-4d0f-9666-bf90f2b956d2" providerId="ADAL" clId="{348B9074-3BE0-408B-97AB-F4C231256F84}" dt="2025-05-15T08:32:53.317" v="2490" actId="1076"/>
          <ac:cxnSpMkLst>
            <pc:docMk/>
            <pc:sldMk cId="885742284" sldId="2147480804"/>
            <ac:cxnSpMk id="61" creationId="{1AEA376E-74ED-990A-347B-3F49282A0F73}"/>
          </ac:cxnSpMkLst>
        </pc:cxnChg>
        <pc:cxnChg chg="mod">
          <ac:chgData name="Charlotte Leproust" userId="fb069689-236a-4d0f-9666-bf90f2b956d2" providerId="ADAL" clId="{348B9074-3BE0-408B-97AB-F4C231256F84}" dt="2025-05-15T08:32:55.516" v="2492" actId="1037"/>
          <ac:cxnSpMkLst>
            <pc:docMk/>
            <pc:sldMk cId="885742284" sldId="2147480804"/>
            <ac:cxnSpMk id="62" creationId="{01A5344E-2B28-F025-53CE-58FFFBD3F11A}"/>
          </ac:cxnSpMkLst>
        </pc:cxnChg>
        <pc:cxnChg chg="mod">
          <ac:chgData name="Charlotte Leproust" userId="fb069689-236a-4d0f-9666-bf90f2b956d2" providerId="ADAL" clId="{348B9074-3BE0-408B-97AB-F4C231256F84}" dt="2025-05-15T08:32:37.386" v="2484" actId="1036"/>
          <ac:cxnSpMkLst>
            <pc:docMk/>
            <pc:sldMk cId="885742284" sldId="2147480804"/>
            <ac:cxnSpMk id="63" creationId="{87680147-694D-9CF4-8AAB-62B1651E0294}"/>
          </ac:cxnSpMkLst>
        </pc:cxnChg>
      </pc:sldChg>
      <pc:sldChg chg="addSp delSp modSp new del mod setBg">
        <pc:chgData name="Charlotte Leproust" userId="fb069689-236a-4d0f-9666-bf90f2b956d2" providerId="ADAL" clId="{348B9074-3BE0-408B-97AB-F4C231256F84}" dt="2025-05-14T14:53:41.515" v="1314" actId="2696"/>
        <pc:sldMkLst>
          <pc:docMk/>
          <pc:sldMk cId="3859125654" sldId="2147480804"/>
        </pc:sldMkLst>
      </pc:sldChg>
      <pc:sldChg chg="addSp delSp modSp new mod modClrScheme chgLayout">
        <pc:chgData name="Charlotte Leproust" userId="fb069689-236a-4d0f-9666-bf90f2b956d2" providerId="ADAL" clId="{348B9074-3BE0-408B-97AB-F4C231256F84}" dt="2025-05-15T09:17:50.722" v="3066" actId="1076"/>
        <pc:sldMkLst>
          <pc:docMk/>
          <pc:sldMk cId="1840542441" sldId="2147480805"/>
        </pc:sldMkLst>
        <pc:spChg chg="mod ord">
          <ac:chgData name="Charlotte Leproust" userId="fb069689-236a-4d0f-9666-bf90f2b956d2" providerId="ADAL" clId="{348B9074-3BE0-408B-97AB-F4C231256F84}" dt="2025-05-15T09:03:37.483" v="3015" actId="700"/>
          <ac:spMkLst>
            <pc:docMk/>
            <pc:sldMk cId="1840542441" sldId="2147480805"/>
            <ac:spMk id="5" creationId="{83AEF41A-9AB5-0388-A21E-71411E861FFF}"/>
          </ac:spMkLst>
        </pc:spChg>
        <pc:spChg chg="mod ord">
          <ac:chgData name="Charlotte Leproust" userId="fb069689-236a-4d0f-9666-bf90f2b956d2" providerId="ADAL" clId="{348B9074-3BE0-408B-97AB-F4C231256F84}" dt="2025-05-15T09:03:37.483" v="3015" actId="700"/>
          <ac:spMkLst>
            <pc:docMk/>
            <pc:sldMk cId="1840542441" sldId="2147480805"/>
            <ac:spMk id="6" creationId="{6A10475D-0BDB-8272-38DA-78064A3FF1AC}"/>
          </ac:spMkLst>
        </pc:spChg>
        <pc:spChg chg="mod ord">
          <ac:chgData name="Charlotte Leproust" userId="fb069689-236a-4d0f-9666-bf90f2b956d2" providerId="ADAL" clId="{348B9074-3BE0-408B-97AB-F4C231256F84}" dt="2025-05-15T09:03:37.483" v="3015" actId="700"/>
          <ac:spMkLst>
            <pc:docMk/>
            <pc:sldMk cId="1840542441" sldId="2147480805"/>
            <ac:spMk id="7" creationId="{07098A50-74E1-1FAD-7DFE-F049791C9F7D}"/>
          </ac:spMkLst>
        </pc:spChg>
        <pc:spChg chg="add mod ord">
          <ac:chgData name="Charlotte Leproust" userId="fb069689-236a-4d0f-9666-bf90f2b956d2" providerId="ADAL" clId="{348B9074-3BE0-408B-97AB-F4C231256F84}" dt="2025-05-15T09:17:50.722" v="3066" actId="1076"/>
          <ac:spMkLst>
            <pc:docMk/>
            <pc:sldMk cId="1840542441" sldId="2147480805"/>
            <ac:spMk id="8" creationId="{6D9B1F7C-5EF6-1A23-421D-54B4EE5179C5}"/>
          </ac:spMkLst>
        </pc:spChg>
        <pc:picChg chg="add mod">
          <ac:chgData name="Charlotte Leproust" userId="fb069689-236a-4d0f-9666-bf90f2b956d2" providerId="ADAL" clId="{348B9074-3BE0-408B-97AB-F4C231256F84}" dt="2025-05-15T09:03:48.492" v="3018" actId="962"/>
          <ac:picMkLst>
            <pc:docMk/>
            <pc:sldMk cId="1840542441" sldId="2147480805"/>
            <ac:picMk id="12" creationId="{C3CD342C-0A6F-183C-730A-C872BDEE2BCC}"/>
          </ac:picMkLst>
        </pc:picChg>
      </pc:sldChg>
      <pc:sldChg chg="addSp delSp modSp add del mod modClrScheme chgLayout">
        <pc:chgData name="Charlotte Leproust" userId="fb069689-236a-4d0f-9666-bf90f2b956d2" providerId="ADAL" clId="{348B9074-3BE0-408B-97AB-F4C231256F84}" dt="2025-05-14T14:53:41.515" v="1314" actId="2696"/>
        <pc:sldMkLst>
          <pc:docMk/>
          <pc:sldMk cId="2083919260" sldId="2147480805"/>
        </pc:sldMkLst>
      </pc:sldChg>
      <pc:sldChg chg="addSp delSp modSp add mod">
        <pc:chgData name="Charlotte Leproust" userId="fb069689-236a-4d0f-9666-bf90f2b956d2" providerId="ADAL" clId="{348B9074-3BE0-408B-97AB-F4C231256F84}" dt="2025-05-15T09:18:45.735" v="3078" actId="255"/>
        <pc:sldMkLst>
          <pc:docMk/>
          <pc:sldMk cId="619597300" sldId="2147480806"/>
        </pc:sldMkLst>
        <pc:spChg chg="add mod">
          <ac:chgData name="Charlotte Leproust" userId="fb069689-236a-4d0f-9666-bf90f2b956d2" providerId="ADAL" clId="{348B9074-3BE0-408B-97AB-F4C231256F84}" dt="2025-05-15T09:18:45.735" v="3078" actId="255"/>
          <ac:spMkLst>
            <pc:docMk/>
            <pc:sldMk cId="619597300" sldId="2147480806"/>
            <ac:spMk id="2" creationId="{6BE7B234-F449-1C88-40A8-03CC3546AB38}"/>
          </ac:spMkLst>
        </pc:spChg>
        <pc:spChg chg="mod">
          <ac:chgData name="Charlotte Leproust" userId="fb069689-236a-4d0f-9666-bf90f2b956d2" providerId="ADAL" clId="{348B9074-3BE0-408B-97AB-F4C231256F84}" dt="2025-05-15T09:18:45.735" v="3078" actId="255"/>
          <ac:spMkLst>
            <pc:docMk/>
            <pc:sldMk cId="619597300" sldId="2147480806"/>
            <ac:spMk id="5" creationId="{BF6CE976-C912-C96B-EF5F-1CCA47464401}"/>
          </ac:spMkLst>
        </pc:spChg>
        <pc:spChg chg="mod">
          <ac:chgData name="Charlotte Leproust" userId="fb069689-236a-4d0f-9666-bf90f2b956d2" providerId="ADAL" clId="{348B9074-3BE0-408B-97AB-F4C231256F84}" dt="2025-05-15T09:18:45.735" v="3078" actId="255"/>
          <ac:spMkLst>
            <pc:docMk/>
            <pc:sldMk cId="619597300" sldId="2147480806"/>
            <ac:spMk id="6" creationId="{504CF9DD-ED8D-BC82-B46F-2B25639E8A38}"/>
          </ac:spMkLst>
        </pc:spChg>
        <pc:spChg chg="mod">
          <ac:chgData name="Charlotte Leproust" userId="fb069689-236a-4d0f-9666-bf90f2b956d2" providerId="ADAL" clId="{348B9074-3BE0-408B-97AB-F4C231256F84}" dt="2025-05-15T09:18:13.421" v="3074" actId="20577"/>
          <ac:spMkLst>
            <pc:docMk/>
            <pc:sldMk cId="619597300" sldId="2147480806"/>
            <ac:spMk id="8" creationId="{FA0D2007-F891-32E0-5083-B09B7F88FD6A}"/>
          </ac:spMkLst>
        </pc:spChg>
        <pc:picChg chg="mod">
          <ac:chgData name="Charlotte Leproust" userId="fb069689-236a-4d0f-9666-bf90f2b956d2" providerId="ADAL" clId="{348B9074-3BE0-408B-97AB-F4C231256F84}" dt="2025-05-15T09:18:27.559" v="3075" actId="14826"/>
          <ac:picMkLst>
            <pc:docMk/>
            <pc:sldMk cId="619597300" sldId="2147480806"/>
            <ac:picMk id="12" creationId="{13D50BFA-532D-9DD1-8B43-B1670F06CA20}"/>
          </ac:picMkLst>
        </pc:picChg>
      </pc:sldChg>
      <pc:sldChg chg="delSp modSp add del mod modClrScheme chgLayout">
        <pc:chgData name="Charlotte Leproust" userId="fb069689-236a-4d0f-9666-bf90f2b956d2" providerId="ADAL" clId="{348B9074-3BE0-408B-97AB-F4C231256F84}" dt="2025-05-14T14:53:41.515" v="1314" actId="2696"/>
        <pc:sldMkLst>
          <pc:docMk/>
          <pc:sldMk cId="2830608727" sldId="2147480806"/>
        </pc:sldMkLst>
      </pc:sldChg>
      <pc:sldChg chg="new del">
        <pc:chgData name="Charlotte Leproust" userId="fb069689-236a-4d0f-9666-bf90f2b956d2" providerId="ADAL" clId="{348B9074-3BE0-408B-97AB-F4C231256F84}" dt="2025-05-15T09:37:06.746" v="3316" actId="2696"/>
        <pc:sldMkLst>
          <pc:docMk/>
          <pc:sldMk cId="3032713204" sldId="2147480807"/>
        </pc:sldMkLst>
      </pc:sldChg>
      <pc:sldChg chg="modSp add mod">
        <pc:chgData name="Charlotte Leproust" userId="fb069689-236a-4d0f-9666-bf90f2b956d2" providerId="ADAL" clId="{348B9074-3BE0-408B-97AB-F4C231256F84}" dt="2025-05-15T09:33:15.079" v="3165" actId="14826"/>
        <pc:sldMkLst>
          <pc:docMk/>
          <pc:sldMk cId="4168336614" sldId="2147480808"/>
        </pc:sldMkLst>
        <pc:spChg chg="mod">
          <ac:chgData name="Charlotte Leproust" userId="fb069689-236a-4d0f-9666-bf90f2b956d2" providerId="ADAL" clId="{348B9074-3BE0-408B-97AB-F4C231256F84}" dt="2025-05-15T09:32:56.506" v="3164" actId="20577"/>
          <ac:spMkLst>
            <pc:docMk/>
            <pc:sldMk cId="4168336614" sldId="2147480808"/>
            <ac:spMk id="8" creationId="{62A0E743-92B1-4326-1079-36A36887E474}"/>
          </ac:spMkLst>
        </pc:spChg>
        <pc:picChg chg="mod">
          <ac:chgData name="Charlotte Leproust" userId="fb069689-236a-4d0f-9666-bf90f2b956d2" providerId="ADAL" clId="{348B9074-3BE0-408B-97AB-F4C231256F84}" dt="2025-05-15T09:33:15.079" v="3165" actId="14826"/>
          <ac:picMkLst>
            <pc:docMk/>
            <pc:sldMk cId="4168336614" sldId="2147480808"/>
            <ac:picMk id="12" creationId="{B5B56F0B-F735-164F-4E2C-F9F5AFAED3DC}"/>
          </ac:picMkLst>
        </pc:picChg>
      </pc:sldChg>
      <pc:sldChg chg="modSp add del mod setBg">
        <pc:chgData name="Charlotte Leproust" userId="fb069689-236a-4d0f-9666-bf90f2b956d2" providerId="ADAL" clId="{348B9074-3BE0-408B-97AB-F4C231256F84}" dt="2025-05-15T09:46:04.647" v="3715" actId="2696"/>
        <pc:sldMkLst>
          <pc:docMk/>
          <pc:sldMk cId="1885146535" sldId="2147480809"/>
        </pc:sldMkLst>
      </pc:sldChg>
      <pc:sldChg chg="addSp delSp modSp add mod setBg">
        <pc:chgData name="Charlotte Leproust" userId="fb069689-236a-4d0f-9666-bf90f2b956d2" providerId="ADAL" clId="{348B9074-3BE0-408B-97AB-F4C231256F84}" dt="2025-06-06T07:42:19.453" v="4107" actId="20577"/>
        <pc:sldMkLst>
          <pc:docMk/>
          <pc:sldMk cId="63505106" sldId="2147480810"/>
        </pc:sldMkLst>
        <pc:spChg chg="mod">
          <ac:chgData name="Charlotte Leproust" userId="fb069689-236a-4d0f-9666-bf90f2b956d2" providerId="ADAL" clId="{348B9074-3BE0-408B-97AB-F4C231256F84}" dt="2025-05-15T09:41:32.279" v="3349"/>
          <ac:spMkLst>
            <pc:docMk/>
            <pc:sldMk cId="63505106" sldId="2147480810"/>
            <ac:spMk id="7" creationId="{CDDDEF33-54AB-2B4E-9638-8C04C696D1BC}"/>
          </ac:spMkLst>
        </pc:spChg>
        <pc:spChg chg="mod">
          <ac:chgData name="Charlotte Leproust" userId="fb069689-236a-4d0f-9666-bf90f2b956d2" providerId="ADAL" clId="{348B9074-3BE0-408B-97AB-F4C231256F84}" dt="2025-06-06T07:42:19.453" v="4107" actId="20577"/>
          <ac:spMkLst>
            <pc:docMk/>
            <pc:sldMk cId="63505106" sldId="2147480810"/>
            <ac:spMk id="8" creationId="{AC62056C-457A-F7ED-6488-C4B694AAA8E6}"/>
          </ac:spMkLst>
        </pc:spChg>
        <pc:spChg chg="mod">
          <ac:chgData name="Charlotte Leproust" userId="fb069689-236a-4d0f-9666-bf90f2b956d2" providerId="ADAL" clId="{348B9074-3BE0-408B-97AB-F4C231256F84}" dt="2025-05-15T09:42:26.708" v="3408" actId="1076"/>
          <ac:spMkLst>
            <pc:docMk/>
            <pc:sldMk cId="63505106" sldId="2147480810"/>
            <ac:spMk id="12" creationId="{2A585664-8B41-409B-738F-262FBAC865ED}"/>
          </ac:spMkLst>
        </pc:spChg>
        <pc:spChg chg="mod">
          <ac:chgData name="Charlotte Leproust" userId="fb069689-236a-4d0f-9666-bf90f2b956d2" providerId="ADAL" clId="{348B9074-3BE0-408B-97AB-F4C231256F84}" dt="2025-05-15T09:44:59.235" v="3610"/>
          <ac:spMkLst>
            <pc:docMk/>
            <pc:sldMk cId="63505106" sldId="2147480810"/>
            <ac:spMk id="16" creationId="{5A957AB4-423D-9577-9FF6-32FDF63C3071}"/>
          </ac:spMkLst>
        </pc:spChg>
        <pc:spChg chg="add mod">
          <ac:chgData name="Charlotte Leproust" userId="fb069689-236a-4d0f-9666-bf90f2b956d2" providerId="ADAL" clId="{348B9074-3BE0-408B-97AB-F4C231256F84}" dt="2025-05-15T09:41:44.511" v="3353" actId="1076"/>
          <ac:spMkLst>
            <pc:docMk/>
            <pc:sldMk cId="63505106" sldId="2147480810"/>
            <ac:spMk id="19" creationId="{8E03877E-B71F-2C3D-D4CD-0914810433D8}"/>
          </ac:spMkLst>
        </pc:spChg>
        <pc:spChg chg="add mod">
          <ac:chgData name="Charlotte Leproust" userId="fb069689-236a-4d0f-9666-bf90f2b956d2" providerId="ADAL" clId="{348B9074-3BE0-408B-97AB-F4C231256F84}" dt="2025-05-15T09:44:29.989" v="3553" actId="6549"/>
          <ac:spMkLst>
            <pc:docMk/>
            <pc:sldMk cId="63505106" sldId="2147480810"/>
            <ac:spMk id="23" creationId="{CE51A4A2-1A65-583D-D643-953C42684B8A}"/>
          </ac:spMkLst>
        </pc:spChg>
        <pc:spChg chg="add mod">
          <ac:chgData name="Charlotte Leproust" userId="fb069689-236a-4d0f-9666-bf90f2b956d2" providerId="ADAL" clId="{348B9074-3BE0-408B-97AB-F4C231256F84}" dt="2025-05-15T09:45:50.013" v="3689" actId="1076"/>
          <ac:spMkLst>
            <pc:docMk/>
            <pc:sldMk cId="63505106" sldId="2147480810"/>
            <ac:spMk id="24" creationId="{44AD5D3D-DAAF-773A-077E-21DECC8FACF2}"/>
          </ac:spMkLst>
        </pc:spChg>
        <pc:spChg chg="mod">
          <ac:chgData name="Charlotte Leproust" userId="fb069689-236a-4d0f-9666-bf90f2b956d2" providerId="ADAL" clId="{348B9074-3BE0-408B-97AB-F4C231256F84}" dt="2025-05-15T09:41:29.694" v="3348" actId="21"/>
          <ac:spMkLst>
            <pc:docMk/>
            <pc:sldMk cId="63505106" sldId="2147480810"/>
            <ac:spMk id="42" creationId="{3A7ACC76-1425-64BC-4A0E-BA9578170D96}"/>
          </ac:spMkLst>
        </pc:spChg>
        <pc:spChg chg="mod">
          <ac:chgData name="Charlotte Leproust" userId="fb069689-236a-4d0f-9666-bf90f2b956d2" providerId="ADAL" clId="{348B9074-3BE0-408B-97AB-F4C231256F84}" dt="2025-05-15T09:44:00.261" v="3545" actId="1076"/>
          <ac:spMkLst>
            <pc:docMk/>
            <pc:sldMk cId="63505106" sldId="2147480810"/>
            <ac:spMk id="51" creationId="{FAF620B9-FCA5-4C6A-A07A-3885D36BFD91}"/>
          </ac:spMkLst>
        </pc:spChg>
        <pc:spChg chg="mod">
          <ac:chgData name="Charlotte Leproust" userId="fb069689-236a-4d0f-9666-bf90f2b956d2" providerId="ADAL" clId="{348B9074-3BE0-408B-97AB-F4C231256F84}" dt="2025-05-15T09:43:11.171" v="3477" actId="1076"/>
          <ac:spMkLst>
            <pc:docMk/>
            <pc:sldMk cId="63505106" sldId="2147480810"/>
            <ac:spMk id="52" creationId="{EF297191-407F-9803-70E1-2BEE6C479860}"/>
          </ac:spMkLst>
        </pc:spChg>
        <pc:picChg chg="mod">
          <ac:chgData name="Charlotte Leproust" userId="fb069689-236a-4d0f-9666-bf90f2b956d2" providerId="ADAL" clId="{348B9074-3BE0-408B-97AB-F4C231256F84}" dt="2025-05-15T09:41:13.980" v="3346" actId="14826"/>
          <ac:picMkLst>
            <pc:docMk/>
            <pc:sldMk cId="63505106" sldId="2147480810"/>
            <ac:picMk id="17" creationId="{DFBB4070-C447-47E3-0913-0D4860687890}"/>
          </ac:picMkLst>
        </pc:picChg>
        <pc:cxnChg chg="mod">
          <ac:chgData name="Charlotte Leproust" userId="fb069689-236a-4d0f-9666-bf90f2b956d2" providerId="ADAL" clId="{348B9074-3BE0-408B-97AB-F4C231256F84}" dt="2025-05-15T09:43:33.927" v="3536" actId="1036"/>
          <ac:cxnSpMkLst>
            <pc:docMk/>
            <pc:sldMk cId="63505106" sldId="2147480810"/>
            <ac:cxnSpMk id="10" creationId="{9924FE43-DFCA-C544-B040-AB05FB9A0185}"/>
          </ac:cxnSpMkLst>
        </pc:cxnChg>
        <pc:cxnChg chg="mod">
          <ac:chgData name="Charlotte Leproust" userId="fb069689-236a-4d0f-9666-bf90f2b956d2" providerId="ADAL" clId="{348B9074-3BE0-408B-97AB-F4C231256F84}" dt="2025-05-15T09:43:24.034" v="3513" actId="1035"/>
          <ac:cxnSpMkLst>
            <pc:docMk/>
            <pc:sldMk cId="63505106" sldId="2147480810"/>
            <ac:cxnSpMk id="13" creationId="{907016A1-2DF9-0626-48CA-04B2BE76E954}"/>
          </ac:cxnSpMkLst>
        </pc:cxnChg>
        <pc:cxnChg chg="mod">
          <ac:chgData name="Charlotte Leproust" userId="fb069689-236a-4d0f-9666-bf90f2b956d2" providerId="ADAL" clId="{348B9074-3BE0-408B-97AB-F4C231256F84}" dt="2025-05-15T09:44:48.745" v="3609" actId="1035"/>
          <ac:cxnSpMkLst>
            <pc:docMk/>
            <pc:sldMk cId="63505106" sldId="2147480810"/>
            <ac:cxnSpMk id="61" creationId="{BBD0C189-BD46-4D52-2D08-7B37854C7B06}"/>
          </ac:cxnSpMkLst>
        </pc:cxnChg>
        <pc:cxnChg chg="mod">
          <ac:chgData name="Charlotte Leproust" userId="fb069689-236a-4d0f-9666-bf90f2b956d2" providerId="ADAL" clId="{348B9074-3BE0-408B-97AB-F4C231256F84}" dt="2025-05-15T09:46:00.128" v="3714" actId="1035"/>
          <ac:cxnSpMkLst>
            <pc:docMk/>
            <pc:sldMk cId="63505106" sldId="2147480810"/>
            <ac:cxnSpMk id="63" creationId="{8BF6CF25-202E-83B8-9C13-8DFC0EAC0DE0}"/>
          </ac:cxnSpMkLst>
        </pc:cxnChg>
      </pc:sldChg>
      <pc:sldChg chg="add setBg">
        <pc:chgData name="Charlotte Leproust" userId="fb069689-236a-4d0f-9666-bf90f2b956d2" providerId="ADAL" clId="{348B9074-3BE0-408B-97AB-F4C231256F84}" dt="2025-05-15T09:47:05.337" v="3716"/>
        <pc:sldMkLst>
          <pc:docMk/>
          <pc:sldMk cId="590676858" sldId="2147480811"/>
        </pc:sldMkLst>
      </pc:sldChg>
      <pc:sldChg chg="modSp add del mod">
        <pc:chgData name="Charlotte Leproust" userId="fb069689-236a-4d0f-9666-bf90f2b956d2" providerId="ADAL" clId="{348B9074-3BE0-408B-97AB-F4C231256F84}" dt="2025-06-06T07:00:32.661" v="4072" actId="2696"/>
        <pc:sldMkLst>
          <pc:docMk/>
          <pc:sldMk cId="3706945999" sldId="2147480812"/>
        </pc:sldMkLst>
      </pc:sldChg>
      <pc:sldChg chg="modSp add mod setBg modShow">
        <pc:chgData name="Charlotte Leproust" userId="fb069689-236a-4d0f-9666-bf90f2b956d2" providerId="ADAL" clId="{348B9074-3BE0-408B-97AB-F4C231256F84}" dt="2025-06-06T07:58:21.923" v="4108" actId="729"/>
        <pc:sldMkLst>
          <pc:docMk/>
          <pc:sldMk cId="3508744308" sldId="2147480813"/>
        </pc:sldMkLst>
        <pc:spChg chg="mod">
          <ac:chgData name="Charlotte Leproust" userId="fb069689-236a-4d0f-9666-bf90f2b956d2" providerId="ADAL" clId="{348B9074-3BE0-408B-97AB-F4C231256F84}" dt="2025-05-15T09:58:17.902" v="3749" actId="255"/>
          <ac:spMkLst>
            <pc:docMk/>
            <pc:sldMk cId="3508744308" sldId="2147480813"/>
            <ac:spMk id="4" creationId="{6DFBCE54-52DE-35A5-4BEC-474109D37246}"/>
          </ac:spMkLst>
        </pc:spChg>
        <pc:spChg chg="mod">
          <ac:chgData name="Charlotte Leproust" userId="fb069689-236a-4d0f-9666-bf90f2b956d2" providerId="ADAL" clId="{348B9074-3BE0-408B-97AB-F4C231256F84}" dt="2025-05-15T09:58:14.305" v="3748" actId="255"/>
          <ac:spMkLst>
            <pc:docMk/>
            <pc:sldMk cId="3508744308" sldId="2147480813"/>
            <ac:spMk id="5" creationId="{96C9EDFE-185D-5C09-A2E7-62B039D283DE}"/>
          </ac:spMkLst>
        </pc:spChg>
        <pc:spChg chg="mod">
          <ac:chgData name="Charlotte Leproust" userId="fb069689-236a-4d0f-9666-bf90f2b956d2" providerId="ADAL" clId="{348B9074-3BE0-408B-97AB-F4C231256F84}" dt="2025-06-06T07:00:48.957" v="4083" actId="20577"/>
          <ac:spMkLst>
            <pc:docMk/>
            <pc:sldMk cId="3508744308" sldId="2147480813"/>
            <ac:spMk id="26" creationId="{26521C73-157D-F8FA-7EF4-5F7E1CAC9089}"/>
          </ac:spMkLst>
        </pc:spChg>
      </pc:sldChg>
      <pc:sldChg chg="modSp add mod">
        <pc:chgData name="Charlotte Leproust" userId="fb069689-236a-4d0f-9666-bf90f2b956d2" providerId="ADAL" clId="{348B9074-3BE0-408B-97AB-F4C231256F84}" dt="2025-05-15T09:58:23.593" v="3750" actId="255"/>
        <pc:sldMkLst>
          <pc:docMk/>
          <pc:sldMk cId="3233779903" sldId="2147480814"/>
        </pc:sldMkLst>
        <pc:spChg chg="mod">
          <ac:chgData name="Charlotte Leproust" userId="fb069689-236a-4d0f-9666-bf90f2b956d2" providerId="ADAL" clId="{348B9074-3BE0-408B-97AB-F4C231256F84}" dt="2025-05-15T09:58:23.593" v="3750" actId="255"/>
          <ac:spMkLst>
            <pc:docMk/>
            <pc:sldMk cId="3233779903" sldId="2147480814"/>
            <ac:spMk id="3" creationId="{DA3D5502-C0F2-CFCB-7F6E-EA18461A5E96}"/>
          </ac:spMkLst>
        </pc:spChg>
        <pc:spChg chg="mod">
          <ac:chgData name="Charlotte Leproust" userId="fb069689-236a-4d0f-9666-bf90f2b956d2" providerId="ADAL" clId="{348B9074-3BE0-408B-97AB-F4C231256F84}" dt="2025-05-15T09:58:23.593" v="3750" actId="255"/>
          <ac:spMkLst>
            <pc:docMk/>
            <pc:sldMk cId="3233779903" sldId="2147480814"/>
            <ac:spMk id="4" creationId="{005B26C0-CFA5-FD37-9A77-3F6F45AF06C3}"/>
          </ac:spMkLst>
        </pc:spChg>
        <pc:spChg chg="mod">
          <ac:chgData name="Charlotte Leproust" userId="fb069689-236a-4d0f-9666-bf90f2b956d2" providerId="ADAL" clId="{348B9074-3BE0-408B-97AB-F4C231256F84}" dt="2025-05-15T09:58:23.593" v="3750" actId="255"/>
          <ac:spMkLst>
            <pc:docMk/>
            <pc:sldMk cId="3233779903" sldId="2147480814"/>
            <ac:spMk id="7" creationId="{90050396-7D91-B161-85C6-A15E147BE69F}"/>
          </ac:spMkLst>
        </pc:spChg>
      </pc:sldChg>
      <pc:sldChg chg="modSp add mod modShow">
        <pc:chgData name="Charlotte Leproust" userId="fb069689-236a-4d0f-9666-bf90f2b956d2" providerId="ADAL" clId="{348B9074-3BE0-408B-97AB-F4C231256F84}" dt="2025-06-06T07:58:27.835" v="4109" actId="729"/>
        <pc:sldMkLst>
          <pc:docMk/>
          <pc:sldMk cId="2386308969" sldId="2147480815"/>
        </pc:sldMkLst>
        <pc:spChg chg="mod">
          <ac:chgData name="Charlotte Leproust" userId="fb069689-236a-4d0f-9666-bf90f2b956d2" providerId="ADAL" clId="{348B9074-3BE0-408B-97AB-F4C231256F84}" dt="2025-05-15T09:58:39.025" v="3751" actId="255"/>
          <ac:spMkLst>
            <pc:docMk/>
            <pc:sldMk cId="2386308969" sldId="2147480815"/>
            <ac:spMk id="6" creationId="{F0918EB2-BEF5-2450-CB61-E61F7DE48662}"/>
          </ac:spMkLst>
        </pc:spChg>
        <pc:spChg chg="mod">
          <ac:chgData name="Charlotte Leproust" userId="fb069689-236a-4d0f-9666-bf90f2b956d2" providerId="ADAL" clId="{348B9074-3BE0-408B-97AB-F4C231256F84}" dt="2025-05-15T09:58:39.025" v="3751" actId="255"/>
          <ac:spMkLst>
            <pc:docMk/>
            <pc:sldMk cId="2386308969" sldId="2147480815"/>
            <ac:spMk id="7" creationId="{E56970C1-41E6-C8D2-FB23-509F240B6153}"/>
          </ac:spMkLst>
        </pc:spChg>
      </pc:sldChg>
      <pc:sldChg chg="modSp add mod setBg">
        <pc:chgData name="Charlotte Leproust" userId="fb069689-236a-4d0f-9666-bf90f2b956d2" providerId="ADAL" clId="{348B9074-3BE0-408B-97AB-F4C231256F84}" dt="2025-05-15T09:58:44.749" v="3752" actId="255"/>
        <pc:sldMkLst>
          <pc:docMk/>
          <pc:sldMk cId="2011633917" sldId="2147480816"/>
        </pc:sldMkLst>
        <pc:spChg chg="mod">
          <ac:chgData name="Charlotte Leproust" userId="fb069689-236a-4d0f-9666-bf90f2b956d2" providerId="ADAL" clId="{348B9074-3BE0-408B-97AB-F4C231256F84}" dt="2025-05-15T09:58:44.749" v="3752" actId="255"/>
          <ac:spMkLst>
            <pc:docMk/>
            <pc:sldMk cId="2011633917" sldId="2147480816"/>
            <ac:spMk id="5" creationId="{8EBEDECB-81AF-0863-2CFE-A5B55C143D1E}"/>
          </ac:spMkLst>
        </pc:spChg>
        <pc:spChg chg="mod">
          <ac:chgData name="Charlotte Leproust" userId="fb069689-236a-4d0f-9666-bf90f2b956d2" providerId="ADAL" clId="{348B9074-3BE0-408B-97AB-F4C231256F84}" dt="2025-05-15T09:58:44.749" v="3752" actId="255"/>
          <ac:spMkLst>
            <pc:docMk/>
            <pc:sldMk cId="2011633917" sldId="2147480816"/>
            <ac:spMk id="6" creationId="{71FF421F-13FE-5136-8EC6-57FEAEE944C5}"/>
          </ac:spMkLst>
        </pc:spChg>
        <pc:spChg chg="mod">
          <ac:chgData name="Charlotte Leproust" userId="fb069689-236a-4d0f-9666-bf90f2b956d2" providerId="ADAL" clId="{348B9074-3BE0-408B-97AB-F4C231256F84}" dt="2025-05-15T09:58:44.749" v="3752" actId="255"/>
          <ac:spMkLst>
            <pc:docMk/>
            <pc:sldMk cId="2011633917" sldId="2147480816"/>
            <ac:spMk id="7" creationId="{92000A4C-398B-4885-A6DC-37AEA7ADA090}"/>
          </ac:spMkLst>
        </pc:spChg>
      </pc:sldChg>
      <pc:sldChg chg="modSp add mod setBg">
        <pc:chgData name="Charlotte Leproust" userId="fb069689-236a-4d0f-9666-bf90f2b956d2" providerId="ADAL" clId="{348B9074-3BE0-408B-97AB-F4C231256F84}" dt="2025-05-15T09:58:53.819" v="3753" actId="255"/>
        <pc:sldMkLst>
          <pc:docMk/>
          <pc:sldMk cId="3221501555" sldId="2147480817"/>
        </pc:sldMkLst>
        <pc:spChg chg="mod">
          <ac:chgData name="Charlotte Leproust" userId="fb069689-236a-4d0f-9666-bf90f2b956d2" providerId="ADAL" clId="{348B9074-3BE0-408B-97AB-F4C231256F84}" dt="2025-05-15T09:58:53.819" v="3753" actId="255"/>
          <ac:spMkLst>
            <pc:docMk/>
            <pc:sldMk cId="3221501555" sldId="2147480817"/>
            <ac:spMk id="5" creationId="{19A4FC1C-C8FE-8CC9-4FF6-60C9B3D9F48B}"/>
          </ac:spMkLst>
        </pc:spChg>
        <pc:spChg chg="mod">
          <ac:chgData name="Charlotte Leproust" userId="fb069689-236a-4d0f-9666-bf90f2b956d2" providerId="ADAL" clId="{348B9074-3BE0-408B-97AB-F4C231256F84}" dt="2025-05-15T09:58:53.819" v="3753" actId="255"/>
          <ac:spMkLst>
            <pc:docMk/>
            <pc:sldMk cId="3221501555" sldId="2147480817"/>
            <ac:spMk id="6" creationId="{9DE4893A-F08E-3275-431C-1E76B366788C}"/>
          </ac:spMkLst>
        </pc:spChg>
        <pc:spChg chg="mod">
          <ac:chgData name="Charlotte Leproust" userId="fb069689-236a-4d0f-9666-bf90f2b956d2" providerId="ADAL" clId="{348B9074-3BE0-408B-97AB-F4C231256F84}" dt="2025-05-15T09:58:53.819" v="3753" actId="255"/>
          <ac:spMkLst>
            <pc:docMk/>
            <pc:sldMk cId="3221501555" sldId="2147480817"/>
            <ac:spMk id="9" creationId="{563607A0-2FD7-F436-D925-610FB53AA3AC}"/>
          </ac:spMkLst>
        </pc:spChg>
      </pc:sldChg>
      <pc:sldChg chg="modSp add mod setBg">
        <pc:chgData name="Charlotte Leproust" userId="fb069689-236a-4d0f-9666-bf90f2b956d2" providerId="ADAL" clId="{348B9074-3BE0-408B-97AB-F4C231256F84}" dt="2025-05-15T09:48:36.381" v="3737" actId="20577"/>
        <pc:sldMkLst>
          <pc:docMk/>
          <pc:sldMk cId="1594142839" sldId="2147480818"/>
        </pc:sldMkLst>
        <pc:spChg chg="mod">
          <ac:chgData name="Charlotte Leproust" userId="fb069689-236a-4d0f-9666-bf90f2b956d2" providerId="ADAL" clId="{348B9074-3BE0-408B-97AB-F4C231256F84}" dt="2025-05-15T09:48:36.381" v="3737" actId="20577"/>
          <ac:spMkLst>
            <pc:docMk/>
            <pc:sldMk cId="1594142839" sldId="2147480818"/>
            <ac:spMk id="8" creationId="{4CDFEEF2-6F69-127C-68BB-C7BDD005E609}"/>
          </ac:spMkLst>
        </pc:spChg>
        <pc:picChg chg="mod">
          <ac:chgData name="Charlotte Leproust" userId="fb069689-236a-4d0f-9666-bf90f2b956d2" providerId="ADAL" clId="{348B9074-3BE0-408B-97AB-F4C231256F84}" dt="2025-05-15T09:47:57.850" v="3719" actId="14826"/>
          <ac:picMkLst>
            <pc:docMk/>
            <pc:sldMk cId="1594142839" sldId="2147480818"/>
            <ac:picMk id="12" creationId="{DD894DD1-63F1-4041-0F7F-E2D3479284A9}"/>
          </ac:picMkLst>
        </pc:picChg>
      </pc:sldChg>
      <pc:sldChg chg="modSp add mod ord setBg">
        <pc:chgData name="Charlotte Leproust" userId="fb069689-236a-4d0f-9666-bf90f2b956d2" providerId="ADAL" clId="{348B9074-3BE0-408B-97AB-F4C231256F84}" dt="2025-05-15T09:57:59.052" v="3746" actId="255"/>
        <pc:sldMkLst>
          <pc:docMk/>
          <pc:sldMk cId="46271235" sldId="2147480819"/>
        </pc:sldMkLst>
        <pc:spChg chg="mod">
          <ac:chgData name="Charlotte Leproust" userId="fb069689-236a-4d0f-9666-bf90f2b956d2" providerId="ADAL" clId="{348B9074-3BE0-408B-97AB-F4C231256F84}" dt="2025-05-15T09:57:59.052" v="3746" actId="255"/>
          <ac:spMkLst>
            <pc:docMk/>
            <pc:sldMk cId="46271235" sldId="2147480819"/>
            <ac:spMk id="2" creationId="{002EF6D7-22C8-2202-0E2F-9701C21B8993}"/>
          </ac:spMkLst>
        </pc:spChg>
        <pc:spChg chg="mod">
          <ac:chgData name="Charlotte Leproust" userId="fb069689-236a-4d0f-9666-bf90f2b956d2" providerId="ADAL" clId="{348B9074-3BE0-408B-97AB-F4C231256F84}" dt="2025-05-15T09:57:59.052" v="3746" actId="255"/>
          <ac:spMkLst>
            <pc:docMk/>
            <pc:sldMk cId="46271235" sldId="2147480819"/>
            <ac:spMk id="5" creationId="{29AAA644-C932-6D47-70E5-BA5DF10196D5}"/>
          </ac:spMkLst>
        </pc:spChg>
        <pc:spChg chg="mod">
          <ac:chgData name="Charlotte Leproust" userId="fb069689-236a-4d0f-9666-bf90f2b956d2" providerId="ADAL" clId="{348B9074-3BE0-408B-97AB-F4C231256F84}" dt="2025-05-15T09:57:59.052" v="3746" actId="255"/>
          <ac:spMkLst>
            <pc:docMk/>
            <pc:sldMk cId="46271235" sldId="2147480819"/>
            <ac:spMk id="6" creationId="{1A5307D8-C6D6-2505-D7FE-CF199F7CC1AF}"/>
          </ac:spMkLst>
        </pc:spChg>
        <pc:picChg chg="mod">
          <ac:chgData name="Charlotte Leproust" userId="fb069689-236a-4d0f-9666-bf90f2b956d2" providerId="ADAL" clId="{348B9074-3BE0-408B-97AB-F4C231256F84}" dt="2025-05-15T09:48:56.194" v="3738" actId="14826"/>
          <ac:picMkLst>
            <pc:docMk/>
            <pc:sldMk cId="46271235" sldId="2147480819"/>
            <ac:picMk id="12" creationId="{E4BADABB-4037-720B-6B39-578048ABD877}"/>
          </ac:picMkLst>
        </pc:picChg>
      </pc:sldChg>
      <pc:sldChg chg="addSp delSp modSp add mod setBg">
        <pc:chgData name="Charlotte Leproust" userId="fb069689-236a-4d0f-9666-bf90f2b956d2" providerId="ADAL" clId="{348B9074-3BE0-408B-97AB-F4C231256F84}" dt="2025-06-06T07:00:27.327" v="4071" actId="14100"/>
        <pc:sldMkLst>
          <pc:docMk/>
          <pc:sldMk cId="2878735489" sldId="2147480820"/>
        </pc:sldMkLst>
        <pc:spChg chg="add mod">
          <ac:chgData name="Charlotte Leproust" userId="fb069689-236a-4d0f-9666-bf90f2b956d2" providerId="ADAL" clId="{348B9074-3BE0-408B-97AB-F4C231256F84}" dt="2025-06-06T06:43:40.023" v="4059"/>
          <ac:spMkLst>
            <pc:docMk/>
            <pc:sldMk cId="2878735489" sldId="2147480820"/>
            <ac:spMk id="2" creationId="{F56B5CFA-073A-D245-482C-B80D9C760174}"/>
          </ac:spMkLst>
        </pc:spChg>
        <pc:spChg chg="mod">
          <ac:chgData name="Charlotte Leproust" userId="fb069689-236a-4d0f-9666-bf90f2b956d2" providerId="ADAL" clId="{348B9074-3BE0-408B-97AB-F4C231256F84}" dt="2025-06-06T06:47:00.173" v="4066" actId="20577"/>
          <ac:spMkLst>
            <pc:docMk/>
            <pc:sldMk cId="2878735489" sldId="2147480820"/>
            <ac:spMk id="9" creationId="{56BEF7B7-30BE-4BF2-3456-D8B978E21BF5}"/>
          </ac:spMkLst>
        </pc:spChg>
        <pc:picChg chg="add mod">
          <ac:chgData name="Charlotte Leproust" userId="fb069689-236a-4d0f-9666-bf90f2b956d2" providerId="ADAL" clId="{348B9074-3BE0-408B-97AB-F4C231256F84}" dt="2025-06-06T07:00:27.327" v="4071" actId="14100"/>
          <ac:picMkLst>
            <pc:docMk/>
            <pc:sldMk cId="2878735489" sldId="2147480820"/>
            <ac:picMk id="12" creationId="{F080E7A1-D2B8-7F73-2B0C-D82CAA80D049}"/>
          </ac:picMkLst>
        </pc:picChg>
      </pc:sldChg>
      <pc:sldChg chg="add setBg">
        <pc:chgData name="Charlotte Leproust" userId="fb069689-236a-4d0f-9666-bf90f2b956d2" providerId="ADAL" clId="{348B9074-3BE0-408B-97AB-F4C231256F84}" dt="2025-06-06T07:30:26.742" v="4087"/>
        <pc:sldMkLst>
          <pc:docMk/>
          <pc:sldMk cId="1662943750" sldId="2147480821"/>
        </pc:sldMkLst>
      </pc:sldChg>
      <pc:sldChg chg="add setBg">
        <pc:chgData name="Charlotte Leproust" userId="fb069689-236a-4d0f-9666-bf90f2b956d2" providerId="ADAL" clId="{348B9074-3BE0-408B-97AB-F4C231256F84}" dt="2025-06-06T08:15:42.353" v="4110"/>
        <pc:sldMkLst>
          <pc:docMk/>
          <pc:sldMk cId="3058552092" sldId="2147480822"/>
        </pc:sldMkLst>
      </pc:sldChg>
      <pc:sldMasterChg chg="delSldLayout">
        <pc:chgData name="Charlotte Leproust" userId="fb069689-236a-4d0f-9666-bf90f2b956d2" providerId="ADAL" clId="{348B9074-3BE0-408B-97AB-F4C231256F84}" dt="2025-05-15T09:47:24.410" v="3717" actId="47"/>
        <pc:sldMasterMkLst>
          <pc:docMk/>
          <pc:sldMasterMk cId="2372587646" sldId="2147483779"/>
        </pc:sldMasterMkLst>
        <pc:sldLayoutChg chg="del">
          <pc:chgData name="Charlotte Leproust" userId="fb069689-236a-4d0f-9666-bf90f2b956d2" providerId="ADAL" clId="{348B9074-3BE0-408B-97AB-F4C231256F84}" dt="2025-05-15T09:47:24.410" v="3717" actId="47"/>
          <pc:sldLayoutMkLst>
            <pc:docMk/>
            <pc:sldMasterMk cId="2372587646" sldId="2147483779"/>
            <pc:sldLayoutMk cId="593765705" sldId="2147483840"/>
          </pc:sldLayoutMkLst>
        </pc:sldLayoutChg>
        <pc:sldLayoutChg chg="del">
          <pc:chgData name="Charlotte Leproust" userId="fb069689-236a-4d0f-9666-bf90f2b956d2" providerId="ADAL" clId="{348B9074-3BE0-408B-97AB-F4C231256F84}" dt="2025-05-14T14:53:41.515" v="1314" actId="2696"/>
          <pc:sldLayoutMkLst>
            <pc:docMk/>
            <pc:sldMasterMk cId="2372587646" sldId="2147483779"/>
            <pc:sldLayoutMk cId="2264880528" sldId="2147483841"/>
          </pc:sldLayoutMkLst>
        </pc:sldLayoutChg>
        <pc:sldLayoutChg chg="del">
          <pc:chgData name="Charlotte Leproust" userId="fb069689-236a-4d0f-9666-bf90f2b956d2" providerId="ADAL" clId="{348B9074-3BE0-408B-97AB-F4C231256F84}" dt="2025-05-14T14:53:41.515" v="1314" actId="2696"/>
          <pc:sldLayoutMkLst>
            <pc:docMk/>
            <pc:sldMasterMk cId="2372587646" sldId="2147483779"/>
            <pc:sldLayoutMk cId="2608469579" sldId="2147483842"/>
          </pc:sldLayoutMkLst>
        </pc:sldLayoutChg>
        <pc:sldLayoutChg chg="del">
          <pc:chgData name="Charlotte Leproust" userId="fb069689-236a-4d0f-9666-bf90f2b956d2" providerId="ADAL" clId="{348B9074-3BE0-408B-97AB-F4C231256F84}" dt="2025-05-14T14:53:41.515" v="1314" actId="2696"/>
          <pc:sldLayoutMkLst>
            <pc:docMk/>
            <pc:sldMasterMk cId="2372587646" sldId="2147483779"/>
            <pc:sldLayoutMk cId="3013073321" sldId="2147483843"/>
          </pc:sldLayoutMkLst>
        </pc:sldLayoutChg>
      </pc:sldMasterChg>
    </pc:docChg>
  </pc:docChgLst>
  <pc:docChgLst>
    <pc:chgData name="Charlotte Leproust" userId="fb069689-236a-4d0f-9666-bf90f2b956d2" providerId="ADAL" clId="{431C4D94-CBB4-4E76-A7CD-1CA8DD524308}"/>
    <pc:docChg chg="undo custSel addSld delSld modSld modSection">
      <pc:chgData name="Charlotte Leproust" userId="fb069689-236a-4d0f-9666-bf90f2b956d2" providerId="ADAL" clId="{431C4D94-CBB4-4E76-A7CD-1CA8DD524308}" dt="2025-06-18T10:03:54.841" v="18" actId="729"/>
      <pc:docMkLst>
        <pc:docMk/>
      </pc:docMkLst>
      <pc:sldChg chg="modNotesTx">
        <pc:chgData name="Charlotte Leproust" userId="fb069689-236a-4d0f-9666-bf90f2b956d2" providerId="ADAL" clId="{431C4D94-CBB4-4E76-A7CD-1CA8DD524308}" dt="2025-06-18T10:03:22.579" v="12" actId="6549"/>
        <pc:sldMkLst>
          <pc:docMk/>
          <pc:sldMk cId="390288512" sldId="406"/>
        </pc:sldMkLst>
      </pc:sldChg>
      <pc:sldChg chg="modNotesTx">
        <pc:chgData name="Charlotte Leproust" userId="fb069689-236a-4d0f-9666-bf90f2b956d2" providerId="ADAL" clId="{431C4D94-CBB4-4E76-A7CD-1CA8DD524308}" dt="2025-06-18T10:03:27.251" v="13" actId="6549"/>
        <pc:sldMkLst>
          <pc:docMk/>
          <pc:sldMk cId="2765329921" sldId="423"/>
        </pc:sldMkLst>
      </pc:sldChg>
      <pc:sldChg chg="modNotesTx">
        <pc:chgData name="Charlotte Leproust" userId="fb069689-236a-4d0f-9666-bf90f2b956d2" providerId="ADAL" clId="{431C4D94-CBB4-4E76-A7CD-1CA8DD524308}" dt="2025-06-18T10:03:03.882" v="5" actId="6549"/>
        <pc:sldMkLst>
          <pc:docMk/>
          <pc:sldMk cId="4097741135" sldId="1063"/>
        </pc:sldMkLst>
      </pc:sldChg>
      <pc:sldChg chg="modNotesTx">
        <pc:chgData name="Charlotte Leproust" userId="fb069689-236a-4d0f-9666-bf90f2b956d2" providerId="ADAL" clId="{431C4D94-CBB4-4E76-A7CD-1CA8DD524308}" dt="2025-06-18T10:03:09.927" v="11" actId="20577"/>
        <pc:sldMkLst>
          <pc:docMk/>
          <pc:sldMk cId="2009415135" sldId="1067"/>
        </pc:sldMkLst>
      </pc:sldChg>
      <pc:sldChg chg="modNotesTx">
        <pc:chgData name="Charlotte Leproust" userId="fb069689-236a-4d0f-9666-bf90f2b956d2" providerId="ADAL" clId="{431C4D94-CBB4-4E76-A7CD-1CA8DD524308}" dt="2025-06-18T10:03:30.984" v="14" actId="6549"/>
        <pc:sldMkLst>
          <pc:docMk/>
          <pc:sldMk cId="2343790684" sldId="2147480766"/>
        </pc:sldMkLst>
      </pc:sldChg>
      <pc:sldChg chg="add del mod modShow">
        <pc:chgData name="Charlotte Leproust" userId="fb069689-236a-4d0f-9666-bf90f2b956d2" providerId="ADAL" clId="{431C4D94-CBB4-4E76-A7CD-1CA8DD524308}" dt="2025-06-18T10:03:51.937" v="17" actId="729"/>
        <pc:sldMkLst>
          <pc:docMk/>
          <pc:sldMk cId="3508744308" sldId="2147480813"/>
        </pc:sldMkLst>
      </pc:sldChg>
      <pc:sldChg chg="mod modShow">
        <pc:chgData name="Charlotte Leproust" userId="fb069689-236a-4d0f-9666-bf90f2b956d2" providerId="ADAL" clId="{431C4D94-CBB4-4E76-A7CD-1CA8DD524308}" dt="2025-06-18T10:03:54.841" v="18" actId="729"/>
        <pc:sldMkLst>
          <pc:docMk/>
          <pc:sldMk cId="2386308969" sldId="2147480815"/>
        </pc:sldMkLst>
      </pc:sldChg>
      <pc:sldChg chg="modNotesTx">
        <pc:chgData name="Charlotte Leproust" userId="fb069689-236a-4d0f-9666-bf90f2b956d2" providerId="ADAL" clId="{431C4D94-CBB4-4E76-A7CD-1CA8DD524308}" dt="2025-06-18T10:02:54.593" v="4" actId="6549"/>
        <pc:sldMkLst>
          <pc:docMk/>
          <pc:sldMk cId="3058552092" sldId="2147480822"/>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aakonline.sharepoint.com/sites/Team-Dept-PersonalCare/Shared%20Documents/Innovation/2.%20Stage%20gate%20Projects/Ongoing/SheaLight%20and%20SheaEster/Sales%20presentation%20for%202021-2022/Documentation%20supporting%20claims/Sun%20care/Results%20Helios"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embeddings/oleObject19.bin"/><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oleObject" Target="https://aakonline.sharepoint.com/sites/Team-Dept-PersonalCare/Shared%20Documents/Innovation/2.%20Stage%20gate%20Projects/Ongoing/SheaLight%20and%20SheaEster/Sales%20presentation%20for%202021-2022/Documentation%20supporting%20claims/Sun%20care/Results%20from%252"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aakonline.sharepoint.com/sites/Team-Dept-PersonalCare/Shared%20Documents/Innovation/2.%20Stage%20gate%20Projects/Ongoing/SheaLight%20and%20SheaEster/Sales%20presentation%20for%202021-2022/Documentation%20supporting%20claims/Sun%20care/Results%20from%252"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aakonline.sharepoint.com/sites/Team-Dept-PersonalCare/Shared%20Documents/Innovation/2.%20Stage%20gate%20Projects/Ongoing/SheaLight%20and%20SheaEster/Sales%20presentation%20for%202021-2022/Documentation%20supporting%20claims/Sun%20care/Results%20from%252"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none" strike="noStrike" kern="1200" spc="0" baseline="0">
                <a:solidFill>
                  <a:schemeClr val="tx1"/>
                </a:solidFill>
                <a:latin typeface="+mn-lt"/>
                <a:ea typeface="+mn-ea"/>
                <a:cs typeface="+mn-cs"/>
              </a:defRPr>
            </a:pPr>
            <a:r>
              <a:rPr lang="sv-SE" err="1">
                <a:solidFill>
                  <a:schemeClr val="tx1"/>
                </a:solidFill>
              </a:rPr>
              <a:t>Impact</a:t>
            </a:r>
            <a:r>
              <a:rPr lang="sv-SE">
                <a:solidFill>
                  <a:schemeClr val="tx1"/>
                </a:solidFill>
              </a:rPr>
              <a:t> </a:t>
            </a:r>
            <a:r>
              <a:rPr lang="sv-SE" err="1">
                <a:solidFill>
                  <a:schemeClr val="tx1"/>
                </a:solidFill>
              </a:rPr>
              <a:t>of</a:t>
            </a:r>
            <a:r>
              <a:rPr lang="sv-SE">
                <a:solidFill>
                  <a:schemeClr val="tx1"/>
                </a:solidFill>
              </a:rPr>
              <a:t> the </a:t>
            </a:r>
            <a:r>
              <a:rPr lang="sv-SE" err="1">
                <a:solidFill>
                  <a:schemeClr val="tx1"/>
                </a:solidFill>
              </a:rPr>
              <a:t>emollient</a:t>
            </a:r>
            <a:r>
              <a:rPr lang="sv-SE">
                <a:solidFill>
                  <a:schemeClr val="tx1"/>
                </a:solidFill>
              </a:rPr>
              <a:t> on in vitro SPF </a:t>
            </a:r>
            <a:r>
              <a:rPr lang="sv-SE" err="1">
                <a:solidFill>
                  <a:schemeClr val="tx1"/>
                </a:solidFill>
              </a:rPr>
              <a:t>testing</a:t>
            </a:r>
            <a:endParaRPr lang="sv-SE">
              <a:solidFill>
                <a:schemeClr val="tx1"/>
              </a:solidFill>
            </a:endParaRPr>
          </a:p>
        </c:rich>
      </c:tx>
      <c:overlay val="0"/>
      <c:spPr>
        <a:noFill/>
        <a:ln>
          <a:noFill/>
        </a:ln>
        <a:effectLst/>
      </c:spPr>
      <c:txPr>
        <a:bodyPr rot="0" spcFirstLastPara="1" vertOverflow="ellipsis" vert="horz" wrap="square" anchor="ctr" anchorCtr="1"/>
        <a:lstStyle/>
        <a:p>
          <a:pPr>
            <a:defRPr sz="1320" b="0" i="0" u="none" strike="noStrike" kern="1200" spc="0" baseline="0">
              <a:solidFill>
                <a:schemeClr val="tx1"/>
              </a:solidFill>
              <a:latin typeface="+mn-lt"/>
              <a:ea typeface="+mn-ea"/>
              <a:cs typeface="+mn-cs"/>
            </a:defRPr>
          </a:pPr>
          <a:endParaRPr lang="sv-SE"/>
        </a:p>
      </c:txPr>
    </c:title>
    <c:autoTitleDeleted val="0"/>
    <c:plotArea>
      <c:layout>
        <c:manualLayout>
          <c:layoutTarget val="inner"/>
          <c:xMode val="edge"/>
          <c:yMode val="edge"/>
          <c:x val="0.10348574008157656"/>
          <c:y val="8.7800849636063535E-2"/>
          <c:w val="0.87419056636185322"/>
          <c:h val="0.8291062586248884"/>
        </c:manualLayout>
      </c:layout>
      <c:barChart>
        <c:barDir val="col"/>
        <c:grouping val="clustered"/>
        <c:varyColors val="0"/>
        <c:ser>
          <c:idx val="0"/>
          <c:order val="0"/>
          <c:spPr>
            <a:solidFill>
              <a:srgbClr val="2067CA"/>
            </a:solidFill>
            <a:ln>
              <a:noFill/>
            </a:ln>
            <a:effectLst/>
          </c:spPr>
          <c:invertIfNegative val="0"/>
          <c:dPt>
            <c:idx val="0"/>
            <c:invertIfNegative val="0"/>
            <c:bubble3D val="0"/>
            <c:spPr>
              <a:solidFill>
                <a:srgbClr val="FFA240"/>
              </a:solidFill>
              <a:ln>
                <a:noFill/>
              </a:ln>
              <a:effectLst/>
            </c:spPr>
            <c:extLst>
              <c:ext xmlns:c16="http://schemas.microsoft.com/office/drawing/2014/chart" uri="{C3380CC4-5D6E-409C-BE32-E72D297353CC}">
                <c16:uniqueId val="{00000000-301B-42F1-9F09-D462BF134EA2}"/>
              </c:ext>
            </c:extLst>
          </c:dPt>
          <c:dPt>
            <c:idx val="1"/>
            <c:invertIfNegative val="0"/>
            <c:bubble3D val="0"/>
            <c:spPr>
              <a:solidFill>
                <a:srgbClr val="588DD7"/>
              </a:solidFill>
              <a:ln>
                <a:noFill/>
              </a:ln>
              <a:effectLst/>
            </c:spPr>
            <c:extLst>
              <c:ext xmlns:c16="http://schemas.microsoft.com/office/drawing/2014/chart" uri="{C3380CC4-5D6E-409C-BE32-E72D297353CC}">
                <c16:uniqueId val="{00000001-301B-42F1-9F09-D462BF134EA2}"/>
              </c:ext>
            </c:extLst>
          </c:dPt>
          <c:dPt>
            <c:idx val="2"/>
            <c:invertIfNegative val="0"/>
            <c:bubble3D val="0"/>
            <c:spPr>
              <a:solidFill>
                <a:srgbClr val="588DD7"/>
              </a:solidFill>
              <a:ln>
                <a:noFill/>
              </a:ln>
              <a:effectLst/>
            </c:spPr>
            <c:extLst>
              <c:ext xmlns:c16="http://schemas.microsoft.com/office/drawing/2014/chart" uri="{C3380CC4-5D6E-409C-BE32-E72D297353CC}">
                <c16:uniqueId val="{00000002-301B-42F1-9F09-D462BF134EA2}"/>
              </c:ext>
            </c:extLst>
          </c:dPt>
          <c:dLbls>
            <c:delete val="1"/>
          </c:dLbls>
          <c:cat>
            <c:strRef>
              <c:f>'[Results Helioscience 2021-11-18.xlsx]Sheet1 (2)'!$C$4:$C$6</c:f>
              <c:strCache>
                <c:ptCount val="3"/>
                <c:pt idx="0">
                  <c:v>Lipex SheaSolve</c:v>
                </c:pt>
                <c:pt idx="1">
                  <c:v>C12-15 Alkyl benzoate</c:v>
                </c:pt>
                <c:pt idx="2">
                  <c:v>Dicaprylyl carbonate</c:v>
                </c:pt>
              </c:strCache>
            </c:strRef>
          </c:cat>
          <c:val>
            <c:numRef>
              <c:f>'[Results Helioscience 2021-11-18.xlsx]Sheet1 (2)'!$D$4:$D$6</c:f>
              <c:numCache>
                <c:formatCode>General</c:formatCode>
                <c:ptCount val="3"/>
                <c:pt idx="0">
                  <c:v>29.5</c:v>
                </c:pt>
                <c:pt idx="1">
                  <c:v>24.2</c:v>
                </c:pt>
                <c:pt idx="2">
                  <c:v>19.2</c:v>
                </c:pt>
              </c:numCache>
            </c:numRef>
          </c:val>
          <c:extLst>
            <c:ext xmlns:c16="http://schemas.microsoft.com/office/drawing/2014/chart" uri="{C3380CC4-5D6E-409C-BE32-E72D297353CC}">
              <c16:uniqueId val="{00000000-89EE-4C0F-AA64-B21107A2BE26}"/>
            </c:ext>
          </c:extLst>
        </c:ser>
        <c:dLbls>
          <c:dLblPos val="inBase"/>
          <c:showLegendKey val="0"/>
          <c:showVal val="1"/>
          <c:showCatName val="0"/>
          <c:showSerName val="0"/>
          <c:showPercent val="0"/>
          <c:showBubbleSize val="0"/>
        </c:dLbls>
        <c:gapWidth val="219"/>
        <c:overlap val="-27"/>
        <c:axId val="588602320"/>
        <c:axId val="588599368"/>
      </c:barChart>
      <c:catAx>
        <c:axId val="588602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588599368"/>
        <c:crosses val="autoZero"/>
        <c:auto val="1"/>
        <c:lblAlgn val="ctr"/>
        <c:lblOffset val="100"/>
        <c:noMultiLvlLbl val="0"/>
      </c:catAx>
      <c:valAx>
        <c:axId val="58859936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0" i="0" u="none" strike="noStrike" kern="1200" baseline="0">
                    <a:solidFill>
                      <a:schemeClr val="tx1"/>
                    </a:solidFill>
                    <a:latin typeface="+mn-lt"/>
                    <a:ea typeface="+mn-ea"/>
                    <a:cs typeface="+mn-cs"/>
                  </a:defRPr>
                </a:pPr>
                <a:r>
                  <a:rPr lang="sv-SE">
                    <a:solidFill>
                      <a:schemeClr val="tx1"/>
                    </a:solidFill>
                  </a:rPr>
                  <a:t>SPF</a:t>
                </a:r>
              </a:p>
            </c:rich>
          </c:tx>
          <c:overlay val="0"/>
          <c:spPr>
            <a:noFill/>
            <a:ln>
              <a:noFill/>
            </a:ln>
            <a:effectLst/>
          </c:spPr>
          <c:txPr>
            <a:bodyPr rot="-54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5886023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0679282786072027E-2"/>
          <c:y val="4.4701768487717092E-2"/>
          <c:w val="0.69608687791867607"/>
          <c:h val="0.7901656749295074"/>
        </c:manualLayout>
      </c:layout>
      <c:lineChart>
        <c:grouping val="standard"/>
        <c:varyColors val="0"/>
        <c:ser>
          <c:idx val="0"/>
          <c:order val="0"/>
          <c:tx>
            <c:strRef>
              <c:f>Formulation!$C$10</c:f>
              <c:strCache>
                <c:ptCount val="1"/>
                <c:pt idx="0">
                  <c:v>1. Control (vegetable oil)</c:v>
                </c:pt>
              </c:strCache>
            </c:strRef>
          </c:tx>
          <c:spPr>
            <a:ln w="28575" cap="rnd">
              <a:solidFill>
                <a:schemeClr val="accent1"/>
              </a:solidFill>
              <a:round/>
            </a:ln>
            <a:effectLst/>
          </c:spPr>
          <c:marker>
            <c:symbol val="none"/>
          </c:marker>
          <c:cat>
            <c:numRef>
              <c:f>Formulation!$D$9:$H$9</c:f>
              <c:numCache>
                <c:formatCode>General</c:formatCode>
                <c:ptCount val="5"/>
                <c:pt idx="0">
                  <c:v>0</c:v>
                </c:pt>
                <c:pt idx="1">
                  <c:v>1</c:v>
                </c:pt>
                <c:pt idx="2">
                  <c:v>2</c:v>
                </c:pt>
                <c:pt idx="3">
                  <c:v>4</c:v>
                </c:pt>
                <c:pt idx="4">
                  <c:v>8</c:v>
                </c:pt>
              </c:numCache>
            </c:numRef>
          </c:cat>
          <c:val>
            <c:numRef>
              <c:f>Formulation!$D$10:$H$10</c:f>
              <c:numCache>
                <c:formatCode>General</c:formatCode>
                <c:ptCount val="5"/>
                <c:pt idx="0">
                  <c:v>-44.206008583690988</c:v>
                </c:pt>
                <c:pt idx="1">
                  <c:v>0.85836909871244704</c:v>
                </c:pt>
                <c:pt idx="2">
                  <c:v>26.60944206008584</c:v>
                </c:pt>
                <c:pt idx="3">
                  <c:v>35.193133047210289</c:v>
                </c:pt>
                <c:pt idx="4">
                  <c:v>45.922746781115869</c:v>
                </c:pt>
              </c:numCache>
            </c:numRef>
          </c:val>
          <c:smooth val="0"/>
          <c:extLst>
            <c:ext xmlns:c16="http://schemas.microsoft.com/office/drawing/2014/chart" uri="{C3380CC4-5D6E-409C-BE32-E72D297353CC}">
              <c16:uniqueId val="{00000000-0580-4FED-9D1E-1BED9BB26C63}"/>
            </c:ext>
          </c:extLst>
        </c:ser>
        <c:ser>
          <c:idx val="1"/>
          <c:order val="1"/>
          <c:tx>
            <c:strRef>
              <c:f>Formulation!$C$11</c:f>
              <c:strCache>
                <c:ptCount val="1"/>
                <c:pt idx="0">
                  <c:v>2. Dimethicone 5mPas</c:v>
                </c:pt>
              </c:strCache>
            </c:strRef>
          </c:tx>
          <c:spPr>
            <a:ln w="28575" cap="rnd">
              <a:solidFill>
                <a:schemeClr val="accent2"/>
              </a:solidFill>
              <a:round/>
            </a:ln>
            <a:effectLst/>
          </c:spPr>
          <c:marker>
            <c:symbol val="none"/>
          </c:marker>
          <c:cat>
            <c:numRef>
              <c:f>Formulation!$D$9:$H$9</c:f>
              <c:numCache>
                <c:formatCode>General</c:formatCode>
                <c:ptCount val="5"/>
                <c:pt idx="0">
                  <c:v>0</c:v>
                </c:pt>
                <c:pt idx="1">
                  <c:v>1</c:v>
                </c:pt>
                <c:pt idx="2">
                  <c:v>2</c:v>
                </c:pt>
                <c:pt idx="3">
                  <c:v>4</c:v>
                </c:pt>
                <c:pt idx="4">
                  <c:v>8</c:v>
                </c:pt>
              </c:numCache>
            </c:numRef>
          </c:cat>
          <c:val>
            <c:numRef>
              <c:f>Formulation!$D$11:$H$11</c:f>
              <c:numCache>
                <c:formatCode>General</c:formatCode>
                <c:ptCount val="5"/>
                <c:pt idx="0">
                  <c:v>-41.666666666666671</c:v>
                </c:pt>
                <c:pt idx="1">
                  <c:v>0</c:v>
                </c:pt>
                <c:pt idx="2">
                  <c:v>37.5</c:v>
                </c:pt>
                <c:pt idx="3">
                  <c:v>45.833333333333336</c:v>
                </c:pt>
                <c:pt idx="4">
                  <c:v>64.583333333333343</c:v>
                </c:pt>
              </c:numCache>
            </c:numRef>
          </c:val>
          <c:smooth val="0"/>
          <c:extLst>
            <c:ext xmlns:c16="http://schemas.microsoft.com/office/drawing/2014/chart" uri="{C3380CC4-5D6E-409C-BE32-E72D297353CC}">
              <c16:uniqueId val="{00000001-0580-4FED-9D1E-1BED9BB26C63}"/>
            </c:ext>
          </c:extLst>
        </c:ser>
        <c:ser>
          <c:idx val="2"/>
          <c:order val="2"/>
          <c:tx>
            <c:strRef>
              <c:f>Formulation!$C$12</c:f>
              <c:strCache>
                <c:ptCount val="1"/>
                <c:pt idx="0">
                  <c:v>3. LIPEX® SheaLuxe TR</c:v>
                </c:pt>
              </c:strCache>
            </c:strRef>
          </c:tx>
          <c:spPr>
            <a:ln w="28575" cap="rnd">
              <a:solidFill>
                <a:schemeClr val="accent3"/>
              </a:solidFill>
              <a:round/>
            </a:ln>
            <a:effectLst/>
          </c:spPr>
          <c:marker>
            <c:symbol val="none"/>
          </c:marker>
          <c:cat>
            <c:numRef>
              <c:f>Formulation!$D$9:$H$9</c:f>
              <c:numCache>
                <c:formatCode>General</c:formatCode>
                <c:ptCount val="5"/>
                <c:pt idx="0">
                  <c:v>0</c:v>
                </c:pt>
                <c:pt idx="1">
                  <c:v>1</c:v>
                </c:pt>
                <c:pt idx="2">
                  <c:v>2</c:v>
                </c:pt>
                <c:pt idx="3">
                  <c:v>4</c:v>
                </c:pt>
                <c:pt idx="4">
                  <c:v>8</c:v>
                </c:pt>
              </c:numCache>
            </c:numRef>
          </c:cat>
          <c:val>
            <c:numRef>
              <c:f>Formulation!$D$12:$H$12</c:f>
              <c:numCache>
                <c:formatCode>General</c:formatCode>
                <c:ptCount val="5"/>
                <c:pt idx="0">
                  <c:v>-49.392712550607293</c:v>
                </c:pt>
                <c:pt idx="1">
                  <c:v>-27.125506072874501</c:v>
                </c:pt>
                <c:pt idx="2">
                  <c:v>-14.979757085020246</c:v>
                </c:pt>
                <c:pt idx="3">
                  <c:v>-2.8340080971660031</c:v>
                </c:pt>
                <c:pt idx="4">
                  <c:v>3.2388663967611184</c:v>
                </c:pt>
              </c:numCache>
            </c:numRef>
          </c:val>
          <c:smooth val="0"/>
          <c:extLst>
            <c:ext xmlns:c16="http://schemas.microsoft.com/office/drawing/2014/chart" uri="{C3380CC4-5D6E-409C-BE32-E72D297353CC}">
              <c16:uniqueId val="{00000002-0580-4FED-9D1E-1BED9BB26C63}"/>
            </c:ext>
          </c:extLst>
        </c:ser>
        <c:dLbls>
          <c:showLegendKey val="0"/>
          <c:showVal val="0"/>
          <c:showCatName val="0"/>
          <c:showSerName val="0"/>
          <c:showPercent val="0"/>
          <c:showBubbleSize val="0"/>
        </c:dLbls>
        <c:smooth val="0"/>
        <c:axId val="412795919"/>
        <c:axId val="412805519"/>
      </c:lineChart>
      <c:catAx>
        <c:axId val="412795919"/>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sv-SE" sz="1000" b="0" i="0" u="none" strike="noStrike" kern="1200" baseline="0" err="1">
                    <a:solidFill>
                      <a:srgbClr val="000000">
                        <a:lumMod val="65000"/>
                        <a:lumOff val="35000"/>
                      </a:srgbClr>
                    </a:solidFill>
                  </a:rPr>
                  <a:t>Hours</a:t>
                </a:r>
                <a:r>
                  <a:rPr lang="sv-SE" sz="1000" b="0" i="0" u="none" strike="noStrike" kern="1200" baseline="0">
                    <a:solidFill>
                      <a:srgbClr val="000000">
                        <a:lumMod val="65000"/>
                        <a:lumOff val="35000"/>
                      </a:srgbClr>
                    </a:solidFill>
                  </a:rPr>
                  <a:t> at 25</a:t>
                </a:r>
                <a:r>
                  <a:rPr lang="en-US" sz="1000" b="0" i="0" u="none" strike="noStrike" kern="1200" baseline="0">
                    <a:solidFill>
                      <a:srgbClr val="000000">
                        <a:lumMod val="65000"/>
                        <a:lumOff val="35000"/>
                      </a:srgbClr>
                    </a:solidFill>
                    <a:effectLst/>
                    <a:ea typeface="Times New Roman" panose="02020603050405020304" pitchFamily="18" charset="0"/>
                    <a:cs typeface="Times New Roman" panose="02020603050405020304" pitchFamily="18" charset="0"/>
                  </a:rPr>
                  <a:t>°</a:t>
                </a:r>
                <a:r>
                  <a:rPr lang="sv-SE" sz="1000" b="0" i="0" u="none" strike="noStrike" kern="1200" baseline="0">
                    <a:solidFill>
                      <a:srgbClr val="000000">
                        <a:lumMod val="65000"/>
                        <a:lumOff val="35000"/>
                      </a:srgbClr>
                    </a:solidFill>
                  </a:rPr>
                  <a:t>C and 85% </a:t>
                </a:r>
                <a:r>
                  <a:rPr lang="sv-SE" sz="1000" b="0" i="0" u="none" strike="noStrike" kern="1200" baseline="0" err="1">
                    <a:solidFill>
                      <a:srgbClr val="000000">
                        <a:lumMod val="65000"/>
                        <a:lumOff val="35000"/>
                      </a:srgbClr>
                    </a:solidFill>
                  </a:rPr>
                  <a:t>humidity</a:t>
                </a:r>
                <a:endParaRPr lang="sv-SE" sz="1000" b="0" i="0" u="none" strike="noStrike" kern="1200" baseline="0">
                  <a:solidFill>
                    <a:srgbClr val="000000">
                      <a:lumMod val="65000"/>
                      <a:lumOff val="35000"/>
                    </a:srgbClr>
                  </a:solidFill>
                </a:endParaRP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sv-SE"/>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12805519"/>
        <c:crossesAt val="-60"/>
        <c:auto val="1"/>
        <c:lblAlgn val="ctr"/>
        <c:lblOffset val="100"/>
        <c:noMultiLvlLbl val="0"/>
      </c:catAx>
      <c:valAx>
        <c:axId val="412805519"/>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sv-SE"/>
                  <a:t>% volume change vs untreated hair t=0</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12795919"/>
        <c:crossesAt val="1"/>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Compare combing ease SL vs DM for presentation.xlsx]Compare SL to DM (3)'!$B$10</c:f>
              <c:strCache>
                <c:ptCount val="1"/>
                <c:pt idx="0">
                  <c:v>Lipex Shealux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pare combing ease SL vs DM for presentation.xlsx]Compare SL to DM (3)'!$C$3:$D$3</c:f>
              <c:strCache>
                <c:ptCount val="2"/>
                <c:pt idx="0">
                  <c:v>Wet combing</c:v>
                </c:pt>
                <c:pt idx="1">
                  <c:v>Dry Combing</c:v>
                </c:pt>
              </c:strCache>
            </c:strRef>
          </c:cat>
          <c:val>
            <c:numRef>
              <c:f>'[Compare combing ease SL vs DM for presentation.xlsx]Compare SL to DM (3)'!$C$4:$D$4</c:f>
              <c:numCache>
                <c:formatCode>0.0</c:formatCode>
                <c:ptCount val="2"/>
                <c:pt idx="0">
                  <c:v>11.485544357519201</c:v>
                </c:pt>
                <c:pt idx="1">
                  <c:v>49.729749616167197</c:v>
                </c:pt>
              </c:numCache>
            </c:numRef>
          </c:val>
          <c:extLst>
            <c:ext xmlns:c16="http://schemas.microsoft.com/office/drawing/2014/chart" uri="{C3380CC4-5D6E-409C-BE32-E72D297353CC}">
              <c16:uniqueId val="{00000000-379A-403D-A76A-3924C477D1C6}"/>
            </c:ext>
          </c:extLst>
        </c:ser>
        <c:ser>
          <c:idx val="1"/>
          <c:order val="1"/>
          <c:tx>
            <c:strRef>
              <c:f>'[Compare combing ease SL vs DM for presentation.xlsx]Compare SL to DM (3)'!$B$5</c:f>
              <c:strCache>
                <c:ptCount val="1"/>
                <c:pt idx="0">
                  <c:v>Dimethicon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pare combing ease SL vs DM for presentation.xlsx]Compare SL to DM (3)'!$C$3:$D$3</c:f>
              <c:strCache>
                <c:ptCount val="2"/>
                <c:pt idx="0">
                  <c:v>Wet combing</c:v>
                </c:pt>
                <c:pt idx="1">
                  <c:v>Dry Combing</c:v>
                </c:pt>
              </c:strCache>
            </c:strRef>
          </c:cat>
          <c:val>
            <c:numRef>
              <c:f>'[Compare combing ease SL vs DM for presentation.xlsx]Compare SL to DM (3)'!$C$5:$D$5</c:f>
              <c:numCache>
                <c:formatCode>0.0</c:formatCode>
                <c:ptCount val="2"/>
                <c:pt idx="0">
                  <c:v>11.151355506929301</c:v>
                </c:pt>
                <c:pt idx="1">
                  <c:v>41.787704698216601</c:v>
                </c:pt>
              </c:numCache>
            </c:numRef>
          </c:val>
          <c:extLst>
            <c:ext xmlns:c16="http://schemas.microsoft.com/office/drawing/2014/chart" uri="{C3380CC4-5D6E-409C-BE32-E72D297353CC}">
              <c16:uniqueId val="{00000001-379A-403D-A76A-3924C477D1C6}"/>
            </c:ext>
          </c:extLst>
        </c:ser>
        <c:dLbls>
          <c:showLegendKey val="0"/>
          <c:showVal val="0"/>
          <c:showCatName val="0"/>
          <c:showSerName val="0"/>
          <c:showPercent val="0"/>
          <c:showBubbleSize val="0"/>
        </c:dLbls>
        <c:gapWidth val="219"/>
        <c:overlap val="-27"/>
        <c:axId val="1316444928"/>
        <c:axId val="1311381680"/>
      </c:barChart>
      <c:catAx>
        <c:axId val="1316444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11381680"/>
        <c:crosses val="autoZero"/>
        <c:auto val="1"/>
        <c:lblAlgn val="ctr"/>
        <c:lblOffset val="100"/>
        <c:noMultiLvlLbl val="0"/>
      </c:catAx>
      <c:valAx>
        <c:axId val="131138168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rgbClr val="000000">
                        <a:lumMod val="65000"/>
                        <a:lumOff val="35000"/>
                      </a:srgbClr>
                    </a:solidFill>
                    <a:latin typeface="+mn-lt"/>
                    <a:ea typeface="+mn-ea"/>
                    <a:cs typeface="+mn-cs"/>
                  </a:defRPr>
                </a:pPr>
                <a:r>
                  <a:rPr lang="sv-SE"/>
                  <a:t>% </a:t>
                </a:r>
                <a:r>
                  <a:rPr lang="sv-SE" sz="1000" b="0" i="0" u="none" strike="noStrike" kern="1200" spc="0" baseline="0">
                    <a:solidFill>
                      <a:srgbClr val="000000">
                        <a:lumMod val="65000"/>
                        <a:lumOff val="35000"/>
                      </a:srgbClr>
                    </a:solidFill>
                  </a:rPr>
                  <a:t>Change </a:t>
                </a:r>
                <a:r>
                  <a:rPr lang="sv-SE" sz="1000" b="0" i="0" u="none" strike="noStrike" kern="1200" spc="0" baseline="0" err="1">
                    <a:solidFill>
                      <a:srgbClr val="000000">
                        <a:lumMod val="65000"/>
                        <a:lumOff val="35000"/>
                      </a:srgbClr>
                    </a:solidFill>
                  </a:rPr>
                  <a:t>of</a:t>
                </a:r>
                <a:r>
                  <a:rPr lang="sv-SE" sz="1000" b="0" i="0" u="none" strike="noStrike" kern="1200" spc="0" baseline="0">
                    <a:solidFill>
                      <a:srgbClr val="000000">
                        <a:lumMod val="65000"/>
                        <a:lumOff val="35000"/>
                      </a:srgbClr>
                    </a:solidFill>
                  </a:rPr>
                  <a:t> </a:t>
                </a:r>
                <a:r>
                  <a:rPr lang="sv-SE" sz="1000" b="0" i="0" u="none" strike="noStrike" kern="1200" spc="0" baseline="0" err="1">
                    <a:solidFill>
                      <a:srgbClr val="000000">
                        <a:lumMod val="65000"/>
                        <a:lumOff val="35000"/>
                      </a:srgbClr>
                    </a:solidFill>
                  </a:rPr>
                  <a:t>Average</a:t>
                </a:r>
                <a:r>
                  <a:rPr lang="sv-SE" sz="1000" b="0" i="0" u="none" strike="noStrike" kern="1200" spc="0" baseline="0">
                    <a:solidFill>
                      <a:srgbClr val="000000">
                        <a:lumMod val="65000"/>
                        <a:lumOff val="35000"/>
                      </a:srgbClr>
                    </a:solidFill>
                  </a:rPr>
                  <a:t> Peak Force in g</a:t>
                </a:r>
              </a:p>
              <a:p>
                <a:pPr marL="0" marR="0" lvl="0" indent="0" algn="ctr" defTabSz="914400" rtl="0" eaLnBrk="1" fontAlgn="auto" latinLnBrk="0" hangingPunct="1">
                  <a:lnSpc>
                    <a:spcPct val="100000"/>
                  </a:lnSpc>
                  <a:spcBef>
                    <a:spcPts val="0"/>
                  </a:spcBef>
                  <a:spcAft>
                    <a:spcPts val="0"/>
                  </a:spcAft>
                  <a:buClrTx/>
                  <a:buSzTx/>
                  <a:buFontTx/>
                  <a:buNone/>
                  <a:tabLst/>
                  <a:defRPr>
                    <a:solidFill>
                      <a:srgbClr val="000000">
                        <a:lumMod val="65000"/>
                        <a:lumOff val="35000"/>
                      </a:srgbClr>
                    </a:solidFill>
                  </a:defRPr>
                </a:pPr>
                <a:r>
                  <a:rPr lang="sv-SE"/>
                  <a:t> </a:t>
                </a:r>
              </a:p>
            </c:rich>
          </c:tx>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rgbClr val="000000">
                      <a:lumMod val="65000"/>
                      <a:lumOff val="35000"/>
                    </a:srgb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164449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2067CA"/>
            </a:solidFill>
            <a:ln>
              <a:noFill/>
            </a:ln>
            <a:effectLst/>
          </c:spPr>
          <c:invertIfNegative val="0"/>
          <c:dPt>
            <c:idx val="0"/>
            <c:invertIfNegative val="0"/>
            <c:bubble3D val="0"/>
            <c:spPr>
              <a:solidFill>
                <a:srgbClr val="588DD7"/>
              </a:solidFill>
              <a:ln>
                <a:noFill/>
              </a:ln>
              <a:effectLst/>
            </c:spPr>
            <c:extLst>
              <c:ext xmlns:c16="http://schemas.microsoft.com/office/drawing/2014/chart" uri="{C3380CC4-5D6E-409C-BE32-E72D297353CC}">
                <c16:uniqueId val="{00000002-91A7-4937-9092-A7DF8CCFED5F}"/>
              </c:ext>
            </c:extLst>
          </c:dPt>
          <c:dPt>
            <c:idx val="1"/>
            <c:invertIfNegative val="0"/>
            <c:bubble3D val="0"/>
            <c:spPr>
              <a:solidFill>
                <a:srgbClr val="FFA240"/>
              </a:solidFill>
              <a:ln>
                <a:solidFill>
                  <a:srgbClr val="FFA240"/>
                </a:solidFill>
              </a:ln>
              <a:effectLst/>
            </c:spPr>
            <c:extLst>
              <c:ext xmlns:c16="http://schemas.microsoft.com/office/drawing/2014/chart" uri="{C3380CC4-5D6E-409C-BE32-E72D297353CC}">
                <c16:uniqueId val="{00000001-4164-4457-A94A-268A02DB43BA}"/>
              </c:ext>
            </c:extLst>
          </c:dPt>
          <c:dPt>
            <c:idx val="2"/>
            <c:invertIfNegative val="0"/>
            <c:bubble3D val="0"/>
            <c:spPr>
              <a:solidFill>
                <a:srgbClr val="588DD7"/>
              </a:solidFill>
              <a:ln>
                <a:noFill/>
              </a:ln>
              <a:effectLst/>
            </c:spPr>
            <c:extLst>
              <c:ext xmlns:c16="http://schemas.microsoft.com/office/drawing/2014/chart" uri="{C3380CC4-5D6E-409C-BE32-E72D297353CC}">
                <c16:uniqueId val="{00000003-91A7-4937-9092-A7DF8CCFED5F}"/>
              </c:ext>
            </c:extLst>
          </c:dPt>
          <c:dPt>
            <c:idx val="3"/>
            <c:invertIfNegative val="0"/>
            <c:bubble3D val="0"/>
            <c:spPr>
              <a:solidFill>
                <a:srgbClr val="588DD7"/>
              </a:solidFill>
              <a:ln>
                <a:noFill/>
              </a:ln>
              <a:effectLst/>
            </c:spPr>
            <c:extLst>
              <c:ext xmlns:c16="http://schemas.microsoft.com/office/drawing/2014/chart" uri="{C3380CC4-5D6E-409C-BE32-E72D297353CC}">
                <c16:uniqueId val="{00000004-91A7-4937-9092-A7DF8CCFED5F}"/>
              </c:ext>
            </c:extLst>
          </c:dPt>
          <c:dPt>
            <c:idx val="4"/>
            <c:invertIfNegative val="0"/>
            <c:bubble3D val="0"/>
            <c:spPr>
              <a:solidFill>
                <a:srgbClr val="588DD7"/>
              </a:solidFill>
              <a:ln>
                <a:noFill/>
              </a:ln>
              <a:effectLst/>
            </c:spPr>
            <c:extLst>
              <c:ext xmlns:c16="http://schemas.microsoft.com/office/drawing/2014/chart" uri="{C3380CC4-5D6E-409C-BE32-E72D297353CC}">
                <c16:uniqueId val="{00000005-91A7-4937-9092-A7DF8CCFED5F}"/>
              </c:ext>
            </c:extLst>
          </c:dPt>
          <c:cat>
            <c:strRef>
              <c:f>'[Results from solubility studies of organic UV filters 2021-11-17.xlsx]Uvinul T150'!$C$9:$C$13</c:f>
              <c:strCache>
                <c:ptCount val="5"/>
                <c:pt idx="0">
                  <c:v>C12-15 Alkyl benzoate</c:v>
                </c:pt>
                <c:pt idx="1">
                  <c:v>Lipex SheaSolve</c:v>
                </c:pt>
                <c:pt idx="2">
                  <c:v>Caprylic/capric triglycerides</c:v>
                </c:pt>
                <c:pt idx="3">
                  <c:v>Dicaprylyl Carbonate</c:v>
                </c:pt>
                <c:pt idx="4">
                  <c:v>Coco-Caprylate/Caprate</c:v>
                </c:pt>
              </c:strCache>
            </c:strRef>
          </c:cat>
          <c:val>
            <c:numRef>
              <c:f>'[Results from solubility studies of organic UV filters 2021-11-17.xlsx]Uvinul T150'!$D$9:$D$13</c:f>
              <c:numCache>
                <c:formatCode>0.0</c:formatCode>
                <c:ptCount val="5"/>
                <c:pt idx="0">
                  <c:v>4.7256062355658202</c:v>
                </c:pt>
                <c:pt idx="1">
                  <c:v>4.3905806268550691</c:v>
                </c:pt>
                <c:pt idx="2">
                  <c:v>6.3660339081292552</c:v>
                </c:pt>
                <c:pt idx="3">
                  <c:v>5.7878165639972599</c:v>
                </c:pt>
                <c:pt idx="4">
                  <c:v>3.8841127381514715</c:v>
                </c:pt>
              </c:numCache>
            </c:numRef>
          </c:val>
          <c:extLst>
            <c:ext xmlns:c16="http://schemas.microsoft.com/office/drawing/2014/chart" uri="{C3380CC4-5D6E-409C-BE32-E72D297353CC}">
              <c16:uniqueId val="{00000002-4164-4457-A94A-268A02DB43BA}"/>
            </c:ext>
          </c:extLst>
        </c:ser>
        <c:dLbls>
          <c:showLegendKey val="0"/>
          <c:showVal val="0"/>
          <c:showCatName val="0"/>
          <c:showSerName val="0"/>
          <c:showPercent val="0"/>
          <c:showBubbleSize val="0"/>
        </c:dLbls>
        <c:gapWidth val="219"/>
        <c:overlap val="-27"/>
        <c:axId val="317630768"/>
        <c:axId val="317629784"/>
      </c:barChart>
      <c:catAx>
        <c:axId val="317630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317629784"/>
        <c:crosses val="autoZero"/>
        <c:auto val="1"/>
        <c:lblAlgn val="ctr"/>
        <c:lblOffset val="100"/>
        <c:noMultiLvlLbl val="0"/>
      </c:catAx>
      <c:valAx>
        <c:axId val="3176297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sv-SE"/>
                  <a:t>Solubility [w/w%]</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3176307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2067CA"/>
            </a:solidFill>
            <a:ln>
              <a:noFill/>
            </a:ln>
            <a:effectLst/>
          </c:spPr>
          <c:invertIfNegative val="0"/>
          <c:dPt>
            <c:idx val="0"/>
            <c:invertIfNegative val="0"/>
            <c:bubble3D val="0"/>
            <c:spPr>
              <a:solidFill>
                <a:srgbClr val="588DD7"/>
              </a:solidFill>
              <a:ln>
                <a:noFill/>
              </a:ln>
              <a:effectLst/>
            </c:spPr>
            <c:extLst>
              <c:ext xmlns:c16="http://schemas.microsoft.com/office/drawing/2014/chart" uri="{C3380CC4-5D6E-409C-BE32-E72D297353CC}">
                <c16:uniqueId val="{00000002-FA4E-4BA7-A9DE-717F0101745A}"/>
              </c:ext>
            </c:extLst>
          </c:dPt>
          <c:dPt>
            <c:idx val="1"/>
            <c:invertIfNegative val="0"/>
            <c:bubble3D val="0"/>
            <c:spPr>
              <a:solidFill>
                <a:srgbClr val="FFA240"/>
              </a:solidFill>
              <a:ln>
                <a:noFill/>
              </a:ln>
              <a:effectLst/>
            </c:spPr>
            <c:extLst>
              <c:ext xmlns:c16="http://schemas.microsoft.com/office/drawing/2014/chart" uri="{C3380CC4-5D6E-409C-BE32-E72D297353CC}">
                <c16:uniqueId val="{00000001-689C-4D72-A88A-ED3222A8C3A7}"/>
              </c:ext>
            </c:extLst>
          </c:dPt>
          <c:dPt>
            <c:idx val="2"/>
            <c:invertIfNegative val="0"/>
            <c:bubble3D val="0"/>
            <c:spPr>
              <a:solidFill>
                <a:srgbClr val="588DD7"/>
              </a:solidFill>
              <a:ln>
                <a:noFill/>
              </a:ln>
              <a:effectLst/>
            </c:spPr>
            <c:extLst>
              <c:ext xmlns:c16="http://schemas.microsoft.com/office/drawing/2014/chart" uri="{C3380CC4-5D6E-409C-BE32-E72D297353CC}">
                <c16:uniqueId val="{00000003-FA4E-4BA7-A9DE-717F0101745A}"/>
              </c:ext>
            </c:extLst>
          </c:dPt>
          <c:dPt>
            <c:idx val="3"/>
            <c:invertIfNegative val="0"/>
            <c:bubble3D val="0"/>
            <c:spPr>
              <a:solidFill>
                <a:srgbClr val="588DD7"/>
              </a:solidFill>
              <a:ln>
                <a:noFill/>
              </a:ln>
              <a:effectLst/>
            </c:spPr>
            <c:extLst>
              <c:ext xmlns:c16="http://schemas.microsoft.com/office/drawing/2014/chart" uri="{C3380CC4-5D6E-409C-BE32-E72D297353CC}">
                <c16:uniqueId val="{00000004-FA4E-4BA7-A9DE-717F0101745A}"/>
              </c:ext>
            </c:extLst>
          </c:dPt>
          <c:dPt>
            <c:idx val="4"/>
            <c:invertIfNegative val="0"/>
            <c:bubble3D val="0"/>
            <c:spPr>
              <a:solidFill>
                <a:srgbClr val="588DD7"/>
              </a:solidFill>
              <a:ln>
                <a:noFill/>
              </a:ln>
              <a:effectLst/>
            </c:spPr>
            <c:extLst>
              <c:ext xmlns:c16="http://schemas.microsoft.com/office/drawing/2014/chart" uri="{C3380CC4-5D6E-409C-BE32-E72D297353CC}">
                <c16:uniqueId val="{00000005-FA4E-4BA7-A9DE-717F0101745A}"/>
              </c:ext>
            </c:extLst>
          </c:dPt>
          <c:cat>
            <c:strRef>
              <c:f>'[Results from solubility studies of organic UV filters 2021-11-17.xlsx]Tinosorb S'!$C$9:$C$13</c:f>
              <c:strCache>
                <c:ptCount val="5"/>
                <c:pt idx="0">
                  <c:v>C12-15 Alkyl benzoate</c:v>
                </c:pt>
                <c:pt idx="1">
                  <c:v>Lipex SheaSolve</c:v>
                </c:pt>
                <c:pt idx="2">
                  <c:v>Caprylic/capric triglycerides</c:v>
                </c:pt>
                <c:pt idx="3">
                  <c:v>Dicaprylyl Carbonate</c:v>
                </c:pt>
                <c:pt idx="4">
                  <c:v>Coco-Caprylate/Caprate</c:v>
                </c:pt>
              </c:strCache>
            </c:strRef>
          </c:cat>
          <c:val>
            <c:numRef>
              <c:f>'[Results from solubility studies of organic UV filters 2021-11-17.xlsx]Tinosorb S'!$D$9:$D$13</c:f>
              <c:numCache>
                <c:formatCode>0.0</c:formatCode>
                <c:ptCount val="5"/>
                <c:pt idx="0">
                  <c:v>11.857278705650721</c:v>
                </c:pt>
                <c:pt idx="1">
                  <c:v>6.8</c:v>
                </c:pt>
                <c:pt idx="2">
                  <c:v>5.8</c:v>
                </c:pt>
                <c:pt idx="3">
                  <c:v>7.1982925882809452</c:v>
                </c:pt>
                <c:pt idx="4">
                  <c:v>6.0665446633139748</c:v>
                </c:pt>
              </c:numCache>
            </c:numRef>
          </c:val>
          <c:extLst>
            <c:ext xmlns:c16="http://schemas.microsoft.com/office/drawing/2014/chart" uri="{C3380CC4-5D6E-409C-BE32-E72D297353CC}">
              <c16:uniqueId val="{00000002-689C-4D72-A88A-ED3222A8C3A7}"/>
            </c:ext>
          </c:extLst>
        </c:ser>
        <c:dLbls>
          <c:showLegendKey val="0"/>
          <c:showVal val="0"/>
          <c:showCatName val="0"/>
          <c:showSerName val="0"/>
          <c:showPercent val="0"/>
          <c:showBubbleSize val="0"/>
        </c:dLbls>
        <c:gapWidth val="219"/>
        <c:overlap val="-27"/>
        <c:axId val="315925352"/>
        <c:axId val="315926336"/>
      </c:barChart>
      <c:catAx>
        <c:axId val="315925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315926336"/>
        <c:crosses val="autoZero"/>
        <c:auto val="1"/>
        <c:lblAlgn val="ctr"/>
        <c:lblOffset val="100"/>
        <c:noMultiLvlLbl val="0"/>
      </c:catAx>
      <c:valAx>
        <c:axId val="315926336"/>
        <c:scaling>
          <c:orientation val="minMax"/>
          <c:max val="16"/>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sv-SE">
                    <a:solidFill>
                      <a:schemeClr val="tx1"/>
                    </a:solidFill>
                  </a:rPr>
                  <a:t>Solubility [w/w%]</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3159253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2067CA"/>
            </a:solidFill>
            <a:ln>
              <a:noFill/>
            </a:ln>
            <a:effectLst/>
          </c:spPr>
          <c:invertIfNegative val="0"/>
          <c:dPt>
            <c:idx val="0"/>
            <c:invertIfNegative val="0"/>
            <c:bubble3D val="0"/>
            <c:spPr>
              <a:solidFill>
                <a:srgbClr val="588DD7"/>
              </a:solidFill>
              <a:ln>
                <a:noFill/>
              </a:ln>
              <a:effectLst/>
            </c:spPr>
            <c:extLst>
              <c:ext xmlns:c16="http://schemas.microsoft.com/office/drawing/2014/chart" uri="{C3380CC4-5D6E-409C-BE32-E72D297353CC}">
                <c16:uniqueId val="{00000002-3373-4739-A635-4BB325CD7E63}"/>
              </c:ext>
            </c:extLst>
          </c:dPt>
          <c:dPt>
            <c:idx val="1"/>
            <c:invertIfNegative val="0"/>
            <c:bubble3D val="0"/>
            <c:spPr>
              <a:solidFill>
                <a:srgbClr val="FFA240"/>
              </a:solidFill>
              <a:ln>
                <a:noFill/>
              </a:ln>
              <a:effectLst/>
            </c:spPr>
            <c:extLst>
              <c:ext xmlns:c16="http://schemas.microsoft.com/office/drawing/2014/chart" uri="{C3380CC4-5D6E-409C-BE32-E72D297353CC}">
                <c16:uniqueId val="{00000001-02E0-4BC1-B561-4F39720B22F2}"/>
              </c:ext>
            </c:extLst>
          </c:dPt>
          <c:dPt>
            <c:idx val="2"/>
            <c:invertIfNegative val="0"/>
            <c:bubble3D val="0"/>
            <c:spPr>
              <a:solidFill>
                <a:srgbClr val="588DD7"/>
              </a:solidFill>
              <a:ln>
                <a:noFill/>
              </a:ln>
              <a:effectLst/>
            </c:spPr>
            <c:extLst>
              <c:ext xmlns:c16="http://schemas.microsoft.com/office/drawing/2014/chart" uri="{C3380CC4-5D6E-409C-BE32-E72D297353CC}">
                <c16:uniqueId val="{00000003-3373-4739-A635-4BB325CD7E63}"/>
              </c:ext>
            </c:extLst>
          </c:dPt>
          <c:dPt>
            <c:idx val="3"/>
            <c:invertIfNegative val="0"/>
            <c:bubble3D val="0"/>
            <c:spPr>
              <a:solidFill>
                <a:srgbClr val="588DD7"/>
              </a:solidFill>
              <a:ln>
                <a:noFill/>
              </a:ln>
              <a:effectLst/>
            </c:spPr>
            <c:extLst>
              <c:ext xmlns:c16="http://schemas.microsoft.com/office/drawing/2014/chart" uri="{C3380CC4-5D6E-409C-BE32-E72D297353CC}">
                <c16:uniqueId val="{00000004-3373-4739-A635-4BB325CD7E63}"/>
              </c:ext>
            </c:extLst>
          </c:dPt>
          <c:dPt>
            <c:idx val="4"/>
            <c:invertIfNegative val="0"/>
            <c:bubble3D val="0"/>
            <c:spPr>
              <a:solidFill>
                <a:srgbClr val="588DD7"/>
              </a:solidFill>
              <a:ln>
                <a:noFill/>
              </a:ln>
              <a:effectLst/>
            </c:spPr>
            <c:extLst>
              <c:ext xmlns:c16="http://schemas.microsoft.com/office/drawing/2014/chart" uri="{C3380CC4-5D6E-409C-BE32-E72D297353CC}">
                <c16:uniqueId val="{00000005-3373-4739-A635-4BB325CD7E63}"/>
              </c:ext>
            </c:extLst>
          </c:dPt>
          <c:cat>
            <c:strRef>
              <c:f>'[Results from solubility studies of organic UV filters 2021-11-17.xlsx]Parsol 1789'!$C$10:$C$14</c:f>
              <c:strCache>
                <c:ptCount val="5"/>
                <c:pt idx="0">
                  <c:v>C12-15 Alkyl benzoate</c:v>
                </c:pt>
                <c:pt idx="1">
                  <c:v>Lipex SheaSolve</c:v>
                </c:pt>
                <c:pt idx="2">
                  <c:v>Caprylic/capric triglycerides</c:v>
                </c:pt>
                <c:pt idx="3">
                  <c:v>Dicaprylyl Carbonate</c:v>
                </c:pt>
                <c:pt idx="4">
                  <c:v>Coco-Caprylate/Caprate</c:v>
                </c:pt>
              </c:strCache>
            </c:strRef>
          </c:cat>
          <c:val>
            <c:numRef>
              <c:f>'[Results from solubility studies of organic UV filters 2021-11-17.xlsx]Parsol 1789'!$D$10:$D$14</c:f>
              <c:numCache>
                <c:formatCode>0.0</c:formatCode>
                <c:ptCount val="5"/>
                <c:pt idx="0">
                  <c:v>14.159667921614052</c:v>
                </c:pt>
                <c:pt idx="1">
                  <c:v>10.702417669883591</c:v>
                </c:pt>
                <c:pt idx="2">
                  <c:v>12.180983355653334</c:v>
                </c:pt>
                <c:pt idx="3">
                  <c:v>13.039909510415308</c:v>
                </c:pt>
                <c:pt idx="4">
                  <c:v>9.7337845572950634</c:v>
                </c:pt>
              </c:numCache>
            </c:numRef>
          </c:val>
          <c:extLst>
            <c:ext xmlns:c16="http://schemas.microsoft.com/office/drawing/2014/chart" uri="{C3380CC4-5D6E-409C-BE32-E72D297353CC}">
              <c16:uniqueId val="{00000002-02E0-4BC1-B561-4F39720B22F2}"/>
            </c:ext>
          </c:extLst>
        </c:ser>
        <c:dLbls>
          <c:showLegendKey val="0"/>
          <c:showVal val="0"/>
          <c:showCatName val="0"/>
          <c:showSerName val="0"/>
          <c:showPercent val="0"/>
          <c:showBubbleSize val="0"/>
        </c:dLbls>
        <c:gapWidth val="219"/>
        <c:overlap val="-27"/>
        <c:axId val="398237384"/>
        <c:axId val="398240336"/>
      </c:barChart>
      <c:catAx>
        <c:axId val="398237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398240336"/>
        <c:crosses val="autoZero"/>
        <c:auto val="1"/>
        <c:lblAlgn val="ctr"/>
        <c:lblOffset val="100"/>
        <c:noMultiLvlLbl val="0"/>
      </c:catAx>
      <c:valAx>
        <c:axId val="39824033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sv-SE">
                    <a:solidFill>
                      <a:schemeClr val="tx1"/>
                    </a:solidFill>
                  </a:rPr>
                  <a:t>Solubility [w/w%]</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3982373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sv-SE" sz="1800" b="0" dirty="0" err="1"/>
              <a:t>Viscosity</a:t>
            </a:r>
            <a:r>
              <a:rPr lang="sv-SE" sz="1800" b="0" dirty="0"/>
              <a:t> </a:t>
            </a:r>
            <a:r>
              <a:rPr lang="sv-SE" sz="1800" b="0" dirty="0" err="1"/>
              <a:t>of</a:t>
            </a:r>
            <a:r>
              <a:rPr lang="sv-SE" sz="1800" b="0" dirty="0"/>
              <a:t> 30% dispersions</a:t>
            </a:r>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sv-SE"/>
        </a:p>
      </c:txPr>
    </c:title>
    <c:autoTitleDeleted val="0"/>
    <c:plotArea>
      <c:layout/>
      <c:barChart>
        <c:barDir val="col"/>
        <c:grouping val="clustered"/>
        <c:varyColors val="0"/>
        <c:ser>
          <c:idx val="0"/>
          <c:order val="0"/>
          <c:tx>
            <c:strRef>
              <c:f>Sheet1!$B$1</c:f>
              <c:strCache>
                <c:ptCount val="1"/>
                <c:pt idx="0">
                  <c:v>LIPEX SheaSolve</c:v>
                </c:pt>
              </c:strCache>
            </c:strRef>
          </c:tx>
          <c:spPr>
            <a:solidFill>
              <a:srgbClr val="005ABC"/>
            </a:solidFill>
            <a:ln>
              <a:noFill/>
            </a:ln>
            <a:effectLst>
              <a:outerShdw blurRad="40000" dist="23000" dir="5400000" rotWithShape="0">
                <a:srgbClr val="000000">
                  <a:alpha val="35000"/>
                </a:srgbClr>
              </a:outerShdw>
            </a:effectLst>
          </c:spPr>
          <c:invertIfNegative val="0"/>
          <c:cat>
            <c:strRef>
              <c:f>Sheet1!$A$2:$A$3</c:f>
              <c:strCache>
                <c:ptCount val="2"/>
                <c:pt idx="0">
                  <c:v>Yellow iron oxide, uncoated </c:v>
                </c:pt>
                <c:pt idx="1">
                  <c:v>Red 7 (CI15850) - calcium resinate, barium sulfate</c:v>
                </c:pt>
              </c:strCache>
            </c:strRef>
          </c:cat>
          <c:val>
            <c:numRef>
              <c:f>Sheet1!$B$2:$B$3</c:f>
              <c:numCache>
                <c:formatCode>General</c:formatCode>
                <c:ptCount val="2"/>
                <c:pt idx="0">
                  <c:v>276</c:v>
                </c:pt>
                <c:pt idx="1">
                  <c:v>476</c:v>
                </c:pt>
              </c:numCache>
            </c:numRef>
          </c:val>
          <c:extLst>
            <c:ext xmlns:c16="http://schemas.microsoft.com/office/drawing/2014/chart" uri="{C3380CC4-5D6E-409C-BE32-E72D297353CC}">
              <c16:uniqueId val="{00000000-265F-45B0-AF3D-BF7437D70368}"/>
            </c:ext>
          </c:extLst>
        </c:ser>
        <c:ser>
          <c:idx val="1"/>
          <c:order val="1"/>
          <c:tx>
            <c:strRef>
              <c:f>Sheet1!$C$1</c:f>
              <c:strCache>
                <c:ptCount val="1"/>
                <c:pt idx="0">
                  <c:v>C12-15 alkyl benzoate</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c:spPr>
          <c:invertIfNegative val="0"/>
          <c:cat>
            <c:strRef>
              <c:f>Sheet1!$A$2:$A$3</c:f>
              <c:strCache>
                <c:ptCount val="2"/>
                <c:pt idx="0">
                  <c:v>Yellow iron oxide, uncoated </c:v>
                </c:pt>
                <c:pt idx="1">
                  <c:v>Red 7 (CI15850) - calcium resinate, barium sulfate</c:v>
                </c:pt>
              </c:strCache>
            </c:strRef>
          </c:cat>
          <c:val>
            <c:numRef>
              <c:f>Sheet1!$C$2:$C$3</c:f>
              <c:numCache>
                <c:formatCode>General</c:formatCode>
                <c:ptCount val="2"/>
                <c:pt idx="0">
                  <c:v>16883</c:v>
                </c:pt>
                <c:pt idx="1">
                  <c:v>365</c:v>
                </c:pt>
              </c:numCache>
            </c:numRef>
          </c:val>
          <c:extLst>
            <c:ext xmlns:c16="http://schemas.microsoft.com/office/drawing/2014/chart" uri="{C3380CC4-5D6E-409C-BE32-E72D297353CC}">
              <c16:uniqueId val="{00000001-265F-45B0-AF3D-BF7437D70368}"/>
            </c:ext>
          </c:extLst>
        </c:ser>
        <c:ser>
          <c:idx val="2"/>
          <c:order val="2"/>
          <c:tx>
            <c:strRef>
              <c:f>Sheet1!$D$1</c:f>
              <c:strCache>
                <c:ptCount val="1"/>
                <c:pt idx="0">
                  <c:v>Caprylic capric triglyceride</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c:spPr>
          <c:invertIfNegative val="0"/>
          <c:cat>
            <c:strRef>
              <c:f>Sheet1!$A$2:$A$3</c:f>
              <c:strCache>
                <c:ptCount val="2"/>
                <c:pt idx="0">
                  <c:v>Yellow iron oxide, uncoated </c:v>
                </c:pt>
                <c:pt idx="1">
                  <c:v>Red 7 (CI15850) - calcium resinate, barium sulfate</c:v>
                </c:pt>
              </c:strCache>
            </c:strRef>
          </c:cat>
          <c:val>
            <c:numRef>
              <c:f>Sheet1!$D$2:$D$3</c:f>
              <c:numCache>
                <c:formatCode>General</c:formatCode>
                <c:ptCount val="2"/>
                <c:pt idx="0">
                  <c:v>2745</c:v>
                </c:pt>
                <c:pt idx="1">
                  <c:v>665</c:v>
                </c:pt>
              </c:numCache>
            </c:numRef>
          </c:val>
          <c:extLst>
            <c:ext xmlns:c16="http://schemas.microsoft.com/office/drawing/2014/chart" uri="{C3380CC4-5D6E-409C-BE32-E72D297353CC}">
              <c16:uniqueId val="{00000002-265F-45B0-AF3D-BF7437D70368}"/>
            </c:ext>
          </c:extLst>
        </c:ser>
        <c:dLbls>
          <c:showLegendKey val="0"/>
          <c:showVal val="0"/>
          <c:showCatName val="0"/>
          <c:showSerName val="0"/>
          <c:showPercent val="0"/>
          <c:showBubbleSize val="0"/>
        </c:dLbls>
        <c:gapWidth val="100"/>
        <c:overlap val="-24"/>
        <c:axId val="1376739920"/>
        <c:axId val="886823040"/>
      </c:barChart>
      <c:catAx>
        <c:axId val="1376739920"/>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886823040"/>
        <c:crosses val="autoZero"/>
        <c:auto val="1"/>
        <c:lblAlgn val="ctr"/>
        <c:lblOffset val="100"/>
        <c:noMultiLvlLbl val="0"/>
      </c:catAx>
      <c:valAx>
        <c:axId val="886823040"/>
        <c:scaling>
          <c:orientation val="minMax"/>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1197" b="0" i="0" u="none" strike="noStrike" kern="1200" baseline="0">
                    <a:solidFill>
                      <a:schemeClr val="tx2"/>
                    </a:solidFill>
                    <a:latin typeface="+mn-lt"/>
                    <a:ea typeface="+mn-ea"/>
                    <a:cs typeface="+mn-cs"/>
                  </a:defRPr>
                </a:pPr>
                <a:r>
                  <a:rPr lang="sv-SE" b="0"/>
                  <a:t>mPa.S</a:t>
                </a:r>
              </a:p>
            </c:rich>
          </c:tx>
          <c:layout>
            <c:manualLayout>
              <c:xMode val="edge"/>
              <c:yMode val="edge"/>
              <c:x val="2.5914978126160032E-2"/>
              <c:y val="0.41033774537079803"/>
            </c:manualLayout>
          </c:layout>
          <c:overlay val="0"/>
          <c:spPr>
            <a:noFill/>
            <a:ln>
              <a:noFill/>
            </a:ln>
            <a:effectLst/>
          </c:spPr>
          <c:txPr>
            <a:bodyPr rot="-54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sv-S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376739920"/>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197" b="0" i="0" u="none" strike="noStrike" kern="1200" baseline="0">
                <a:solidFill>
                  <a:srgbClr val="2067CA"/>
                </a:solidFill>
                <a:latin typeface="Work Sans Medium" pitchFamily="2" charset="0"/>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sv-SE" sz="1200"/>
              <a:t>Viscosity of a dispersion</a:t>
            </a:r>
            <a:r>
              <a:rPr lang="sv-SE" sz="1200" baseline="0"/>
              <a:t> at different levels of TiO</a:t>
            </a:r>
            <a:r>
              <a:rPr lang="sv-SE" sz="1200" baseline="-25000"/>
              <a:t>2</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446102500096221"/>
          <c:y val="0.11829842998182612"/>
          <c:w val="0.80594499091857141"/>
          <c:h val="0.65526946142001219"/>
        </c:manualLayout>
      </c:layout>
      <c:scatterChart>
        <c:scatterStyle val="smoothMarker"/>
        <c:varyColors val="0"/>
        <c:ser>
          <c:idx val="0"/>
          <c:order val="0"/>
          <c:tx>
            <c:strRef>
              <c:f>Sheet1!$B$4</c:f>
              <c:strCache>
                <c:ptCount val="1"/>
                <c:pt idx="0">
                  <c:v>LIPEX® SheaSolve</c:v>
                </c:pt>
              </c:strCache>
            </c:strRef>
          </c:tx>
          <c:spPr>
            <a:ln w="19050" cap="rnd">
              <a:solidFill>
                <a:srgbClr val="005ABC"/>
              </a:solidFill>
              <a:round/>
            </a:ln>
            <a:effectLst/>
          </c:spPr>
          <c:marker>
            <c:symbol val="none"/>
          </c:marker>
          <c:xVal>
            <c:numRef>
              <c:f>Sheet1!$C$3:$F$3</c:f>
              <c:numCache>
                <c:formatCode>0%</c:formatCode>
                <c:ptCount val="4"/>
                <c:pt idx="0">
                  <c:v>0.1</c:v>
                </c:pt>
                <c:pt idx="1">
                  <c:v>0.2</c:v>
                </c:pt>
                <c:pt idx="2">
                  <c:v>0.3</c:v>
                </c:pt>
                <c:pt idx="3">
                  <c:v>0.4</c:v>
                </c:pt>
              </c:numCache>
            </c:numRef>
          </c:xVal>
          <c:yVal>
            <c:numRef>
              <c:f>Sheet1!$C$4:$F$4</c:f>
              <c:numCache>
                <c:formatCode>General</c:formatCode>
                <c:ptCount val="4"/>
                <c:pt idx="0">
                  <c:v>25</c:v>
                </c:pt>
                <c:pt idx="1">
                  <c:v>52</c:v>
                </c:pt>
                <c:pt idx="2">
                  <c:v>203</c:v>
                </c:pt>
                <c:pt idx="3">
                  <c:v>1191</c:v>
                </c:pt>
              </c:numCache>
            </c:numRef>
          </c:yVal>
          <c:smooth val="1"/>
          <c:extLst>
            <c:ext xmlns:c16="http://schemas.microsoft.com/office/drawing/2014/chart" uri="{C3380CC4-5D6E-409C-BE32-E72D297353CC}">
              <c16:uniqueId val="{00000000-9F76-4616-B176-D729ECCF9A0D}"/>
            </c:ext>
          </c:extLst>
        </c:ser>
        <c:ser>
          <c:idx val="1"/>
          <c:order val="1"/>
          <c:tx>
            <c:strRef>
              <c:f>Sheet1!$B$5</c:f>
              <c:strCache>
                <c:ptCount val="1"/>
                <c:pt idx="0">
                  <c:v>Caprylic/capric triglyceride</c:v>
                </c:pt>
              </c:strCache>
            </c:strRef>
          </c:tx>
          <c:spPr>
            <a:ln w="19050" cap="rnd">
              <a:solidFill>
                <a:schemeClr val="accent2"/>
              </a:solidFill>
              <a:round/>
            </a:ln>
            <a:effectLst/>
          </c:spPr>
          <c:marker>
            <c:symbol val="none"/>
          </c:marker>
          <c:xVal>
            <c:numRef>
              <c:f>Sheet1!$C$3:$F$3</c:f>
              <c:numCache>
                <c:formatCode>0%</c:formatCode>
                <c:ptCount val="4"/>
                <c:pt idx="0">
                  <c:v>0.1</c:v>
                </c:pt>
                <c:pt idx="1">
                  <c:v>0.2</c:v>
                </c:pt>
                <c:pt idx="2">
                  <c:v>0.3</c:v>
                </c:pt>
                <c:pt idx="3">
                  <c:v>0.4</c:v>
                </c:pt>
              </c:numCache>
            </c:numRef>
          </c:xVal>
          <c:yVal>
            <c:numRef>
              <c:f>Sheet1!$C$5:$F$5</c:f>
              <c:numCache>
                <c:formatCode>General</c:formatCode>
                <c:ptCount val="4"/>
                <c:pt idx="0">
                  <c:v>57</c:v>
                </c:pt>
                <c:pt idx="1">
                  <c:v>151</c:v>
                </c:pt>
                <c:pt idx="2">
                  <c:v>574</c:v>
                </c:pt>
                <c:pt idx="3">
                  <c:v>3523</c:v>
                </c:pt>
              </c:numCache>
            </c:numRef>
          </c:yVal>
          <c:smooth val="1"/>
          <c:extLst>
            <c:ext xmlns:c16="http://schemas.microsoft.com/office/drawing/2014/chart" uri="{C3380CC4-5D6E-409C-BE32-E72D297353CC}">
              <c16:uniqueId val="{00000001-9F76-4616-B176-D729ECCF9A0D}"/>
            </c:ext>
          </c:extLst>
        </c:ser>
        <c:ser>
          <c:idx val="2"/>
          <c:order val="2"/>
          <c:tx>
            <c:strRef>
              <c:f>Sheet1!$B$6</c:f>
              <c:strCache>
                <c:ptCount val="1"/>
                <c:pt idx="0">
                  <c:v>C12-15 alkyl benzoate</c:v>
                </c:pt>
              </c:strCache>
            </c:strRef>
          </c:tx>
          <c:spPr>
            <a:ln w="19050" cap="rnd">
              <a:solidFill>
                <a:schemeClr val="accent3"/>
              </a:solidFill>
              <a:round/>
            </a:ln>
            <a:effectLst/>
          </c:spPr>
          <c:marker>
            <c:symbol val="none"/>
          </c:marker>
          <c:xVal>
            <c:numRef>
              <c:f>Sheet1!$C$3:$F$3</c:f>
              <c:numCache>
                <c:formatCode>0%</c:formatCode>
                <c:ptCount val="4"/>
                <c:pt idx="0">
                  <c:v>0.1</c:v>
                </c:pt>
                <c:pt idx="1">
                  <c:v>0.2</c:v>
                </c:pt>
                <c:pt idx="2">
                  <c:v>0.3</c:v>
                </c:pt>
                <c:pt idx="3">
                  <c:v>0.4</c:v>
                </c:pt>
              </c:numCache>
            </c:numRef>
          </c:xVal>
          <c:yVal>
            <c:numRef>
              <c:f>Sheet1!$C$6:$F$6</c:f>
              <c:numCache>
                <c:formatCode>General</c:formatCode>
                <c:ptCount val="4"/>
                <c:pt idx="0">
                  <c:v>35</c:v>
                </c:pt>
                <c:pt idx="1">
                  <c:v>119</c:v>
                </c:pt>
                <c:pt idx="2">
                  <c:v>467</c:v>
                </c:pt>
                <c:pt idx="3">
                  <c:v>2930</c:v>
                </c:pt>
              </c:numCache>
            </c:numRef>
          </c:yVal>
          <c:smooth val="1"/>
          <c:extLst>
            <c:ext xmlns:c16="http://schemas.microsoft.com/office/drawing/2014/chart" uri="{C3380CC4-5D6E-409C-BE32-E72D297353CC}">
              <c16:uniqueId val="{00000002-9F76-4616-B176-D729ECCF9A0D}"/>
            </c:ext>
          </c:extLst>
        </c:ser>
        <c:dLbls>
          <c:showLegendKey val="0"/>
          <c:showVal val="0"/>
          <c:showCatName val="0"/>
          <c:showSerName val="0"/>
          <c:showPercent val="0"/>
          <c:showBubbleSize val="0"/>
        </c:dLbls>
        <c:axId val="8974704"/>
        <c:axId val="543093232"/>
      </c:scatterChart>
      <c:valAx>
        <c:axId val="8974704"/>
        <c:scaling>
          <c:orientation val="minMax"/>
          <c:min val="0.1"/>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r>
                  <a:rPr lang="sv-SE" sz="1050"/>
                  <a:t>TiO</a:t>
                </a:r>
                <a:r>
                  <a:rPr lang="sv-SE" sz="1050" baseline="-25000"/>
                  <a:t>2</a:t>
                </a:r>
                <a:r>
                  <a:rPr lang="sv-SE" sz="1050"/>
                  <a:t> content (%)</a:t>
                </a:r>
              </a:p>
            </c:rich>
          </c:tx>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543093232"/>
        <c:crosses val="autoZero"/>
        <c:crossBetween val="midCat"/>
      </c:valAx>
      <c:valAx>
        <c:axId val="543093232"/>
        <c:scaling>
          <c:orientation val="minMax"/>
          <c:max val="35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r>
                  <a:rPr lang="sv-SE" sz="1050"/>
                  <a:t>Viscosity (mPas)</a:t>
                </a:r>
              </a:p>
            </c:rich>
          </c:tx>
          <c:overlay val="0"/>
          <c:spPr>
            <a:noFill/>
            <a:ln>
              <a:noFill/>
            </a:ln>
            <a:effectLst/>
          </c:spPr>
          <c:txPr>
            <a:bodyPr rot="-54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8974704"/>
        <c:crosses val="autoZero"/>
        <c:crossBetween val="midCat"/>
      </c:valAx>
      <c:spPr>
        <a:noFill/>
        <a:ln>
          <a:noFill/>
        </a:ln>
        <a:effectLst/>
      </c:spPr>
    </c:plotArea>
    <c:legend>
      <c:legendPos val="b"/>
      <c:legendEntry>
        <c:idx val="0"/>
        <c:txPr>
          <a:bodyPr rot="0" spcFirstLastPara="1" vertOverflow="ellipsis" vert="horz" wrap="square" anchor="ctr" anchorCtr="1"/>
          <a:lstStyle/>
          <a:p>
            <a:pPr>
              <a:defRPr sz="1050" b="0" i="0" u="none" strike="noStrike" kern="1200" baseline="0">
                <a:solidFill>
                  <a:srgbClr val="2067CA"/>
                </a:solidFill>
                <a:latin typeface="Work Sans Medium" pitchFamily="2" charset="0"/>
                <a:ea typeface="+mn-ea"/>
                <a:cs typeface="+mn-cs"/>
              </a:defRPr>
            </a:pPr>
            <a:endParaRPr lang="en-US"/>
          </a:p>
        </c:txPr>
      </c:legendEntry>
      <c:legendEntry>
        <c:idx val="2"/>
        <c:txPr>
          <a:bodyPr rot="0" spcFirstLastPara="1" vertOverflow="ellipsis" vert="horz" wrap="square" anchor="ctr" anchorCtr="1"/>
          <a:lstStyle/>
          <a:p>
            <a:pPr>
              <a:defRPr sz="1050" b="0" i="0" u="none" strike="noStrike" kern="1200" baseline="0">
                <a:solidFill>
                  <a:srgbClr val="00264E"/>
                </a:solidFill>
                <a:latin typeface="+mn-lt"/>
                <a:ea typeface="+mn-ea"/>
                <a:cs typeface="+mn-cs"/>
              </a:defRPr>
            </a:pPr>
            <a:endParaRPr lang="en-US"/>
          </a:p>
        </c:txPr>
      </c:legendEntry>
      <c:layout>
        <c:manualLayout>
          <c:xMode val="edge"/>
          <c:yMode val="edge"/>
          <c:x val="1.907539876727167E-2"/>
          <c:y val="0.87945153444045565"/>
          <c:w val="0.96650446557029734"/>
          <c:h val="0.12054846555954431"/>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GB" sz="1200" noProof="0"/>
              <a:t>Viscosity</a:t>
            </a:r>
            <a:r>
              <a:rPr lang="en-GB" sz="1200" baseline="0" noProof="0"/>
              <a:t> of a dispersion with different types of TiO2 at 40%</a:t>
            </a:r>
            <a:endParaRPr lang="en-GB" sz="1200" noProof="0"/>
          </a:p>
        </c:rich>
      </c:tx>
      <c:layout>
        <c:manualLayout>
          <c:xMode val="edge"/>
          <c:yMode val="edge"/>
          <c:x val="0.13313437043653459"/>
          <c:y val="2.1729862448830024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GB"/>
        </a:p>
      </c:txPr>
    </c:title>
    <c:autoTitleDeleted val="0"/>
    <c:plotArea>
      <c:layout>
        <c:manualLayout>
          <c:layoutTarget val="inner"/>
          <c:xMode val="edge"/>
          <c:yMode val="edge"/>
          <c:x val="0.14758843163496579"/>
          <c:y val="0.1166228205629872"/>
          <c:w val="0.82778835030960574"/>
          <c:h val="0.64147442562143164"/>
        </c:manualLayout>
      </c:layout>
      <c:barChart>
        <c:barDir val="col"/>
        <c:grouping val="clustered"/>
        <c:varyColors val="0"/>
        <c:ser>
          <c:idx val="0"/>
          <c:order val="0"/>
          <c:tx>
            <c:strRef>
              <c:f>Sheet1!$C$11</c:f>
              <c:strCache>
                <c:ptCount val="1"/>
                <c:pt idx="0">
                  <c:v>LIPEX® SheaSolve</c:v>
                </c:pt>
              </c:strCache>
            </c:strRef>
          </c:tx>
          <c:spPr>
            <a:solidFill>
              <a:srgbClr val="005ABC"/>
            </a:solidFill>
            <a:ln>
              <a:noFill/>
            </a:ln>
            <a:effectLst/>
          </c:spPr>
          <c:invertIfNegative val="0"/>
          <c:cat>
            <c:strRef>
              <c:f>Sheet1!$B$12:$B$15</c:f>
              <c:strCache>
                <c:ptCount val="4"/>
                <c:pt idx="0">
                  <c:v>Titanium Dioxide; Trimethoxycaprylylsilane</c:v>
                </c:pt>
                <c:pt idx="1">
                  <c:v>Titanium Dioxide, alumina, simethicone</c:v>
                </c:pt>
                <c:pt idx="2">
                  <c:v>Titanium dioxide, alumina, stearic acid</c:v>
                </c:pt>
                <c:pt idx="3">
                  <c:v>Titanium dioxide, silica, cetyl phosphate</c:v>
                </c:pt>
              </c:strCache>
            </c:strRef>
          </c:cat>
          <c:val>
            <c:numRef>
              <c:f>Sheet1!$C$12:$C$15</c:f>
              <c:numCache>
                <c:formatCode>General</c:formatCode>
                <c:ptCount val="4"/>
                <c:pt idx="0">
                  <c:v>1341</c:v>
                </c:pt>
                <c:pt idx="1">
                  <c:v>271</c:v>
                </c:pt>
                <c:pt idx="2">
                  <c:v>112</c:v>
                </c:pt>
                <c:pt idx="3">
                  <c:v>1235</c:v>
                </c:pt>
              </c:numCache>
            </c:numRef>
          </c:val>
          <c:extLst>
            <c:ext xmlns:c16="http://schemas.microsoft.com/office/drawing/2014/chart" uri="{C3380CC4-5D6E-409C-BE32-E72D297353CC}">
              <c16:uniqueId val="{00000000-89BE-449B-BD1F-E1835C043224}"/>
            </c:ext>
          </c:extLst>
        </c:ser>
        <c:ser>
          <c:idx val="1"/>
          <c:order val="1"/>
          <c:tx>
            <c:strRef>
              <c:f>Sheet1!$D$11</c:f>
              <c:strCache>
                <c:ptCount val="1"/>
                <c:pt idx="0">
                  <c:v>Caprylic/capric triglyceride</c:v>
                </c:pt>
              </c:strCache>
            </c:strRef>
          </c:tx>
          <c:spPr>
            <a:solidFill>
              <a:schemeClr val="accent2"/>
            </a:solidFill>
            <a:ln>
              <a:noFill/>
            </a:ln>
            <a:effectLst/>
          </c:spPr>
          <c:invertIfNegative val="0"/>
          <c:cat>
            <c:strRef>
              <c:f>Sheet1!$B$12:$B$15</c:f>
              <c:strCache>
                <c:ptCount val="4"/>
                <c:pt idx="0">
                  <c:v>Titanium Dioxide; Trimethoxycaprylylsilane</c:v>
                </c:pt>
                <c:pt idx="1">
                  <c:v>Titanium Dioxide, alumina, simethicone</c:v>
                </c:pt>
                <c:pt idx="2">
                  <c:v>Titanium dioxide, alumina, stearic acid</c:v>
                </c:pt>
                <c:pt idx="3">
                  <c:v>Titanium dioxide, silica, cetyl phosphate</c:v>
                </c:pt>
              </c:strCache>
            </c:strRef>
          </c:cat>
          <c:val>
            <c:numRef>
              <c:f>Sheet1!$D$12:$D$15</c:f>
              <c:numCache>
                <c:formatCode>General</c:formatCode>
                <c:ptCount val="4"/>
                <c:pt idx="0">
                  <c:v>2334</c:v>
                </c:pt>
                <c:pt idx="1">
                  <c:v>1719</c:v>
                </c:pt>
                <c:pt idx="2">
                  <c:v>505</c:v>
                </c:pt>
                <c:pt idx="3">
                  <c:v>3523</c:v>
                </c:pt>
              </c:numCache>
            </c:numRef>
          </c:val>
          <c:extLst>
            <c:ext xmlns:c16="http://schemas.microsoft.com/office/drawing/2014/chart" uri="{C3380CC4-5D6E-409C-BE32-E72D297353CC}">
              <c16:uniqueId val="{00000001-89BE-449B-BD1F-E1835C043224}"/>
            </c:ext>
          </c:extLst>
        </c:ser>
        <c:ser>
          <c:idx val="2"/>
          <c:order val="2"/>
          <c:tx>
            <c:strRef>
              <c:f>Sheet1!$E$11</c:f>
              <c:strCache>
                <c:ptCount val="1"/>
                <c:pt idx="0">
                  <c:v>C12-15 alkyl benzoate</c:v>
                </c:pt>
              </c:strCache>
            </c:strRef>
          </c:tx>
          <c:spPr>
            <a:solidFill>
              <a:schemeClr val="accent3"/>
            </a:solidFill>
            <a:ln>
              <a:noFill/>
            </a:ln>
            <a:effectLst/>
          </c:spPr>
          <c:invertIfNegative val="0"/>
          <c:cat>
            <c:strRef>
              <c:f>Sheet1!$B$12:$B$15</c:f>
              <c:strCache>
                <c:ptCount val="4"/>
                <c:pt idx="0">
                  <c:v>Titanium Dioxide; Trimethoxycaprylylsilane</c:v>
                </c:pt>
                <c:pt idx="1">
                  <c:v>Titanium Dioxide, alumina, simethicone</c:v>
                </c:pt>
                <c:pt idx="2">
                  <c:v>Titanium dioxide, alumina, stearic acid</c:v>
                </c:pt>
                <c:pt idx="3">
                  <c:v>Titanium dioxide, silica, cetyl phosphate</c:v>
                </c:pt>
              </c:strCache>
            </c:strRef>
          </c:cat>
          <c:val>
            <c:numRef>
              <c:f>Sheet1!$E$12:$E$15</c:f>
              <c:numCache>
                <c:formatCode>General</c:formatCode>
                <c:ptCount val="4"/>
                <c:pt idx="0">
                  <c:v>2134</c:v>
                </c:pt>
                <c:pt idx="1">
                  <c:v>525</c:v>
                </c:pt>
                <c:pt idx="2">
                  <c:v>255</c:v>
                </c:pt>
                <c:pt idx="3">
                  <c:v>3174</c:v>
                </c:pt>
              </c:numCache>
            </c:numRef>
          </c:val>
          <c:extLst>
            <c:ext xmlns:c16="http://schemas.microsoft.com/office/drawing/2014/chart" uri="{C3380CC4-5D6E-409C-BE32-E72D297353CC}">
              <c16:uniqueId val="{00000002-89BE-449B-BD1F-E1835C043224}"/>
            </c:ext>
          </c:extLst>
        </c:ser>
        <c:dLbls>
          <c:showLegendKey val="0"/>
          <c:showVal val="0"/>
          <c:showCatName val="0"/>
          <c:showSerName val="0"/>
          <c:showPercent val="0"/>
          <c:showBubbleSize val="0"/>
        </c:dLbls>
        <c:gapWidth val="219"/>
        <c:overlap val="-27"/>
        <c:axId val="550484832"/>
        <c:axId val="545430608"/>
      </c:barChart>
      <c:catAx>
        <c:axId val="550484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45430608"/>
        <c:crosses val="autoZero"/>
        <c:auto val="1"/>
        <c:lblAlgn val="ctr"/>
        <c:lblOffset val="100"/>
        <c:noMultiLvlLbl val="0"/>
      </c:catAx>
      <c:valAx>
        <c:axId val="54543060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r>
                  <a:rPr lang="en-GB" sz="1050" noProof="0"/>
                  <a:t>Viscosity</a:t>
                </a:r>
                <a:r>
                  <a:rPr lang="en-GB" sz="1050" baseline="0" noProof="0"/>
                  <a:t> (</a:t>
                </a:r>
                <a:r>
                  <a:rPr lang="en-GB" sz="1050" baseline="0" noProof="0" err="1"/>
                  <a:t>mPas</a:t>
                </a:r>
                <a:r>
                  <a:rPr lang="sv-SE" sz="1050" baseline="0"/>
                  <a:t>)</a:t>
                </a:r>
                <a:endParaRPr lang="sv-SE" sz="1050"/>
              </a:p>
            </c:rich>
          </c:tx>
          <c:layout>
            <c:manualLayout>
              <c:xMode val="edge"/>
              <c:yMode val="edge"/>
              <c:x val="2.1198352271355265E-2"/>
              <c:y val="0.28357703358875641"/>
            </c:manualLayout>
          </c:layout>
          <c:overlay val="0"/>
          <c:spPr>
            <a:noFill/>
            <a:ln>
              <a:noFill/>
            </a:ln>
            <a:effectLst/>
          </c:spPr>
          <c:txPr>
            <a:bodyPr rot="-54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sv-S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550484832"/>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050" b="0" i="0" u="none" strike="noStrike" kern="1200" baseline="0">
                <a:solidFill>
                  <a:srgbClr val="2067CA"/>
                </a:solidFill>
                <a:latin typeface="Work Sans Medium" pitchFamily="2" charset="0"/>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v-SE"/>
              <a:t>TEWL (%</a:t>
            </a:r>
            <a:r>
              <a:rPr lang="sv-SE" baseline="0"/>
              <a:t> reduction vs time 0)</a:t>
            </a:r>
            <a:endParaRPr lang="sv-SE"/>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sv-SE"/>
        </a:p>
      </c:txPr>
    </c:title>
    <c:autoTitleDeleted val="0"/>
    <c:plotArea>
      <c:layout/>
      <c:scatterChart>
        <c:scatterStyle val="smoothMarker"/>
        <c:varyColors val="0"/>
        <c:ser>
          <c:idx val="0"/>
          <c:order val="0"/>
          <c:tx>
            <c:v>LIPEX SheaLuxe TR</c:v>
          </c:tx>
          <c:spPr>
            <a:ln w="19050" cap="rnd">
              <a:solidFill>
                <a:schemeClr val="accent1"/>
              </a:solidFill>
              <a:round/>
            </a:ln>
            <a:effectLst/>
          </c:spPr>
          <c:marker>
            <c:symbol val="circle"/>
            <c:size val="5"/>
            <c:spPr>
              <a:solidFill>
                <a:schemeClr val="accent1"/>
              </a:solidFill>
              <a:ln w="9525">
                <a:solidFill>
                  <a:schemeClr val="accent1"/>
                </a:solidFill>
              </a:ln>
              <a:effectLst/>
            </c:spPr>
          </c:marker>
          <c:xVal>
            <c:numRef>
              <c:f>Sheet1!$M$5:$M$8</c:f>
              <c:numCache>
                <c:formatCode>General</c:formatCode>
                <c:ptCount val="4"/>
                <c:pt idx="0">
                  <c:v>0</c:v>
                </c:pt>
                <c:pt idx="1">
                  <c:v>3</c:v>
                </c:pt>
                <c:pt idx="2">
                  <c:v>6</c:v>
                </c:pt>
                <c:pt idx="3">
                  <c:v>24</c:v>
                </c:pt>
              </c:numCache>
            </c:numRef>
          </c:xVal>
          <c:yVal>
            <c:numRef>
              <c:f>Sheet1!$N$5:$N$8</c:f>
              <c:numCache>
                <c:formatCode>0%</c:formatCode>
                <c:ptCount val="4"/>
                <c:pt idx="0" formatCode="General">
                  <c:v>0</c:v>
                </c:pt>
                <c:pt idx="1">
                  <c:v>-0.11</c:v>
                </c:pt>
                <c:pt idx="2">
                  <c:v>-0.12</c:v>
                </c:pt>
                <c:pt idx="3">
                  <c:v>-0.08</c:v>
                </c:pt>
              </c:numCache>
            </c:numRef>
          </c:yVal>
          <c:smooth val="1"/>
          <c:extLst>
            <c:ext xmlns:c16="http://schemas.microsoft.com/office/drawing/2014/chart" uri="{C3380CC4-5D6E-409C-BE32-E72D297353CC}">
              <c16:uniqueId val="{00000000-E845-4657-9730-C26CD162984B}"/>
            </c:ext>
          </c:extLst>
        </c:ser>
        <c:ser>
          <c:idx val="1"/>
          <c:order val="1"/>
          <c:tx>
            <c:v>Dimethicone 50mPa.s</c:v>
          </c:tx>
          <c:spPr>
            <a:ln w="19050" cap="rnd">
              <a:solidFill>
                <a:schemeClr val="accent2"/>
              </a:solidFill>
              <a:round/>
            </a:ln>
            <a:effectLst/>
          </c:spPr>
          <c:marker>
            <c:symbol val="circle"/>
            <c:size val="5"/>
            <c:spPr>
              <a:solidFill>
                <a:schemeClr val="accent2"/>
              </a:solidFill>
              <a:ln w="9525">
                <a:solidFill>
                  <a:schemeClr val="accent2"/>
                </a:solidFill>
              </a:ln>
              <a:effectLst/>
            </c:spPr>
          </c:marker>
          <c:xVal>
            <c:numRef>
              <c:f>Sheet1!$M$5:$M$8</c:f>
              <c:numCache>
                <c:formatCode>General</c:formatCode>
                <c:ptCount val="4"/>
                <c:pt idx="0">
                  <c:v>0</c:v>
                </c:pt>
                <c:pt idx="1">
                  <c:v>3</c:v>
                </c:pt>
                <c:pt idx="2">
                  <c:v>6</c:v>
                </c:pt>
                <c:pt idx="3">
                  <c:v>24</c:v>
                </c:pt>
              </c:numCache>
            </c:numRef>
          </c:xVal>
          <c:yVal>
            <c:numRef>
              <c:f>Sheet1!$O$5:$O$8</c:f>
              <c:numCache>
                <c:formatCode>0%</c:formatCode>
                <c:ptCount val="4"/>
                <c:pt idx="0" formatCode="General">
                  <c:v>0</c:v>
                </c:pt>
                <c:pt idx="1">
                  <c:v>-0.11</c:v>
                </c:pt>
                <c:pt idx="2">
                  <c:v>-0.12</c:v>
                </c:pt>
                <c:pt idx="3">
                  <c:v>-7.0000000000000007E-2</c:v>
                </c:pt>
              </c:numCache>
            </c:numRef>
          </c:yVal>
          <c:smooth val="1"/>
          <c:extLst>
            <c:ext xmlns:c16="http://schemas.microsoft.com/office/drawing/2014/chart" uri="{C3380CC4-5D6E-409C-BE32-E72D297353CC}">
              <c16:uniqueId val="{00000001-E845-4657-9730-C26CD162984B}"/>
            </c:ext>
          </c:extLst>
        </c:ser>
        <c:dLbls>
          <c:showLegendKey val="0"/>
          <c:showVal val="0"/>
          <c:showCatName val="0"/>
          <c:showSerName val="0"/>
          <c:showPercent val="0"/>
          <c:showBubbleSize val="0"/>
        </c:dLbls>
        <c:axId val="793896783"/>
        <c:axId val="794923903"/>
      </c:scatterChart>
      <c:valAx>
        <c:axId val="793896783"/>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sv-SE" err="1"/>
                  <a:t>Hours</a:t>
                </a:r>
                <a:r>
                  <a:rPr lang="sv-SE"/>
                  <a:t> </a:t>
                </a:r>
                <a:r>
                  <a:rPr lang="sv-SE" err="1"/>
                  <a:t>after</a:t>
                </a:r>
                <a:r>
                  <a:rPr lang="sv-SE"/>
                  <a:t> </a:t>
                </a:r>
                <a:r>
                  <a:rPr lang="sv-SE" err="1"/>
                  <a:t>application</a:t>
                </a:r>
                <a:endParaRPr lang="sv-SE"/>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sv-S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4923903"/>
        <c:crossesAt val="-14"/>
        <c:crossBetween val="midCat"/>
      </c:valAx>
      <c:valAx>
        <c:axId val="79492390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sv-SE"/>
                  <a:t>% reduction vs time 0</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3896783"/>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811955613888555E-2"/>
          <c:y val="4.2449542170900578E-2"/>
          <c:w val="0.70040373778965448"/>
          <c:h val="0.91510091565819884"/>
        </c:manualLayout>
      </c:layout>
      <c:lineChart>
        <c:grouping val="standard"/>
        <c:varyColors val="0"/>
        <c:ser>
          <c:idx val="0"/>
          <c:order val="0"/>
          <c:tx>
            <c:strRef>
              <c:f>Sheet1!$C$10</c:f>
              <c:strCache>
                <c:ptCount val="1"/>
                <c:pt idx="0">
                  <c:v>1. Control (Untreated)</c:v>
                </c:pt>
              </c:strCache>
            </c:strRef>
          </c:tx>
          <c:spPr>
            <a:ln w="28575" cap="rnd">
              <a:solidFill>
                <a:schemeClr val="accent1"/>
              </a:solidFill>
              <a:round/>
            </a:ln>
            <a:effectLst/>
          </c:spPr>
          <c:marker>
            <c:symbol val="none"/>
          </c:marker>
          <c:cat>
            <c:numRef>
              <c:f>Sheet1!$D$9:$H$9</c:f>
              <c:numCache>
                <c:formatCode>General</c:formatCode>
                <c:ptCount val="5"/>
                <c:pt idx="0">
                  <c:v>0</c:v>
                </c:pt>
                <c:pt idx="1">
                  <c:v>1</c:v>
                </c:pt>
                <c:pt idx="2">
                  <c:v>2</c:v>
                </c:pt>
                <c:pt idx="3">
                  <c:v>4</c:v>
                </c:pt>
                <c:pt idx="4">
                  <c:v>8</c:v>
                </c:pt>
              </c:numCache>
            </c:numRef>
          </c:cat>
          <c:val>
            <c:numRef>
              <c:f>Sheet1!$D$10:$H$10</c:f>
              <c:numCache>
                <c:formatCode>General</c:formatCode>
                <c:ptCount val="5"/>
                <c:pt idx="0">
                  <c:v>0</c:v>
                </c:pt>
                <c:pt idx="1">
                  <c:v>109.09090909090907</c:v>
                </c:pt>
                <c:pt idx="2">
                  <c:v>113.63636363636363</c:v>
                </c:pt>
                <c:pt idx="3">
                  <c:v>149.99999999999997</c:v>
                </c:pt>
                <c:pt idx="4">
                  <c:v>149.99999999999997</c:v>
                </c:pt>
              </c:numCache>
            </c:numRef>
          </c:val>
          <c:smooth val="0"/>
          <c:extLst>
            <c:ext xmlns:c16="http://schemas.microsoft.com/office/drawing/2014/chart" uri="{C3380CC4-5D6E-409C-BE32-E72D297353CC}">
              <c16:uniqueId val="{00000000-C481-4D07-BD0D-721F8C266256}"/>
            </c:ext>
          </c:extLst>
        </c:ser>
        <c:ser>
          <c:idx val="1"/>
          <c:order val="1"/>
          <c:tx>
            <c:strRef>
              <c:f>Sheet1!$C$11</c:f>
              <c:strCache>
                <c:ptCount val="1"/>
                <c:pt idx="0">
                  <c:v>2. Dimethicone 5mPas</c:v>
                </c:pt>
              </c:strCache>
            </c:strRef>
          </c:tx>
          <c:spPr>
            <a:ln w="28575" cap="rnd">
              <a:solidFill>
                <a:schemeClr val="accent2"/>
              </a:solidFill>
              <a:round/>
            </a:ln>
            <a:effectLst/>
          </c:spPr>
          <c:marker>
            <c:symbol val="none"/>
          </c:marker>
          <c:cat>
            <c:numRef>
              <c:f>Sheet1!$D$9:$H$9</c:f>
              <c:numCache>
                <c:formatCode>General</c:formatCode>
                <c:ptCount val="5"/>
                <c:pt idx="0">
                  <c:v>0</c:v>
                </c:pt>
                <c:pt idx="1">
                  <c:v>1</c:v>
                </c:pt>
                <c:pt idx="2">
                  <c:v>2</c:v>
                </c:pt>
                <c:pt idx="3">
                  <c:v>4</c:v>
                </c:pt>
                <c:pt idx="4">
                  <c:v>8</c:v>
                </c:pt>
              </c:numCache>
            </c:numRef>
          </c:cat>
          <c:val>
            <c:numRef>
              <c:f>Sheet1!$D$11:$H$11</c:f>
              <c:numCache>
                <c:formatCode>General</c:formatCode>
                <c:ptCount val="5"/>
                <c:pt idx="0">
                  <c:v>-29.411764809688584</c:v>
                </c:pt>
                <c:pt idx="1">
                  <c:v>19.117646883650515</c:v>
                </c:pt>
                <c:pt idx="2">
                  <c:v>55.882352564878879</c:v>
                </c:pt>
                <c:pt idx="3">
                  <c:v>51.470587865484418</c:v>
                </c:pt>
                <c:pt idx="4">
                  <c:v>76.470587975778528</c:v>
                </c:pt>
              </c:numCache>
            </c:numRef>
          </c:val>
          <c:smooth val="0"/>
          <c:extLst>
            <c:ext xmlns:c16="http://schemas.microsoft.com/office/drawing/2014/chart" uri="{C3380CC4-5D6E-409C-BE32-E72D297353CC}">
              <c16:uniqueId val="{00000001-C481-4D07-BD0D-721F8C266256}"/>
            </c:ext>
          </c:extLst>
        </c:ser>
        <c:ser>
          <c:idx val="2"/>
          <c:order val="2"/>
          <c:tx>
            <c:strRef>
              <c:f>Sheet1!$C$12</c:f>
              <c:strCache>
                <c:ptCount val="1"/>
                <c:pt idx="0">
                  <c:v>3. LIPEX® SheaLuxe TR</c:v>
                </c:pt>
              </c:strCache>
            </c:strRef>
          </c:tx>
          <c:spPr>
            <a:ln w="28575" cap="rnd">
              <a:solidFill>
                <a:schemeClr val="accent3"/>
              </a:solidFill>
              <a:round/>
            </a:ln>
            <a:effectLst/>
          </c:spPr>
          <c:marker>
            <c:symbol val="none"/>
          </c:marker>
          <c:cat>
            <c:numRef>
              <c:f>Sheet1!$D$9:$H$9</c:f>
              <c:numCache>
                <c:formatCode>General</c:formatCode>
                <c:ptCount val="5"/>
                <c:pt idx="0">
                  <c:v>0</c:v>
                </c:pt>
                <c:pt idx="1">
                  <c:v>1</c:v>
                </c:pt>
                <c:pt idx="2">
                  <c:v>2</c:v>
                </c:pt>
                <c:pt idx="3">
                  <c:v>4</c:v>
                </c:pt>
                <c:pt idx="4">
                  <c:v>8</c:v>
                </c:pt>
              </c:numCache>
            </c:numRef>
          </c:cat>
          <c:val>
            <c:numRef>
              <c:f>Sheet1!$D$12:$H$12</c:f>
              <c:numCache>
                <c:formatCode>General</c:formatCode>
                <c:ptCount val="5"/>
                <c:pt idx="0">
                  <c:v>-52.083333333333336</c:v>
                </c:pt>
                <c:pt idx="1">
                  <c:v>-41.666666666666671</c:v>
                </c:pt>
                <c:pt idx="2">
                  <c:v>-22.916666666666661</c:v>
                </c:pt>
                <c:pt idx="3">
                  <c:v>-10.416666666666668</c:v>
                </c:pt>
                <c:pt idx="4">
                  <c:v>-8.3333333333333233</c:v>
                </c:pt>
              </c:numCache>
            </c:numRef>
          </c:val>
          <c:smooth val="0"/>
          <c:extLst>
            <c:ext xmlns:c16="http://schemas.microsoft.com/office/drawing/2014/chart" uri="{C3380CC4-5D6E-409C-BE32-E72D297353CC}">
              <c16:uniqueId val="{00000002-C481-4D07-BD0D-721F8C266256}"/>
            </c:ext>
          </c:extLst>
        </c:ser>
        <c:dLbls>
          <c:showLegendKey val="0"/>
          <c:showVal val="0"/>
          <c:showCatName val="0"/>
          <c:showSerName val="0"/>
          <c:showPercent val="0"/>
          <c:showBubbleSize val="0"/>
        </c:dLbls>
        <c:smooth val="0"/>
        <c:axId val="412795919"/>
        <c:axId val="412805519"/>
      </c:lineChart>
      <c:catAx>
        <c:axId val="412795919"/>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sv-SE" err="1"/>
                  <a:t>Hours</a:t>
                </a:r>
                <a:r>
                  <a:rPr lang="sv-SE"/>
                  <a:t> at 25</a:t>
                </a:r>
                <a:r>
                  <a:rPr lang="en-US" sz="1000" b="0" i="0" u="none" strike="noStrike" kern="1200" baseline="0">
                    <a:solidFill>
                      <a:srgbClr val="000000">
                        <a:lumMod val="65000"/>
                        <a:lumOff val="35000"/>
                      </a:srgbClr>
                    </a:solidFill>
                    <a:effectLst/>
                    <a:ea typeface="Times New Roman" panose="02020603050405020304" pitchFamily="18" charset="0"/>
                    <a:cs typeface="Times New Roman" panose="02020603050405020304" pitchFamily="18" charset="0"/>
                  </a:rPr>
                  <a:t>°</a:t>
                </a:r>
                <a:r>
                  <a:rPr lang="sv-SE"/>
                  <a:t>C and 85% </a:t>
                </a:r>
                <a:r>
                  <a:rPr lang="sv-SE" err="1"/>
                  <a:t>humidity</a:t>
                </a:r>
                <a:endParaRPr lang="sv-SE"/>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sv-SE"/>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12805519"/>
        <c:crossesAt val="-60"/>
        <c:auto val="1"/>
        <c:lblAlgn val="ctr"/>
        <c:lblOffset val="100"/>
        <c:noMultiLvlLbl val="0"/>
      </c:catAx>
      <c:valAx>
        <c:axId val="412805519"/>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sv-SE"/>
                  <a:t>% volume change vs untreated hair t=0</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12795919"/>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73869" y="179999"/>
            <a:ext cx="2833200" cy="200055"/>
          </a:xfrm>
          <a:prstGeom prst="rect">
            <a:avLst/>
          </a:prstGeom>
        </p:spPr>
        <p:txBody>
          <a:bodyPr vert="horz" lIns="0" tIns="0" rIns="0" bIns="0" rtlCol="0">
            <a:noAutofit/>
          </a:bodyPr>
          <a:lstStyle>
            <a:lvl1pPr algn="l">
              <a:defRPr sz="1300"/>
            </a:lvl1pPr>
          </a:lstStyle>
          <a:p>
            <a:endParaRPr lang="da-DK" sz="1200" dirty="0">
              <a:solidFill>
                <a:schemeClr val="accent1"/>
              </a:solidFill>
            </a:endParaRPr>
          </a:p>
        </p:txBody>
      </p:sp>
      <p:sp>
        <p:nvSpPr>
          <p:cNvPr id="3" name="Date Placeholder 2"/>
          <p:cNvSpPr>
            <a:spLocks noGrp="1"/>
          </p:cNvSpPr>
          <p:nvPr>
            <p:ph type="dt" sz="quarter" idx="1"/>
          </p:nvPr>
        </p:nvSpPr>
        <p:spPr>
          <a:xfrm>
            <a:off x="3580608" y="179999"/>
            <a:ext cx="2833688" cy="200055"/>
          </a:xfrm>
          <a:prstGeom prst="rect">
            <a:avLst/>
          </a:prstGeom>
        </p:spPr>
        <p:txBody>
          <a:bodyPr vert="horz" lIns="0" tIns="0" rIns="0" bIns="0" rtlCol="0">
            <a:noAutofit/>
          </a:bodyPr>
          <a:lstStyle>
            <a:lvl1pPr algn="r">
              <a:defRPr sz="1300"/>
            </a:lvl1pPr>
          </a:lstStyle>
          <a:p>
            <a:fld id="{03516883-48DD-4C9C-AED9-ACC4B9675FF5}" type="datetimeFigureOut">
              <a:rPr lang="da-DK" sz="1200" smtClean="0">
                <a:solidFill>
                  <a:schemeClr val="accent1"/>
                </a:solidFill>
              </a:rPr>
              <a:t>18-06-2025</a:t>
            </a:fld>
            <a:endParaRPr lang="da-DK" sz="1200" dirty="0">
              <a:solidFill>
                <a:schemeClr val="accent1"/>
              </a:solidFill>
            </a:endParaRPr>
          </a:p>
        </p:txBody>
      </p:sp>
      <p:sp>
        <p:nvSpPr>
          <p:cNvPr id="4" name="Footer Placeholder 3"/>
          <p:cNvSpPr>
            <a:spLocks noGrp="1"/>
          </p:cNvSpPr>
          <p:nvPr>
            <p:ph type="ftr" sz="quarter" idx="2"/>
          </p:nvPr>
        </p:nvSpPr>
        <p:spPr>
          <a:xfrm>
            <a:off x="473868" y="9630218"/>
            <a:ext cx="2833199" cy="200055"/>
          </a:xfrm>
          <a:prstGeom prst="rect">
            <a:avLst/>
          </a:prstGeom>
        </p:spPr>
        <p:txBody>
          <a:bodyPr vert="horz" lIns="0" tIns="0" rIns="0" bIns="0" rtlCol="0" anchor="b">
            <a:noAutofit/>
          </a:bodyPr>
          <a:lstStyle>
            <a:lvl1pPr algn="l">
              <a:defRPr sz="1300"/>
            </a:lvl1pPr>
          </a:lstStyle>
          <a:p>
            <a:endParaRPr lang="da-DK" sz="1200" dirty="0">
              <a:solidFill>
                <a:schemeClr val="accent1"/>
              </a:solidFill>
            </a:endParaRPr>
          </a:p>
        </p:txBody>
      </p:sp>
      <p:sp>
        <p:nvSpPr>
          <p:cNvPr id="6" name="Slide Number Placeholder 5">
            <a:extLst>
              <a:ext uri="{FF2B5EF4-FFF2-40B4-BE49-F238E27FC236}">
                <a16:creationId xmlns:a16="http://schemas.microsoft.com/office/drawing/2014/main" id="{1965FF90-C590-1949-DE1F-52CE80116FF2}"/>
              </a:ext>
            </a:extLst>
          </p:cNvPr>
          <p:cNvSpPr>
            <a:spLocks noGrp="1"/>
          </p:cNvSpPr>
          <p:nvPr>
            <p:ph type="sldNum" sz="quarter" idx="3"/>
          </p:nvPr>
        </p:nvSpPr>
        <p:spPr>
          <a:xfrm>
            <a:off x="3902075" y="9518650"/>
            <a:ext cx="2984500" cy="501650"/>
          </a:xfrm>
          <a:prstGeom prst="rect">
            <a:avLst/>
          </a:prstGeom>
        </p:spPr>
        <p:txBody>
          <a:bodyPr vert="horz" lIns="91440" tIns="45720" rIns="91440" bIns="45720" rtlCol="0" anchor="b"/>
          <a:lstStyle>
            <a:lvl1pPr algn="r">
              <a:defRPr sz="1200"/>
            </a:lvl1pPr>
          </a:lstStyle>
          <a:p>
            <a:fld id="{952F5501-A443-4769-A18A-3C6E966AFABF}" type="slidenum">
              <a:rPr lang="en-GB" smtClean="0"/>
              <a:t>‹#›</a:t>
            </a:fld>
            <a:endParaRPr lang="en-GB"/>
          </a:p>
        </p:txBody>
      </p:sp>
    </p:spTree>
    <p:extLst>
      <p:ext uri="{BB962C8B-B14F-4D97-AF65-F5344CB8AC3E}">
        <p14:creationId xmlns:p14="http://schemas.microsoft.com/office/powerpoint/2010/main" val="14693920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39738" y="164122"/>
            <a:ext cx="2833200" cy="200055"/>
          </a:xfrm>
          <a:prstGeom prst="rect">
            <a:avLst/>
          </a:prstGeom>
        </p:spPr>
        <p:txBody>
          <a:bodyPr vert="horz" lIns="0" tIns="0" rIns="0" bIns="0" rtlCol="0">
            <a:noAutofit/>
          </a:bodyPr>
          <a:lstStyle>
            <a:lvl1pPr algn="l">
              <a:defRPr sz="1300">
                <a:solidFill>
                  <a:schemeClr val="accent1"/>
                </a:solidFill>
              </a:defRPr>
            </a:lvl1pPr>
          </a:lstStyle>
          <a:p>
            <a:endParaRPr lang="da-DK" dirty="0"/>
          </a:p>
        </p:txBody>
      </p:sp>
      <p:sp>
        <p:nvSpPr>
          <p:cNvPr id="3" name="Date Placeholder 2"/>
          <p:cNvSpPr>
            <a:spLocks noGrp="1"/>
          </p:cNvSpPr>
          <p:nvPr>
            <p:ph type="dt" idx="1"/>
          </p:nvPr>
        </p:nvSpPr>
        <p:spPr>
          <a:xfrm>
            <a:off x="3615225" y="164122"/>
            <a:ext cx="2833200" cy="200055"/>
          </a:xfrm>
          <a:prstGeom prst="rect">
            <a:avLst/>
          </a:prstGeom>
        </p:spPr>
        <p:txBody>
          <a:bodyPr vert="horz" lIns="0" tIns="0" rIns="0" bIns="0" rtlCol="0">
            <a:noAutofit/>
          </a:bodyPr>
          <a:lstStyle>
            <a:lvl1pPr algn="r">
              <a:defRPr sz="1300">
                <a:solidFill>
                  <a:schemeClr val="accent1"/>
                </a:solidFill>
              </a:defRPr>
            </a:lvl1pPr>
          </a:lstStyle>
          <a:p>
            <a:fld id="{E0DF3390-761A-4FDC-BA3A-9CF676B82A14}" type="datetimeFigureOut">
              <a:rPr lang="da-DK" smtClean="0"/>
              <a:pPr/>
              <a:t>18-06-2025</a:t>
            </a:fld>
            <a:endParaRPr lang="da-DK" dirty="0"/>
          </a:p>
        </p:txBody>
      </p:sp>
      <p:sp>
        <p:nvSpPr>
          <p:cNvPr id="4" name="Slide Image Placeholder 3"/>
          <p:cNvSpPr>
            <a:spLocks noGrp="1" noRot="1" noChangeAspect="1"/>
          </p:cNvSpPr>
          <p:nvPr>
            <p:ph type="sldImg" idx="2"/>
          </p:nvPr>
        </p:nvSpPr>
        <p:spPr>
          <a:xfrm>
            <a:off x="439738" y="1252538"/>
            <a:ext cx="6008687" cy="3381375"/>
          </a:xfrm>
          <a:prstGeom prst="rect">
            <a:avLst/>
          </a:prstGeom>
          <a:noFill/>
          <a:ln w="12700">
            <a:solidFill>
              <a:prstClr val="black"/>
            </a:solidFill>
          </a:ln>
        </p:spPr>
        <p:txBody>
          <a:bodyPr vert="horz" lIns="96616" tIns="48308" rIns="96616" bIns="48308" rtlCol="0" anchor="ctr"/>
          <a:lstStyle/>
          <a:p>
            <a:endParaRPr lang="da-DK" dirty="0"/>
          </a:p>
        </p:txBody>
      </p:sp>
      <p:sp>
        <p:nvSpPr>
          <p:cNvPr id="5" name="Notes Placeholder 4"/>
          <p:cNvSpPr>
            <a:spLocks noGrp="1"/>
          </p:cNvSpPr>
          <p:nvPr>
            <p:ph type="body" sz="quarter" idx="3"/>
          </p:nvPr>
        </p:nvSpPr>
        <p:spPr>
          <a:xfrm>
            <a:off x="439738" y="4822269"/>
            <a:ext cx="6008687" cy="3945493"/>
          </a:xfrm>
          <a:prstGeom prst="rect">
            <a:avLst/>
          </a:prstGeom>
        </p:spPr>
        <p:txBody>
          <a:bodyPr vert="horz" lIns="0" tIns="0" rIns="0" bIns="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6" name="Footer Placeholder 5"/>
          <p:cNvSpPr>
            <a:spLocks noGrp="1"/>
          </p:cNvSpPr>
          <p:nvPr>
            <p:ph type="ftr" sz="quarter" idx="4"/>
          </p:nvPr>
        </p:nvSpPr>
        <p:spPr>
          <a:xfrm>
            <a:off x="439738" y="9640246"/>
            <a:ext cx="2833200" cy="200055"/>
          </a:xfrm>
          <a:prstGeom prst="rect">
            <a:avLst/>
          </a:prstGeom>
        </p:spPr>
        <p:txBody>
          <a:bodyPr vert="horz" lIns="0" tIns="0" rIns="0" bIns="0" rtlCol="0" anchor="b">
            <a:noAutofit/>
          </a:bodyPr>
          <a:lstStyle>
            <a:lvl1pPr algn="l">
              <a:defRPr sz="1300">
                <a:solidFill>
                  <a:schemeClr val="accent1"/>
                </a:solidFill>
              </a:defRPr>
            </a:lvl1pPr>
          </a:lstStyle>
          <a:p>
            <a:endParaRPr lang="da-DK" dirty="0"/>
          </a:p>
        </p:txBody>
      </p:sp>
      <p:sp>
        <p:nvSpPr>
          <p:cNvPr id="7" name="Slide Number Placeholder 6"/>
          <p:cNvSpPr>
            <a:spLocks noGrp="1"/>
          </p:cNvSpPr>
          <p:nvPr>
            <p:ph type="sldNum" sz="quarter" idx="5"/>
          </p:nvPr>
        </p:nvSpPr>
        <p:spPr>
          <a:xfrm>
            <a:off x="3615225" y="9640246"/>
            <a:ext cx="2833200" cy="200055"/>
          </a:xfrm>
          <a:prstGeom prst="rect">
            <a:avLst/>
          </a:prstGeom>
        </p:spPr>
        <p:txBody>
          <a:bodyPr vert="horz" lIns="0" tIns="0" rIns="0" bIns="0" rtlCol="0" anchor="b">
            <a:noAutofit/>
          </a:bodyPr>
          <a:lstStyle>
            <a:lvl1pPr algn="r">
              <a:defRPr sz="1300">
                <a:solidFill>
                  <a:schemeClr val="accent1"/>
                </a:solidFill>
              </a:defRPr>
            </a:lvl1pPr>
          </a:lstStyle>
          <a:p>
            <a:fld id="{CA4D1251-08EB-4C47-AB06-FBA54C2E1AEF}" type="slidenum">
              <a:rPr lang="da-DK" smtClean="0"/>
              <a:pPr/>
              <a:t>‹#›</a:t>
            </a:fld>
            <a:endParaRPr lang="da-DK" dirty="0"/>
          </a:p>
        </p:txBody>
      </p:sp>
    </p:spTree>
    <p:extLst>
      <p:ext uri="{BB962C8B-B14F-4D97-AF65-F5344CB8AC3E}">
        <p14:creationId xmlns:p14="http://schemas.microsoft.com/office/powerpoint/2010/main" val="2355898256"/>
      </p:ext>
    </p:extLst>
  </p:cSld>
  <p:clrMap bg1="lt1" tx1="dk1" bg2="lt2" tx2="dk2" accent1="accent1" accent2="accent2" accent3="accent3" accent4="accent4" accent5="accent5" accent6="accent6" hlink="hlink" folHlink="folHlink"/>
  <p:notesStyle>
    <a:lvl1pPr marL="0" indent="0" algn="l" defTabSz="914400" rtl="0" eaLnBrk="1" latinLnBrk="0" hangingPunct="1">
      <a:lnSpc>
        <a:spcPct val="90000"/>
      </a:lnSpc>
      <a:spcBef>
        <a:spcPts val="600"/>
      </a:spcBef>
      <a:buFont typeface="Arial" panose="020B0604020202020204" pitchFamily="34" charset="0"/>
      <a:buNone/>
      <a:defRPr sz="1200" kern="1200">
        <a:solidFill>
          <a:schemeClr val="tx2"/>
        </a:solidFill>
        <a:latin typeface="+mn-lt"/>
        <a:ea typeface="+mn-ea"/>
        <a:cs typeface="+mn-cs"/>
      </a:defRPr>
    </a:lvl1pPr>
    <a:lvl2pPr marL="90487" indent="0" algn="l" defTabSz="914400" rtl="0" eaLnBrk="1" latinLnBrk="0" hangingPunct="1">
      <a:lnSpc>
        <a:spcPct val="90000"/>
      </a:lnSpc>
      <a:spcBef>
        <a:spcPts val="600"/>
      </a:spcBef>
      <a:buFont typeface="Arial" panose="020B0604020202020204" pitchFamily="34" charset="0"/>
      <a:buNone/>
      <a:defRPr sz="1200" kern="1200">
        <a:solidFill>
          <a:schemeClr val="tx2"/>
        </a:solidFill>
        <a:latin typeface="+mn-lt"/>
        <a:ea typeface="+mn-ea"/>
        <a:cs typeface="+mn-cs"/>
      </a:defRPr>
    </a:lvl2pPr>
    <a:lvl3pPr marL="180975" indent="0" algn="l" defTabSz="914400" rtl="0" eaLnBrk="1" latinLnBrk="0" hangingPunct="1">
      <a:lnSpc>
        <a:spcPct val="90000"/>
      </a:lnSpc>
      <a:spcBef>
        <a:spcPts val="600"/>
      </a:spcBef>
      <a:buFont typeface="Arial" panose="020B0604020202020204" pitchFamily="34" charset="0"/>
      <a:buNone/>
      <a:defRPr sz="1200" kern="1200">
        <a:solidFill>
          <a:schemeClr val="tx2"/>
        </a:solidFill>
        <a:latin typeface="+mn-lt"/>
        <a:ea typeface="+mn-ea"/>
        <a:cs typeface="+mn-cs"/>
      </a:defRPr>
    </a:lvl3pPr>
    <a:lvl4pPr marL="266700" indent="0" algn="l" defTabSz="914400" rtl="0" eaLnBrk="1" latinLnBrk="0" hangingPunct="1">
      <a:lnSpc>
        <a:spcPct val="90000"/>
      </a:lnSpc>
      <a:spcBef>
        <a:spcPts val="600"/>
      </a:spcBef>
      <a:buFont typeface="Arial" panose="020B0604020202020204" pitchFamily="34" charset="0"/>
      <a:buNone/>
      <a:defRPr sz="1200" kern="1200">
        <a:solidFill>
          <a:schemeClr val="tx2"/>
        </a:solidFill>
        <a:latin typeface="+mn-lt"/>
        <a:ea typeface="+mn-ea"/>
        <a:cs typeface="+mn-cs"/>
      </a:defRPr>
    </a:lvl4pPr>
    <a:lvl5pPr marL="357187" indent="0" algn="l" defTabSz="914400" rtl="0" eaLnBrk="1" latinLnBrk="0" hangingPunct="1">
      <a:lnSpc>
        <a:spcPct val="90000"/>
      </a:lnSpc>
      <a:spcBef>
        <a:spcPts val="600"/>
      </a:spcBef>
      <a:buFont typeface="Arial" panose="020B0604020202020204" pitchFamily="34" charset="0"/>
      <a:buNone/>
      <a:defRPr sz="12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914352">
              <a:lnSpc>
                <a:spcPct val="100000"/>
              </a:lnSpc>
              <a:spcBef>
                <a:spcPts val="0"/>
              </a:spcBef>
              <a:defRPr/>
            </a:pPr>
            <a:endParaRPr lang="da-DK">
              <a:solidFill>
                <a:prstClr val="black"/>
              </a:solidFill>
              <a:latin typeface="Calibri" panose="020F0502020204030204"/>
            </a:endParaRPr>
          </a:p>
        </p:txBody>
      </p:sp>
      <p:sp>
        <p:nvSpPr>
          <p:cNvPr id="4" name="Pladsholder til slidenummer 3"/>
          <p:cNvSpPr>
            <a:spLocks noGrp="1"/>
          </p:cNvSpPr>
          <p:nvPr>
            <p:ph type="sldNum" sz="quarter" idx="5"/>
          </p:nvPr>
        </p:nvSpPr>
        <p:spPr/>
        <p:txBody>
          <a:bodyPr/>
          <a:lstStyle/>
          <a:p>
            <a:pPr defTabSz="914352">
              <a:defRPr/>
            </a:pPr>
            <a:fld id="{CA4D1251-08EB-4C47-AB06-FBA54C2E1AEF}" type="slidenum">
              <a:rPr lang="da-DK">
                <a:solidFill>
                  <a:srgbClr val="2067CA"/>
                </a:solidFill>
                <a:latin typeface="Work Sans Light Roman"/>
              </a:rPr>
              <a:pPr defTabSz="914352">
                <a:defRPr/>
              </a:pPr>
              <a:t>4</a:t>
            </a:fld>
            <a:endParaRPr lang="da-DK">
              <a:solidFill>
                <a:srgbClr val="2067CA"/>
              </a:solidFill>
              <a:latin typeface="Work Sans Light Roman"/>
            </a:endParaRPr>
          </a:p>
        </p:txBody>
      </p:sp>
    </p:spTree>
    <p:extLst>
      <p:ext uri="{BB962C8B-B14F-4D97-AF65-F5344CB8AC3E}">
        <p14:creationId xmlns:p14="http://schemas.microsoft.com/office/powerpoint/2010/main" val="1019671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4D1251-08EB-4C47-AB06-FBA54C2E1AEF}" type="slidenum">
              <a:rPr kumimoji="0" lang="da-DK" sz="1300" b="0" i="0" u="none" strike="noStrike" kern="1200" cap="none" spc="0" normalizeH="0" baseline="0" noProof="0" smtClean="0">
                <a:ln>
                  <a:noFill/>
                </a:ln>
                <a:solidFill>
                  <a:srgbClr val="2067CA"/>
                </a:solidFill>
                <a:effectLst/>
                <a:uLnTx/>
                <a:uFillTx/>
                <a:latin typeface="Work Sa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da-DK" sz="1300" b="0" i="0" u="none" strike="noStrike" kern="1200" cap="none" spc="0" normalizeH="0" baseline="0" noProof="0">
              <a:ln>
                <a:noFill/>
              </a:ln>
              <a:solidFill>
                <a:srgbClr val="2067CA"/>
              </a:solidFill>
              <a:effectLst/>
              <a:uLnTx/>
              <a:uFillTx/>
              <a:latin typeface="Work Sans Light"/>
              <a:ea typeface="+mn-ea"/>
              <a:cs typeface="+mn-cs"/>
            </a:endParaRPr>
          </a:p>
        </p:txBody>
      </p:sp>
    </p:spTree>
    <p:extLst>
      <p:ext uri="{BB962C8B-B14F-4D97-AF65-F5344CB8AC3E}">
        <p14:creationId xmlns:p14="http://schemas.microsoft.com/office/powerpoint/2010/main" val="3093948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14352">
              <a:defRPr/>
            </a:pPr>
            <a:fld id="{CA4D1251-08EB-4C47-AB06-FBA54C2E1AEF}" type="slidenum">
              <a:rPr lang="da-DK">
                <a:solidFill>
                  <a:srgbClr val="2067CA"/>
                </a:solidFill>
                <a:latin typeface="Work Sans Light Roman"/>
              </a:rPr>
              <a:pPr defTabSz="914352">
                <a:defRPr/>
              </a:pPr>
              <a:t>7</a:t>
            </a:fld>
            <a:endParaRPr lang="da-DK">
              <a:solidFill>
                <a:srgbClr val="2067CA"/>
              </a:solidFill>
              <a:latin typeface="Work Sans Light Roman"/>
            </a:endParaRPr>
          </a:p>
        </p:txBody>
      </p:sp>
    </p:spTree>
    <p:extLst>
      <p:ext uri="{BB962C8B-B14F-4D97-AF65-F5344CB8AC3E}">
        <p14:creationId xmlns:p14="http://schemas.microsoft.com/office/powerpoint/2010/main" val="2528460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4D1251-08EB-4C47-AB06-FBA54C2E1AEF}" type="slidenum">
              <a:rPr kumimoji="0" lang="da-DK" sz="1300" b="0" i="0" u="none" strike="noStrike" kern="1200" cap="none" spc="0" normalizeH="0" baseline="0" noProof="0" smtClean="0">
                <a:ln>
                  <a:noFill/>
                </a:ln>
                <a:solidFill>
                  <a:srgbClr val="2067CA"/>
                </a:solidFill>
                <a:effectLst/>
                <a:uLnTx/>
                <a:uFillTx/>
                <a:latin typeface="Work Sa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a-DK" sz="1300" b="0" i="0" u="none" strike="noStrike" kern="1200" cap="none" spc="0" normalizeH="0" baseline="0" noProof="0">
              <a:ln>
                <a:noFill/>
              </a:ln>
              <a:solidFill>
                <a:srgbClr val="2067CA"/>
              </a:solidFill>
              <a:effectLst/>
              <a:uLnTx/>
              <a:uFillTx/>
              <a:latin typeface="Work Sans Light"/>
              <a:ea typeface="+mn-ea"/>
              <a:cs typeface="+mn-cs"/>
            </a:endParaRPr>
          </a:p>
        </p:txBody>
      </p:sp>
    </p:spTree>
    <p:extLst>
      <p:ext uri="{BB962C8B-B14F-4D97-AF65-F5344CB8AC3E}">
        <p14:creationId xmlns:p14="http://schemas.microsoft.com/office/powerpoint/2010/main" val="20177364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D2AC4F-51E6-4ED5-82D8-4D3905A9C916}" type="slidenum">
              <a:rPr kumimoji="0" lang="sv-SE" sz="1300" b="0" i="0" u="none" strike="noStrike" kern="1200" cap="none" spc="0" normalizeH="0" baseline="0" noProof="0" smtClean="0">
                <a:ln>
                  <a:noFill/>
                </a:ln>
                <a:solidFill>
                  <a:srgbClr val="2067CA"/>
                </a:solidFill>
                <a:effectLst/>
                <a:uLnTx/>
                <a:uFillTx/>
                <a:latin typeface="Work Sa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sv-SE" sz="1300" b="0" i="0" u="none" strike="noStrike" kern="1200" cap="none" spc="0" normalizeH="0" baseline="0" noProof="0">
              <a:ln>
                <a:noFill/>
              </a:ln>
              <a:solidFill>
                <a:srgbClr val="2067CA"/>
              </a:solidFill>
              <a:effectLst/>
              <a:uLnTx/>
              <a:uFillTx/>
              <a:latin typeface="Work Sans Light"/>
              <a:ea typeface="+mn-ea"/>
              <a:cs typeface="+mn-cs"/>
            </a:endParaRPr>
          </a:p>
        </p:txBody>
      </p:sp>
    </p:spTree>
    <p:extLst>
      <p:ext uri="{BB962C8B-B14F-4D97-AF65-F5344CB8AC3E}">
        <p14:creationId xmlns:p14="http://schemas.microsoft.com/office/powerpoint/2010/main" val="25274055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914352">
              <a:lnSpc>
                <a:spcPct val="100000"/>
              </a:lnSpc>
              <a:spcBef>
                <a:spcPts val="0"/>
              </a:spcBef>
              <a:defRPr/>
            </a:pPr>
            <a:endParaRPr lang="da-DK">
              <a:solidFill>
                <a:prstClr val="black"/>
              </a:solidFill>
              <a:latin typeface="Calibri" panose="020F0502020204030204"/>
            </a:endParaRPr>
          </a:p>
        </p:txBody>
      </p:sp>
      <p:sp>
        <p:nvSpPr>
          <p:cNvPr id="4" name="Pladsholder til slidenummer 3"/>
          <p:cNvSpPr>
            <a:spLocks noGrp="1"/>
          </p:cNvSpPr>
          <p:nvPr>
            <p:ph type="sldNum" sz="quarter" idx="5"/>
          </p:nvPr>
        </p:nvSpPr>
        <p:spPr/>
        <p:txBody>
          <a:bodyPr/>
          <a:lstStyle/>
          <a:p>
            <a:pPr defTabSz="914352">
              <a:defRPr/>
            </a:pPr>
            <a:fld id="{CA4D1251-08EB-4C47-AB06-FBA54C2E1AEF}" type="slidenum">
              <a:rPr lang="da-DK">
                <a:solidFill>
                  <a:srgbClr val="2067CA"/>
                </a:solidFill>
                <a:latin typeface="Work Sans Light Roman"/>
              </a:rPr>
              <a:pPr defTabSz="914352">
                <a:defRPr/>
              </a:pPr>
              <a:t>19</a:t>
            </a:fld>
            <a:endParaRPr lang="da-DK">
              <a:solidFill>
                <a:srgbClr val="2067CA"/>
              </a:solidFill>
              <a:latin typeface="Work Sans Light Roman"/>
            </a:endParaRPr>
          </a:p>
        </p:txBody>
      </p:sp>
    </p:spTree>
    <p:extLst>
      <p:ext uri="{BB962C8B-B14F-4D97-AF65-F5344CB8AC3E}">
        <p14:creationId xmlns:p14="http://schemas.microsoft.com/office/powerpoint/2010/main" val="21154041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914352">
              <a:lnSpc>
                <a:spcPct val="100000"/>
              </a:lnSpc>
              <a:spcBef>
                <a:spcPts val="0"/>
              </a:spcBef>
              <a:defRPr/>
            </a:pPr>
            <a:endParaRPr lang="da-DK">
              <a:solidFill>
                <a:prstClr val="black"/>
              </a:solidFill>
              <a:latin typeface="Calibri" panose="020F0502020204030204"/>
            </a:endParaRPr>
          </a:p>
        </p:txBody>
      </p:sp>
      <p:sp>
        <p:nvSpPr>
          <p:cNvPr id="4" name="Pladsholder til slidenummer 3"/>
          <p:cNvSpPr>
            <a:spLocks noGrp="1"/>
          </p:cNvSpPr>
          <p:nvPr>
            <p:ph type="sldNum" sz="quarter" idx="5"/>
          </p:nvPr>
        </p:nvSpPr>
        <p:spPr/>
        <p:txBody>
          <a:bodyPr/>
          <a:lstStyle/>
          <a:p>
            <a:pPr defTabSz="914352">
              <a:defRPr/>
            </a:pPr>
            <a:fld id="{CA4D1251-08EB-4C47-AB06-FBA54C2E1AEF}" type="slidenum">
              <a:rPr lang="da-DK">
                <a:solidFill>
                  <a:srgbClr val="2067CA"/>
                </a:solidFill>
                <a:latin typeface="Work Sans Light Roman"/>
              </a:rPr>
              <a:pPr defTabSz="914352">
                <a:defRPr/>
              </a:pPr>
              <a:t>21</a:t>
            </a:fld>
            <a:endParaRPr lang="da-DK">
              <a:solidFill>
                <a:srgbClr val="2067CA"/>
              </a:solidFill>
              <a:latin typeface="Work Sans Light Roman"/>
            </a:endParaRPr>
          </a:p>
        </p:txBody>
      </p:sp>
    </p:spTree>
    <p:extLst>
      <p:ext uri="{BB962C8B-B14F-4D97-AF65-F5344CB8AC3E}">
        <p14:creationId xmlns:p14="http://schemas.microsoft.com/office/powerpoint/2010/main" val="19946118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37395-8129-5294-F7CD-5BB656DFCD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DA17B5-63AE-A8DC-CB9A-28E20F8150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34803E-402C-C9A9-532B-57CCDB8C9648}"/>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B9779C4F-3B25-ED3D-0D0A-2B9FCDD7990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4D1251-08EB-4C47-AB06-FBA54C2E1AEF}" type="slidenum">
              <a:rPr kumimoji="0" lang="da-DK" sz="1300" b="0" i="0" u="none" strike="noStrike" kern="1200" cap="none" spc="0" normalizeH="0" baseline="0" noProof="0" smtClean="0">
                <a:ln>
                  <a:noFill/>
                </a:ln>
                <a:solidFill>
                  <a:srgbClr val="2067CA"/>
                </a:solidFill>
                <a:effectLst/>
                <a:uLnTx/>
                <a:uFillTx/>
                <a:latin typeface="Work Sa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a-DK" sz="1300" b="0" i="0" u="none" strike="noStrike" kern="1200" cap="none" spc="0" normalizeH="0" baseline="0" noProof="0">
              <a:ln>
                <a:noFill/>
              </a:ln>
              <a:solidFill>
                <a:srgbClr val="2067CA"/>
              </a:solidFill>
              <a:effectLst/>
              <a:uLnTx/>
              <a:uFillTx/>
              <a:latin typeface="Work Sans Light"/>
              <a:ea typeface="+mn-ea"/>
              <a:cs typeface="+mn-cs"/>
            </a:endParaRPr>
          </a:p>
        </p:txBody>
      </p:sp>
    </p:spTree>
    <p:extLst>
      <p:ext uri="{BB962C8B-B14F-4D97-AF65-F5344CB8AC3E}">
        <p14:creationId xmlns:p14="http://schemas.microsoft.com/office/powerpoint/2010/main" val="4097448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4D1251-08EB-4C47-AB06-FBA54C2E1AEF}" type="slidenum">
              <a:rPr kumimoji="0" lang="da-DK" sz="1300" b="0" i="0" u="none" strike="noStrike" kern="1200" cap="none" spc="0" normalizeH="0" baseline="0" noProof="0" smtClean="0">
                <a:ln>
                  <a:noFill/>
                </a:ln>
                <a:solidFill>
                  <a:srgbClr val="2067CA"/>
                </a:solidFill>
                <a:effectLst/>
                <a:uLnTx/>
                <a:uFillTx/>
                <a:latin typeface="Work Sa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a-DK" sz="1300" b="0" i="0" u="none" strike="noStrike" kern="1200" cap="none" spc="0" normalizeH="0" baseline="0" noProof="0">
              <a:ln>
                <a:noFill/>
              </a:ln>
              <a:solidFill>
                <a:srgbClr val="2067CA"/>
              </a:solidFill>
              <a:effectLst/>
              <a:uLnTx/>
              <a:uFillTx/>
              <a:latin typeface="Work Sans Light"/>
              <a:ea typeface="+mn-ea"/>
              <a:cs typeface="+mn-cs"/>
            </a:endParaRPr>
          </a:p>
        </p:txBody>
      </p:sp>
    </p:spTree>
    <p:extLst>
      <p:ext uri="{BB962C8B-B14F-4D97-AF65-F5344CB8AC3E}">
        <p14:creationId xmlns:p14="http://schemas.microsoft.com/office/powerpoint/2010/main" val="33843987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4D1251-08EB-4C47-AB06-FBA54C2E1AEF}" type="slidenum">
              <a:rPr kumimoji="0" lang="da-DK" sz="1300" b="0" i="0" u="none" strike="noStrike" kern="1200" cap="none" spc="0" normalizeH="0" baseline="0" noProof="0" smtClean="0">
                <a:ln>
                  <a:noFill/>
                </a:ln>
                <a:solidFill>
                  <a:srgbClr val="2067CA"/>
                </a:solidFill>
                <a:effectLst/>
                <a:uLnTx/>
                <a:uFillTx/>
                <a:latin typeface="Work Sa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a-DK" sz="1300" b="0" i="0" u="none" strike="noStrike" kern="1200" cap="none" spc="0" normalizeH="0" baseline="0" noProof="0">
              <a:ln>
                <a:noFill/>
              </a:ln>
              <a:solidFill>
                <a:srgbClr val="2067CA"/>
              </a:solidFill>
              <a:effectLst/>
              <a:uLnTx/>
              <a:uFillTx/>
              <a:latin typeface="Work Sans Light"/>
              <a:ea typeface="+mn-ea"/>
              <a:cs typeface="+mn-cs"/>
            </a:endParaRPr>
          </a:p>
        </p:txBody>
      </p:sp>
    </p:spTree>
    <p:extLst>
      <p:ext uri="{BB962C8B-B14F-4D97-AF65-F5344CB8AC3E}">
        <p14:creationId xmlns:p14="http://schemas.microsoft.com/office/powerpoint/2010/main" val="34490582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oleObject" Target="../embeddings/oleObject15.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34.xml"/><Relationship Id="rId6" Type="http://schemas.openxmlformats.org/officeDocument/2006/relationships/image" Target="../media/image3.emf"/><Relationship Id="rId5" Type="http://schemas.openxmlformats.org/officeDocument/2006/relationships/image" Target="../media/image2.png"/><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4.bin"/><Relationship Id="rId7" Type="http://schemas.openxmlformats.org/officeDocument/2006/relationships/image" Target="../media/image4.emf"/><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oleObject" Target="../embeddings/oleObject15.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6.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4.bin"/><Relationship Id="rId7" Type="http://schemas.openxmlformats.org/officeDocument/2006/relationships/image" Target="../media/image4.emf"/><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6.emf"/></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1F4DF6B-371F-8748-4731-DA1026A96905}"/>
              </a:ext>
            </a:extLst>
          </p:cNvPr>
          <p:cNvGraphicFramePr>
            <a:graphicFrameLocks noChangeAspect="1"/>
          </p:cNvGraphicFramePr>
          <p:nvPr userDrawn="1">
            <p:custDataLst>
              <p:tags r:id="rId1"/>
            </p:custDataLst>
            <p:extLst>
              <p:ext uri="{D42A27DB-BD31-4B8C-83A1-F6EECF244321}">
                <p14:modId xmlns:p14="http://schemas.microsoft.com/office/powerpoint/2010/main" val="2492760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think-cell data - do not delete" hidden="1">
                        <a:extLst>
                          <a:ext uri="{FF2B5EF4-FFF2-40B4-BE49-F238E27FC236}">
                            <a16:creationId xmlns:a16="http://schemas.microsoft.com/office/drawing/2014/main" id="{41F4DF6B-371F-8748-4731-DA1026A969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53F5199E-3999-31BC-9797-34E535043E26}"/>
              </a:ext>
            </a:extLst>
          </p:cNvPr>
          <p:cNvSpPr>
            <a:spLocks/>
          </p:cNvSpPr>
          <p:nvPr userDrawn="1"/>
        </p:nvSpPr>
        <p:spPr>
          <a:xfrm>
            <a:off x="0" y="0"/>
            <a:ext cx="12192000" cy="6858000"/>
          </a:xfrm>
          <a:prstGeom prst="rect">
            <a:avLst/>
          </a:prstGeom>
          <a:solidFill>
            <a:schemeClr val="bg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22" name="Rectangle 21">
            <a:extLst>
              <a:ext uri="{FF2B5EF4-FFF2-40B4-BE49-F238E27FC236}">
                <a16:creationId xmlns:a16="http://schemas.microsoft.com/office/drawing/2014/main" id="{A2400EB2-FDDA-0CDF-9607-A85723C7E1F9}"/>
              </a:ext>
            </a:extLst>
          </p:cNvPr>
          <p:cNvSpPr>
            <a:spLocks/>
          </p:cNvSpPr>
          <p:nvPr userDrawn="1"/>
        </p:nvSpPr>
        <p:spPr>
          <a:xfrm>
            <a:off x="442911" y="3202702"/>
            <a:ext cx="11306178" cy="1074140"/>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The following layouts are for title and divider slides.</a:t>
            </a: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Do not use this slide)</a:t>
            </a:r>
            <a:endParaRPr kumimoji="0" lang="en-US" sz="11500" b="0" i="0" u="none" strike="noStrike" kern="1200" cap="none" spc="-30" normalizeH="0" baseline="0" noProof="0" dirty="0">
              <a:ln>
                <a:noFill/>
              </a:ln>
              <a:solidFill>
                <a:srgbClr val="00264E"/>
              </a:solidFill>
              <a:effectLst/>
              <a:uLnTx/>
              <a:uFillTx/>
              <a:latin typeface="Work Sans Medium" pitchFamily="2" charset="0"/>
              <a:ea typeface="+mn-ea"/>
              <a:cs typeface="+mn-cs"/>
            </a:endParaRPr>
          </a:p>
        </p:txBody>
      </p:sp>
      <p:sp>
        <p:nvSpPr>
          <p:cNvPr id="23" name="Rectangle 22">
            <a:extLst>
              <a:ext uri="{FF2B5EF4-FFF2-40B4-BE49-F238E27FC236}">
                <a16:creationId xmlns:a16="http://schemas.microsoft.com/office/drawing/2014/main" id="{D77B3FDF-EE1C-B6F0-5CFA-715199ECBACC}"/>
              </a:ext>
            </a:extLst>
          </p:cNvPr>
          <p:cNvSpPr>
            <a:spLocks/>
          </p:cNvSpPr>
          <p:nvPr userDrawn="1"/>
        </p:nvSpPr>
        <p:spPr>
          <a:xfrm>
            <a:off x="1102648" y="2202881"/>
            <a:ext cx="9986708" cy="914096"/>
          </a:xfrm>
          <a:prstGeom prst="rect">
            <a:avLst/>
          </a:prstGeom>
          <a:noFill/>
          <a:ln w="9525" cap="flat">
            <a:noFill/>
            <a:prstDash val="solid"/>
            <a:miter/>
          </a:ln>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6600" b="0" i="0" u="none" strike="noStrike" kern="1200" cap="none" spc="-30" normalizeH="0" baseline="0" noProof="0" dirty="0">
                <a:ln>
                  <a:noFill/>
                </a:ln>
                <a:solidFill>
                  <a:srgbClr val="00264E"/>
                </a:solidFill>
                <a:effectLst/>
                <a:uLnTx/>
                <a:uFillTx/>
                <a:latin typeface="Work Sans Medium" pitchFamily="2" charset="0"/>
                <a:ea typeface="+mn-ea"/>
                <a:cs typeface="+mn-cs"/>
              </a:rPr>
              <a:t>Title and divider layouts</a:t>
            </a:r>
          </a:p>
        </p:txBody>
      </p:sp>
    </p:spTree>
    <p:extLst>
      <p:ext uri="{BB962C8B-B14F-4D97-AF65-F5344CB8AC3E}">
        <p14:creationId xmlns:p14="http://schemas.microsoft.com/office/powerpoint/2010/main" val="1177337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layout_curv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0D28EC-17F6-8468-7C96-4FB31D9FD0BA}"/>
              </a:ext>
            </a:extLst>
          </p:cNvPr>
          <p:cNvGraphicFramePr>
            <a:graphicFrameLocks noChangeAspect="1"/>
          </p:cNvGraphicFramePr>
          <p:nvPr userDrawn="1">
            <p:custDataLst>
              <p:tags r:id="rId1"/>
            </p:custDataLst>
            <p:extLst>
              <p:ext uri="{D42A27DB-BD31-4B8C-83A1-F6EECF244321}">
                <p14:modId xmlns:p14="http://schemas.microsoft.com/office/powerpoint/2010/main" val="223776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680D28EC-17F6-8468-7C96-4FB31D9FD0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6896B9EB-9957-53B9-4C78-DB5CD09A2DE7}"/>
              </a:ext>
            </a:extLst>
          </p:cNvPr>
          <p:cNvSpPr>
            <a:spLocks noGrp="1"/>
          </p:cNvSpPr>
          <p:nvPr>
            <p:ph type="title"/>
          </p:nvPr>
        </p:nvSpPr>
        <p:spPr>
          <a:xfrm>
            <a:off x="678584" y="3230097"/>
            <a:ext cx="3600450" cy="775597"/>
          </a:xfrm>
        </p:spPr>
        <p:txBody>
          <a:bodyPr vert="horz"/>
          <a:lstStyle>
            <a:lvl1pPr algn="ctr">
              <a:defRPr>
                <a:solidFill>
                  <a:srgbClr val="00264E"/>
                </a:solidFill>
                <a:latin typeface="Playfair Display Black" pitchFamily="2" charset="0"/>
              </a:defRPr>
            </a:lvl1pPr>
          </a:lstStyle>
          <a:p>
            <a:r>
              <a:rPr lang="en-US"/>
              <a:t>Click to edit Master title style</a:t>
            </a:r>
            <a:endParaRPr lang="en-US" dirty="0"/>
          </a:p>
        </p:txBody>
      </p:sp>
      <p:sp>
        <p:nvSpPr>
          <p:cNvPr id="7" name="Text Placeholder 4">
            <a:extLst>
              <a:ext uri="{FF2B5EF4-FFF2-40B4-BE49-F238E27FC236}">
                <a16:creationId xmlns:a16="http://schemas.microsoft.com/office/drawing/2014/main" id="{79D3FB05-BBAB-D255-A64E-AC565C7F5497}"/>
              </a:ext>
            </a:extLst>
          </p:cNvPr>
          <p:cNvSpPr>
            <a:spLocks noGrp="1"/>
          </p:cNvSpPr>
          <p:nvPr>
            <p:ph type="body" sz="quarter" idx="15" hasCustomPrompt="1"/>
          </p:nvPr>
        </p:nvSpPr>
        <p:spPr>
          <a:xfrm>
            <a:off x="6778461" y="1496739"/>
            <a:ext cx="3624974" cy="276999"/>
          </a:xfrm>
        </p:spPr>
        <p:txBody>
          <a:bodyPr wrap="square">
            <a:spAutoFit/>
          </a:bodyPr>
          <a:lstStyle>
            <a:lvl1pPr marL="0" indent="0">
              <a:lnSpc>
                <a:spcPct val="90000"/>
              </a:lnSpc>
              <a:spcBef>
                <a:spcPts val="300"/>
              </a:spcBef>
              <a:spcAft>
                <a:spcPts val="0"/>
              </a:spcAft>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8" name="Text Placeholder 7">
            <a:extLst>
              <a:ext uri="{FF2B5EF4-FFF2-40B4-BE49-F238E27FC236}">
                <a16:creationId xmlns:a16="http://schemas.microsoft.com/office/drawing/2014/main" id="{5D39C42A-1944-F6FB-2047-D1E399A8CAE1}"/>
              </a:ext>
            </a:extLst>
          </p:cNvPr>
          <p:cNvSpPr>
            <a:spLocks noGrp="1"/>
          </p:cNvSpPr>
          <p:nvPr>
            <p:ph type="body" sz="quarter" idx="16" hasCustomPrompt="1"/>
          </p:nvPr>
        </p:nvSpPr>
        <p:spPr>
          <a:xfrm>
            <a:off x="6249825" y="1496739"/>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9" name="Text Placeholder 4">
            <a:extLst>
              <a:ext uri="{FF2B5EF4-FFF2-40B4-BE49-F238E27FC236}">
                <a16:creationId xmlns:a16="http://schemas.microsoft.com/office/drawing/2014/main" id="{16F89D70-136D-8588-2518-6B44F35C6EB3}"/>
              </a:ext>
            </a:extLst>
          </p:cNvPr>
          <p:cNvSpPr>
            <a:spLocks noGrp="1"/>
          </p:cNvSpPr>
          <p:nvPr>
            <p:ph type="body" sz="quarter" idx="17" hasCustomPrompt="1"/>
          </p:nvPr>
        </p:nvSpPr>
        <p:spPr>
          <a:xfrm>
            <a:off x="6778461" y="2157625"/>
            <a:ext cx="3624974" cy="276999"/>
          </a:xfrm>
        </p:spPr>
        <p:txBody>
          <a:bodyPr wrap="square">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10" name="Text Placeholder 7">
            <a:extLst>
              <a:ext uri="{FF2B5EF4-FFF2-40B4-BE49-F238E27FC236}">
                <a16:creationId xmlns:a16="http://schemas.microsoft.com/office/drawing/2014/main" id="{F9885965-1012-4870-6B94-240567CC6583}"/>
              </a:ext>
            </a:extLst>
          </p:cNvPr>
          <p:cNvSpPr>
            <a:spLocks noGrp="1"/>
          </p:cNvSpPr>
          <p:nvPr>
            <p:ph type="body" sz="quarter" idx="18" hasCustomPrompt="1"/>
          </p:nvPr>
        </p:nvSpPr>
        <p:spPr>
          <a:xfrm>
            <a:off x="6249825" y="2157625"/>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11" name="Text Placeholder 4">
            <a:extLst>
              <a:ext uri="{FF2B5EF4-FFF2-40B4-BE49-F238E27FC236}">
                <a16:creationId xmlns:a16="http://schemas.microsoft.com/office/drawing/2014/main" id="{B305A7E2-B0B5-087C-9997-6E931C2AFB3B}"/>
              </a:ext>
            </a:extLst>
          </p:cNvPr>
          <p:cNvSpPr>
            <a:spLocks noGrp="1"/>
          </p:cNvSpPr>
          <p:nvPr>
            <p:ph type="body" sz="quarter" idx="19" hasCustomPrompt="1"/>
          </p:nvPr>
        </p:nvSpPr>
        <p:spPr>
          <a:xfrm>
            <a:off x="6778461" y="2818511"/>
            <a:ext cx="3624974" cy="276999"/>
          </a:xfrm>
        </p:spPr>
        <p:txBody>
          <a:bodyPr wrap="square">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12" name="Text Placeholder 7">
            <a:extLst>
              <a:ext uri="{FF2B5EF4-FFF2-40B4-BE49-F238E27FC236}">
                <a16:creationId xmlns:a16="http://schemas.microsoft.com/office/drawing/2014/main" id="{586EEDB8-1E04-2160-CA2B-BB9925D080C4}"/>
              </a:ext>
            </a:extLst>
          </p:cNvPr>
          <p:cNvSpPr>
            <a:spLocks noGrp="1"/>
          </p:cNvSpPr>
          <p:nvPr>
            <p:ph type="body" sz="quarter" idx="20" hasCustomPrompt="1"/>
          </p:nvPr>
        </p:nvSpPr>
        <p:spPr>
          <a:xfrm>
            <a:off x="6249825" y="2818511"/>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13" name="Text Placeholder 4">
            <a:extLst>
              <a:ext uri="{FF2B5EF4-FFF2-40B4-BE49-F238E27FC236}">
                <a16:creationId xmlns:a16="http://schemas.microsoft.com/office/drawing/2014/main" id="{F704C185-C4C5-90E1-DD6E-152A211384B7}"/>
              </a:ext>
            </a:extLst>
          </p:cNvPr>
          <p:cNvSpPr>
            <a:spLocks noGrp="1"/>
          </p:cNvSpPr>
          <p:nvPr>
            <p:ph type="body" sz="quarter" idx="21" hasCustomPrompt="1"/>
          </p:nvPr>
        </p:nvSpPr>
        <p:spPr>
          <a:xfrm>
            <a:off x="6778461" y="3479397"/>
            <a:ext cx="3624974" cy="276999"/>
          </a:xfrm>
        </p:spPr>
        <p:txBody>
          <a:bodyPr wrap="square">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14" name="Text Placeholder 7">
            <a:extLst>
              <a:ext uri="{FF2B5EF4-FFF2-40B4-BE49-F238E27FC236}">
                <a16:creationId xmlns:a16="http://schemas.microsoft.com/office/drawing/2014/main" id="{7F06C1D1-B81E-7C8A-BA8D-E0F2F9BA14A0}"/>
              </a:ext>
            </a:extLst>
          </p:cNvPr>
          <p:cNvSpPr>
            <a:spLocks noGrp="1"/>
          </p:cNvSpPr>
          <p:nvPr>
            <p:ph type="body" sz="quarter" idx="22" hasCustomPrompt="1"/>
          </p:nvPr>
        </p:nvSpPr>
        <p:spPr>
          <a:xfrm>
            <a:off x="6249825" y="3479397"/>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15" name="Text Placeholder 4">
            <a:extLst>
              <a:ext uri="{FF2B5EF4-FFF2-40B4-BE49-F238E27FC236}">
                <a16:creationId xmlns:a16="http://schemas.microsoft.com/office/drawing/2014/main" id="{D63AF855-24B5-B5D7-C734-73B19A5FF999}"/>
              </a:ext>
            </a:extLst>
          </p:cNvPr>
          <p:cNvSpPr>
            <a:spLocks noGrp="1"/>
          </p:cNvSpPr>
          <p:nvPr>
            <p:ph type="body" sz="quarter" idx="23" hasCustomPrompt="1"/>
          </p:nvPr>
        </p:nvSpPr>
        <p:spPr>
          <a:xfrm>
            <a:off x="6778461" y="4140283"/>
            <a:ext cx="3624974" cy="276999"/>
          </a:xfrm>
        </p:spPr>
        <p:txBody>
          <a:bodyPr wrap="square">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16" name="Text Placeholder 7">
            <a:extLst>
              <a:ext uri="{FF2B5EF4-FFF2-40B4-BE49-F238E27FC236}">
                <a16:creationId xmlns:a16="http://schemas.microsoft.com/office/drawing/2014/main" id="{F53BB475-0FC8-99A3-7FD5-B34BEAF0B045}"/>
              </a:ext>
            </a:extLst>
          </p:cNvPr>
          <p:cNvSpPr>
            <a:spLocks noGrp="1"/>
          </p:cNvSpPr>
          <p:nvPr>
            <p:ph type="body" sz="quarter" idx="24" hasCustomPrompt="1"/>
          </p:nvPr>
        </p:nvSpPr>
        <p:spPr>
          <a:xfrm>
            <a:off x="6249825" y="4140283"/>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17" name="Text Placeholder 4">
            <a:extLst>
              <a:ext uri="{FF2B5EF4-FFF2-40B4-BE49-F238E27FC236}">
                <a16:creationId xmlns:a16="http://schemas.microsoft.com/office/drawing/2014/main" id="{BDCE62CE-249F-3743-92B2-E004030DC0C7}"/>
              </a:ext>
            </a:extLst>
          </p:cNvPr>
          <p:cNvSpPr>
            <a:spLocks noGrp="1"/>
          </p:cNvSpPr>
          <p:nvPr>
            <p:ph type="body" sz="quarter" idx="25" hasCustomPrompt="1"/>
          </p:nvPr>
        </p:nvSpPr>
        <p:spPr>
          <a:xfrm>
            <a:off x="6778461" y="4801169"/>
            <a:ext cx="3624974" cy="276999"/>
          </a:xfrm>
        </p:spPr>
        <p:txBody>
          <a:bodyPr wrap="square">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18" name="Text Placeholder 7">
            <a:extLst>
              <a:ext uri="{FF2B5EF4-FFF2-40B4-BE49-F238E27FC236}">
                <a16:creationId xmlns:a16="http://schemas.microsoft.com/office/drawing/2014/main" id="{9E86E868-FFB0-5659-E15D-088572974B47}"/>
              </a:ext>
            </a:extLst>
          </p:cNvPr>
          <p:cNvSpPr>
            <a:spLocks noGrp="1"/>
          </p:cNvSpPr>
          <p:nvPr>
            <p:ph type="body" sz="quarter" idx="26" hasCustomPrompt="1"/>
          </p:nvPr>
        </p:nvSpPr>
        <p:spPr>
          <a:xfrm>
            <a:off x="6249825" y="4801169"/>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0" name="Text Placeholder 4">
            <a:extLst>
              <a:ext uri="{FF2B5EF4-FFF2-40B4-BE49-F238E27FC236}">
                <a16:creationId xmlns:a16="http://schemas.microsoft.com/office/drawing/2014/main" id="{E5BCCCC8-CE1A-EA8A-18A5-72EE19E3048A}"/>
              </a:ext>
            </a:extLst>
          </p:cNvPr>
          <p:cNvSpPr>
            <a:spLocks noGrp="1"/>
          </p:cNvSpPr>
          <p:nvPr>
            <p:ph type="body" sz="quarter" idx="27" hasCustomPrompt="1"/>
          </p:nvPr>
        </p:nvSpPr>
        <p:spPr>
          <a:xfrm>
            <a:off x="6778461" y="5462058"/>
            <a:ext cx="3624974" cy="276999"/>
          </a:xfrm>
        </p:spPr>
        <p:txBody>
          <a:bodyPr wrap="square">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1" name="Text Placeholder 7">
            <a:extLst>
              <a:ext uri="{FF2B5EF4-FFF2-40B4-BE49-F238E27FC236}">
                <a16:creationId xmlns:a16="http://schemas.microsoft.com/office/drawing/2014/main" id="{F520A370-9401-EC10-9C06-66241610FBDF}"/>
              </a:ext>
            </a:extLst>
          </p:cNvPr>
          <p:cNvSpPr>
            <a:spLocks noGrp="1"/>
          </p:cNvSpPr>
          <p:nvPr>
            <p:ph type="body" sz="quarter" idx="28" hasCustomPrompt="1"/>
          </p:nvPr>
        </p:nvSpPr>
        <p:spPr>
          <a:xfrm>
            <a:off x="6249825" y="5462058"/>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2" name="Bild 7">
            <a:extLst>
              <a:ext uri="{FF2B5EF4-FFF2-40B4-BE49-F238E27FC236}">
                <a16:creationId xmlns:a16="http://schemas.microsoft.com/office/drawing/2014/main" id="{9A173953-467D-DE95-40F0-E46694A51DDB}"/>
              </a:ext>
            </a:extLst>
          </p:cNvPr>
          <p:cNvSpPr/>
          <p:nvPr userDrawn="1"/>
        </p:nvSpPr>
        <p:spPr>
          <a:xfrm flipV="1">
            <a:off x="4549532" y="1496739"/>
            <a:ext cx="826109" cy="4242318"/>
          </a:xfrm>
          <a:custGeom>
            <a:avLst/>
            <a:gdLst>
              <a:gd name="connsiteX0" fmla="*/ 152087 w 682154"/>
              <a:gd name="connsiteY0" fmla="*/ 0 h 3426348"/>
              <a:gd name="connsiteX1" fmla="*/ 2038 w 682154"/>
              <a:gd name="connsiteY1" fmla="*/ 888535 h 3426348"/>
              <a:gd name="connsiteX2" fmla="*/ 674995 w 682154"/>
              <a:gd name="connsiteY2" fmla="*/ 3426349 h 3426348"/>
            </a:gdLst>
            <a:ahLst/>
            <a:cxnLst>
              <a:cxn ang="0">
                <a:pos x="connsiteX0" y="connsiteY0"/>
              </a:cxn>
              <a:cxn ang="0">
                <a:pos x="connsiteX1" y="connsiteY1"/>
              </a:cxn>
              <a:cxn ang="0">
                <a:pos x="connsiteX2" y="connsiteY2"/>
              </a:cxn>
            </a:cxnLst>
            <a:rect l="l" t="t" r="r" b="b"/>
            <a:pathLst>
              <a:path w="682154" h="3426348">
                <a:moveTo>
                  <a:pt x="152087" y="0"/>
                </a:moveTo>
                <a:cubicBezTo>
                  <a:pt x="152087" y="0"/>
                  <a:pt x="-20549" y="293998"/>
                  <a:pt x="2038" y="888535"/>
                </a:cubicBezTo>
                <a:cubicBezTo>
                  <a:pt x="38800" y="1856727"/>
                  <a:pt x="761343" y="2502817"/>
                  <a:pt x="674995" y="3426349"/>
                </a:cubicBezTo>
              </a:path>
            </a:pathLst>
          </a:custGeom>
          <a:noFill/>
          <a:ln w="15601" cap="flat">
            <a:solidFill>
              <a:srgbClr val="0B254B"/>
            </a:solid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64E"/>
              </a:solidFill>
              <a:effectLst/>
              <a:uLnTx/>
              <a:uFillTx/>
              <a:latin typeface="Work Sans Light"/>
              <a:ea typeface="+mn-ea"/>
              <a:cs typeface="+mn-cs"/>
            </a:endParaRPr>
          </a:p>
        </p:txBody>
      </p:sp>
      <p:sp>
        <p:nvSpPr>
          <p:cNvPr id="2" name="Date Placeholder 19">
            <a:extLst>
              <a:ext uri="{FF2B5EF4-FFF2-40B4-BE49-F238E27FC236}">
                <a16:creationId xmlns:a16="http://schemas.microsoft.com/office/drawing/2014/main" id="{A2D48AB2-EFAF-4793-A8A5-250513B21E07}"/>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19" name="Slide Number Placeholder 20">
            <a:extLst>
              <a:ext uri="{FF2B5EF4-FFF2-40B4-BE49-F238E27FC236}">
                <a16:creationId xmlns:a16="http://schemas.microsoft.com/office/drawing/2014/main" id="{8EEC7DD3-5720-B601-C3F4-86BA708392C7}"/>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0809A909-19DA-FFEE-2536-EE85A6809089}"/>
              </a:ext>
            </a:extLst>
          </p:cNvPr>
          <p:cNvSpPr>
            <a:spLocks noGrp="1"/>
          </p:cNvSpPr>
          <p:nvPr>
            <p:ph type="ftr" sz="quarter" idx="29"/>
          </p:nvPr>
        </p:nvSpPr>
        <p:spPr/>
        <p:txBody>
          <a:bodyPr/>
          <a:lstStyle/>
          <a:p>
            <a:endParaRPr lang="en-GB"/>
          </a:p>
        </p:txBody>
      </p:sp>
    </p:spTree>
    <p:extLst>
      <p:ext uri="{BB962C8B-B14F-4D97-AF65-F5344CB8AC3E}">
        <p14:creationId xmlns:p14="http://schemas.microsoft.com/office/powerpoint/2010/main" val="1986243014"/>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Statement/quote_Shea Brown">
    <p:bg>
      <p:bgPr>
        <a:solidFill>
          <a:srgbClr val="E2CFC6"/>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6DEBDD9-6430-4726-AAA3-A0FD5FEB0D8F}"/>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rgbClr val="00264E"/>
                </a:solidFill>
              </a:defRPr>
            </a:lvl1pPr>
          </a:lstStyle>
          <a:p>
            <a:r>
              <a:rPr lang="en-US"/>
              <a:t>Click icon to add picture</a:t>
            </a:r>
            <a:endParaRPr lang="en-US" dirty="0"/>
          </a:p>
        </p:txBody>
      </p:sp>
      <p:sp>
        <p:nvSpPr>
          <p:cNvPr id="3" name="Text Placeholder 2">
            <a:extLst>
              <a:ext uri="{FF2B5EF4-FFF2-40B4-BE49-F238E27FC236}">
                <a16:creationId xmlns:a16="http://schemas.microsoft.com/office/drawing/2014/main" id="{F893938E-CCEF-4D8A-8200-2C2804486334}"/>
              </a:ext>
            </a:extLst>
          </p:cNvPr>
          <p:cNvSpPr>
            <a:spLocks noGrp="1"/>
          </p:cNvSpPr>
          <p:nvPr>
            <p:ph type="body" sz="quarter" idx="15" hasCustomPrompt="1"/>
          </p:nvPr>
        </p:nvSpPr>
        <p:spPr>
          <a:xfrm>
            <a:off x="442914" y="216693"/>
            <a:ext cx="3608383" cy="5912645"/>
          </a:xfrm>
        </p:spPr>
        <p:txBody>
          <a:bodyPr anchor="ctr"/>
          <a:lstStyle>
            <a:lvl1pPr marL="0" indent="0">
              <a:buNone/>
              <a:defRPr sz="4000" spc="0" baseline="0">
                <a:solidFill>
                  <a:srgbClr val="00264E"/>
                </a:solidFill>
                <a:latin typeface="Playfair Display"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add statement </a:t>
            </a:r>
            <a:br>
              <a:rPr lang="en-US" noProof="0" dirty="0"/>
            </a:br>
            <a:r>
              <a:rPr lang="en-US" noProof="0" dirty="0"/>
              <a:t>or quote</a:t>
            </a:r>
            <a:endParaRPr lang="en-US" dirty="0"/>
          </a:p>
        </p:txBody>
      </p:sp>
      <p:sp>
        <p:nvSpPr>
          <p:cNvPr id="2" name="Date Placeholder 19">
            <a:extLst>
              <a:ext uri="{FF2B5EF4-FFF2-40B4-BE49-F238E27FC236}">
                <a16:creationId xmlns:a16="http://schemas.microsoft.com/office/drawing/2014/main" id="{70463F20-94C2-288D-9F24-5B228F37E754}"/>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1C88D85F-284D-8C0D-6B9B-DF7321C4C0AF}"/>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 name="Graphic 21">
            <a:extLst>
              <a:ext uri="{FF2B5EF4-FFF2-40B4-BE49-F238E27FC236}">
                <a16:creationId xmlns:a16="http://schemas.microsoft.com/office/drawing/2014/main" id="{FD10B903-D955-89F6-ADDD-603A7B72FDCD}"/>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endParaRPr lang="en-US" dirty="0">
              <a:solidFill>
                <a:srgbClr val="00264E"/>
              </a:solidFill>
            </a:endParaRPr>
          </a:p>
        </p:txBody>
      </p:sp>
      <p:sp>
        <p:nvSpPr>
          <p:cNvPr id="6" name="Footer Placeholder 5">
            <a:extLst>
              <a:ext uri="{FF2B5EF4-FFF2-40B4-BE49-F238E27FC236}">
                <a16:creationId xmlns:a16="http://schemas.microsoft.com/office/drawing/2014/main" id="{573AD047-07F1-6D53-33DD-FB4FF69CB3C7}"/>
              </a:ext>
            </a:extLst>
          </p:cNvPr>
          <p:cNvSpPr>
            <a:spLocks noGrp="1"/>
          </p:cNvSpPr>
          <p:nvPr>
            <p:ph type="ftr" sz="quarter" idx="16"/>
          </p:nvPr>
        </p:nvSpPr>
        <p:spPr/>
        <p:txBody>
          <a:bodyPr/>
          <a:lstStyle/>
          <a:p>
            <a:endParaRPr lang="en-GB"/>
          </a:p>
        </p:txBody>
      </p:sp>
    </p:spTree>
    <p:extLst>
      <p:ext uri="{BB962C8B-B14F-4D97-AF65-F5344CB8AC3E}">
        <p14:creationId xmlns:p14="http://schemas.microsoft.com/office/powerpoint/2010/main" val="23770870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ig text_Black Olive Navy">
    <p:bg>
      <p:bgPr>
        <a:solidFill>
          <a:srgbClr val="00264E"/>
        </a:solidFill>
        <a:effectLst/>
      </p:bgPr>
    </p:bg>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A56291E5-FDDD-4D3C-86D8-4EE673554ECA}"/>
              </a:ext>
            </a:extLst>
          </p:cNvPr>
          <p:cNvSpPr>
            <a:spLocks noGrp="1"/>
          </p:cNvSpPr>
          <p:nvPr>
            <p:ph type="pic" sz="quarter" idx="15"/>
          </p:nvPr>
        </p:nvSpPr>
        <p:spPr>
          <a:xfrm>
            <a:off x="8126413" y="0"/>
            <a:ext cx="4065587" cy="6858000"/>
          </a:xfrm>
          <a:custGeom>
            <a:avLst/>
            <a:gdLst>
              <a:gd name="connsiteX0" fmla="*/ 920567 w 4065587"/>
              <a:gd name="connsiteY0" fmla="*/ 0 h 6858000"/>
              <a:gd name="connsiteX1" fmla="*/ 4043657 w 4065587"/>
              <a:gd name="connsiteY1" fmla="*/ 0 h 6858000"/>
              <a:gd name="connsiteX2" fmla="*/ 4065587 w 4065587"/>
              <a:gd name="connsiteY2" fmla="*/ 0 h 6858000"/>
              <a:gd name="connsiteX3" fmla="*/ 4065587 w 4065587"/>
              <a:gd name="connsiteY3" fmla="*/ 6858000 h 6858000"/>
              <a:gd name="connsiteX4" fmla="*/ 391433 w 4065587"/>
              <a:gd name="connsiteY4" fmla="*/ 6858000 h 6858000"/>
              <a:gd name="connsiteX5" fmla="*/ 353297 w 4065587"/>
              <a:gd name="connsiteY5" fmla="*/ 3448050 h 6858000"/>
              <a:gd name="connsiteX6" fmla="*/ 920567 w 406558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5587" h="6858000">
                <a:moveTo>
                  <a:pt x="920567" y="0"/>
                </a:moveTo>
                <a:cubicBezTo>
                  <a:pt x="2582752" y="0"/>
                  <a:pt x="3517731" y="0"/>
                  <a:pt x="4043657" y="0"/>
                </a:cubicBezTo>
                <a:lnTo>
                  <a:pt x="4065587" y="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endParaRPr lang="en-US" dirty="0"/>
          </a:p>
        </p:txBody>
      </p:sp>
      <p:sp>
        <p:nvSpPr>
          <p:cNvPr id="2" name="Title 1"/>
          <p:cNvSpPr>
            <a:spLocks noGrp="1"/>
          </p:cNvSpPr>
          <p:nvPr>
            <p:ph type="title" hasCustomPrompt="1"/>
          </p:nvPr>
        </p:nvSpPr>
        <p:spPr>
          <a:xfrm>
            <a:off x="442913" y="1708584"/>
            <a:ext cx="7273925" cy="1107996"/>
          </a:xfrm>
        </p:spPr>
        <p:txBody>
          <a:bodyPr>
            <a:noAutofit/>
          </a:bodyPr>
          <a:lstStyle>
            <a:lvl1pPr>
              <a:spcBef>
                <a:spcPts val="600"/>
              </a:spcBef>
              <a:defRPr sz="4000" spc="-30" baseline="0">
                <a:solidFill>
                  <a:schemeClr val="bg1"/>
                </a:solidFill>
              </a:defRPr>
            </a:lvl1pPr>
          </a:lstStyle>
          <a:p>
            <a:r>
              <a:rPr lang="en-US" noProof="0" dirty="0"/>
              <a:t>Click to add text</a:t>
            </a:r>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2929412"/>
            <a:ext cx="7273925" cy="1491342"/>
          </a:xfrm>
        </p:spPr>
        <p:txBody>
          <a:bodyPr/>
          <a:lstStyle>
            <a:lvl1pPr marL="0" indent="0">
              <a:spcBef>
                <a:spcPts val="600"/>
              </a:spcBef>
              <a:buNone/>
              <a:defRPr spc="-3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0" name="Graphic 21">
            <a:extLst>
              <a:ext uri="{FF2B5EF4-FFF2-40B4-BE49-F238E27FC236}">
                <a16:creationId xmlns:a16="http://schemas.microsoft.com/office/drawing/2014/main" id="{B9EF64C5-F750-44CE-A6AA-580045B2F891}"/>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chemeClr val="bg1"/>
          </a:solidFill>
          <a:ln w="9525" cap="flat">
            <a:noFill/>
            <a:prstDash val="solid"/>
            <a:miter/>
          </a:ln>
        </p:spPr>
        <p:txBody>
          <a:bodyPr rtlCol="0" anchor="ctr"/>
          <a:lstStyle/>
          <a:p>
            <a:endParaRPr lang="en-US" dirty="0"/>
          </a:p>
        </p:txBody>
      </p:sp>
      <p:sp>
        <p:nvSpPr>
          <p:cNvPr id="3" name="Date Placeholder 19">
            <a:extLst>
              <a:ext uri="{FF2B5EF4-FFF2-40B4-BE49-F238E27FC236}">
                <a16:creationId xmlns:a16="http://schemas.microsoft.com/office/drawing/2014/main" id="{46DFDBF4-9F88-67E9-B470-DCF7DCCB385B}"/>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chemeClr val="bg1"/>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7E3537C5-F6DE-81B3-6753-DF9642C7DBA5}"/>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chemeClr val="bg1"/>
                </a:solidFill>
              </a:defRPr>
            </a:lvl1pPr>
          </a:lstStyle>
          <a:p>
            <a:pPr algn="r"/>
            <a:fld id="{EDF3706E-DB9C-4B59-A485-1194C2A6AD28}" type="slidenum">
              <a:rPr lang="en-GB" smtClean="0"/>
              <a:pPr algn="r"/>
              <a:t>‹#›</a:t>
            </a:fld>
            <a:endParaRPr lang="en-GB"/>
          </a:p>
        </p:txBody>
      </p:sp>
      <p:sp>
        <p:nvSpPr>
          <p:cNvPr id="5" name="Footer Placeholder 4">
            <a:extLst>
              <a:ext uri="{FF2B5EF4-FFF2-40B4-BE49-F238E27FC236}">
                <a16:creationId xmlns:a16="http://schemas.microsoft.com/office/drawing/2014/main" id="{1E70FD5D-DEF2-3BF1-139D-AB0D1792B850}"/>
              </a:ext>
            </a:extLst>
          </p:cNvPr>
          <p:cNvSpPr>
            <a:spLocks noGrp="1"/>
          </p:cNvSpPr>
          <p:nvPr>
            <p:ph type="ftr" sz="quarter" idx="16"/>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3666793619"/>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Big text_Soy Bean Green">
    <p:bg>
      <p:bgPr>
        <a:solidFill>
          <a:srgbClr val="D2DEC3"/>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E5E0D005-F3D4-4C44-B2CA-F534855CE35A}"/>
              </a:ext>
            </a:extLst>
          </p:cNvPr>
          <p:cNvSpPr>
            <a:spLocks noGrp="1"/>
          </p:cNvSpPr>
          <p:nvPr>
            <p:ph type="pic" sz="quarter" idx="15"/>
          </p:nvPr>
        </p:nvSpPr>
        <p:spPr>
          <a:xfrm>
            <a:off x="8126413" y="0"/>
            <a:ext cx="4065587" cy="6858000"/>
          </a:xfrm>
          <a:custGeom>
            <a:avLst/>
            <a:gdLst>
              <a:gd name="connsiteX0" fmla="*/ 920567 w 4065587"/>
              <a:gd name="connsiteY0" fmla="*/ 0 h 6858000"/>
              <a:gd name="connsiteX1" fmla="*/ 4043657 w 4065587"/>
              <a:gd name="connsiteY1" fmla="*/ 0 h 6858000"/>
              <a:gd name="connsiteX2" fmla="*/ 4065587 w 4065587"/>
              <a:gd name="connsiteY2" fmla="*/ 0 h 6858000"/>
              <a:gd name="connsiteX3" fmla="*/ 4065587 w 4065587"/>
              <a:gd name="connsiteY3" fmla="*/ 6858000 h 6858000"/>
              <a:gd name="connsiteX4" fmla="*/ 391433 w 4065587"/>
              <a:gd name="connsiteY4" fmla="*/ 6858000 h 6858000"/>
              <a:gd name="connsiteX5" fmla="*/ 353297 w 4065587"/>
              <a:gd name="connsiteY5" fmla="*/ 3448050 h 6858000"/>
              <a:gd name="connsiteX6" fmla="*/ 920567 w 406558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5587" h="6858000">
                <a:moveTo>
                  <a:pt x="920567" y="0"/>
                </a:moveTo>
                <a:cubicBezTo>
                  <a:pt x="2582752" y="0"/>
                  <a:pt x="3517731" y="0"/>
                  <a:pt x="4043657" y="0"/>
                </a:cubicBezTo>
                <a:lnTo>
                  <a:pt x="4065587" y="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rgbClr val="00264E"/>
                </a:solidFill>
              </a:defRPr>
            </a:lvl1pPr>
          </a:lstStyle>
          <a:p>
            <a:r>
              <a:rPr lang="en-US"/>
              <a:t>Click icon to add picture</a:t>
            </a:r>
            <a:endParaRPr lang="en-US" dirty="0"/>
          </a:p>
        </p:txBody>
      </p:sp>
      <p:sp>
        <p:nvSpPr>
          <p:cNvPr id="2" name="Title 1"/>
          <p:cNvSpPr>
            <a:spLocks noGrp="1"/>
          </p:cNvSpPr>
          <p:nvPr>
            <p:ph type="title" hasCustomPrompt="1"/>
          </p:nvPr>
        </p:nvSpPr>
        <p:spPr>
          <a:xfrm>
            <a:off x="442913" y="1708584"/>
            <a:ext cx="7273925" cy="1107996"/>
          </a:xfrm>
        </p:spPr>
        <p:txBody>
          <a:bodyPr>
            <a:noAutofit/>
          </a:bodyPr>
          <a:lstStyle>
            <a:lvl1pPr>
              <a:spcBef>
                <a:spcPts val="600"/>
              </a:spcBef>
              <a:defRPr sz="4000" spc="-30" baseline="0">
                <a:solidFill>
                  <a:srgbClr val="00264E"/>
                </a:solidFill>
              </a:defRPr>
            </a:lvl1pPr>
          </a:lstStyle>
          <a:p>
            <a:r>
              <a:rPr lang="en-US" noProof="0" dirty="0"/>
              <a:t>Click to add text</a:t>
            </a:r>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2929412"/>
            <a:ext cx="7273925" cy="1491342"/>
          </a:xfrm>
        </p:spPr>
        <p:txBody>
          <a:bodyPr/>
          <a:lstStyle>
            <a:lvl1pPr marL="0" indent="0">
              <a:lnSpc>
                <a:spcPct val="90000"/>
              </a:lnSpc>
              <a:spcBef>
                <a:spcPts val="600"/>
              </a:spcBef>
              <a:buNone/>
              <a:defRPr spc="-30" baseline="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 name="Date Placeholder 19">
            <a:extLst>
              <a:ext uri="{FF2B5EF4-FFF2-40B4-BE49-F238E27FC236}">
                <a16:creationId xmlns:a16="http://schemas.microsoft.com/office/drawing/2014/main" id="{6A7810FF-621B-4228-5AFF-DC925E3BA264}"/>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13084789-1CA4-E78A-913D-B25F7931B7A4}"/>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 name="Graphic 21">
            <a:extLst>
              <a:ext uri="{FF2B5EF4-FFF2-40B4-BE49-F238E27FC236}">
                <a16:creationId xmlns:a16="http://schemas.microsoft.com/office/drawing/2014/main" id="{97557D8C-45E5-DABF-FD36-D3AF7E090F41}"/>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endParaRPr lang="en-US" dirty="0">
              <a:solidFill>
                <a:srgbClr val="00264E"/>
              </a:solidFill>
            </a:endParaRPr>
          </a:p>
        </p:txBody>
      </p:sp>
      <p:sp>
        <p:nvSpPr>
          <p:cNvPr id="6" name="Footer Placeholder 5">
            <a:extLst>
              <a:ext uri="{FF2B5EF4-FFF2-40B4-BE49-F238E27FC236}">
                <a16:creationId xmlns:a16="http://schemas.microsoft.com/office/drawing/2014/main" id="{B2E29CED-7357-528C-2114-4128F7E1B823}"/>
              </a:ext>
            </a:extLst>
          </p:cNvPr>
          <p:cNvSpPr>
            <a:spLocks noGrp="1"/>
          </p:cNvSpPr>
          <p:nvPr>
            <p:ph type="ftr" sz="quarter" idx="16"/>
          </p:nvPr>
        </p:nvSpPr>
        <p:spPr/>
        <p:txBody>
          <a:bodyPr/>
          <a:lstStyle/>
          <a:p>
            <a:endParaRPr lang="en-GB"/>
          </a:p>
        </p:txBody>
      </p:sp>
    </p:spTree>
    <p:extLst>
      <p:ext uri="{BB962C8B-B14F-4D97-AF65-F5344CB8AC3E}">
        <p14:creationId xmlns:p14="http://schemas.microsoft.com/office/powerpoint/2010/main" val="2762376149"/>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_Big text_Shea Brown">
    <p:bg>
      <p:bgPr>
        <a:solidFill>
          <a:srgbClr val="E2CFC6"/>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E5E0D005-F3D4-4C44-B2CA-F534855CE35A}"/>
              </a:ext>
            </a:extLst>
          </p:cNvPr>
          <p:cNvSpPr>
            <a:spLocks noGrp="1"/>
          </p:cNvSpPr>
          <p:nvPr>
            <p:ph type="pic" sz="quarter" idx="15"/>
          </p:nvPr>
        </p:nvSpPr>
        <p:spPr>
          <a:xfrm>
            <a:off x="8126413" y="0"/>
            <a:ext cx="4065587" cy="6858000"/>
          </a:xfrm>
          <a:custGeom>
            <a:avLst/>
            <a:gdLst>
              <a:gd name="connsiteX0" fmla="*/ 920567 w 4065587"/>
              <a:gd name="connsiteY0" fmla="*/ 0 h 6858000"/>
              <a:gd name="connsiteX1" fmla="*/ 4043657 w 4065587"/>
              <a:gd name="connsiteY1" fmla="*/ 0 h 6858000"/>
              <a:gd name="connsiteX2" fmla="*/ 4065587 w 4065587"/>
              <a:gd name="connsiteY2" fmla="*/ 0 h 6858000"/>
              <a:gd name="connsiteX3" fmla="*/ 4065587 w 4065587"/>
              <a:gd name="connsiteY3" fmla="*/ 6858000 h 6858000"/>
              <a:gd name="connsiteX4" fmla="*/ 391433 w 4065587"/>
              <a:gd name="connsiteY4" fmla="*/ 6858000 h 6858000"/>
              <a:gd name="connsiteX5" fmla="*/ 353297 w 4065587"/>
              <a:gd name="connsiteY5" fmla="*/ 3448050 h 6858000"/>
              <a:gd name="connsiteX6" fmla="*/ 920567 w 406558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5587" h="6858000">
                <a:moveTo>
                  <a:pt x="920567" y="0"/>
                </a:moveTo>
                <a:cubicBezTo>
                  <a:pt x="2582752" y="0"/>
                  <a:pt x="3517731" y="0"/>
                  <a:pt x="4043657" y="0"/>
                </a:cubicBezTo>
                <a:lnTo>
                  <a:pt x="4065587" y="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rgbClr val="00264E"/>
                </a:solidFill>
              </a:defRPr>
            </a:lvl1pPr>
          </a:lstStyle>
          <a:p>
            <a:r>
              <a:rPr lang="en-US"/>
              <a:t>Click icon to add picture</a:t>
            </a:r>
            <a:endParaRPr lang="en-US" dirty="0"/>
          </a:p>
        </p:txBody>
      </p:sp>
      <p:sp>
        <p:nvSpPr>
          <p:cNvPr id="2" name="Title 1"/>
          <p:cNvSpPr>
            <a:spLocks noGrp="1"/>
          </p:cNvSpPr>
          <p:nvPr>
            <p:ph type="title" hasCustomPrompt="1"/>
          </p:nvPr>
        </p:nvSpPr>
        <p:spPr>
          <a:xfrm>
            <a:off x="442913" y="1708584"/>
            <a:ext cx="7273925" cy="1107996"/>
          </a:xfrm>
        </p:spPr>
        <p:txBody>
          <a:bodyPr>
            <a:noAutofit/>
          </a:bodyPr>
          <a:lstStyle>
            <a:lvl1pPr>
              <a:spcBef>
                <a:spcPts val="600"/>
              </a:spcBef>
              <a:defRPr sz="4000" spc="-30" baseline="0">
                <a:solidFill>
                  <a:srgbClr val="00264E"/>
                </a:solidFill>
              </a:defRPr>
            </a:lvl1pPr>
          </a:lstStyle>
          <a:p>
            <a:r>
              <a:rPr lang="en-US" noProof="0" dirty="0"/>
              <a:t>Click to add text</a:t>
            </a:r>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2929412"/>
            <a:ext cx="7273925" cy="1491342"/>
          </a:xfrm>
        </p:spPr>
        <p:txBody>
          <a:bodyPr/>
          <a:lstStyle>
            <a:lvl1pPr marL="0" indent="0">
              <a:lnSpc>
                <a:spcPct val="90000"/>
              </a:lnSpc>
              <a:spcBef>
                <a:spcPts val="600"/>
              </a:spcBef>
              <a:buNone/>
              <a:defRPr spc="-30" baseline="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 name="Date Placeholder 19">
            <a:extLst>
              <a:ext uri="{FF2B5EF4-FFF2-40B4-BE49-F238E27FC236}">
                <a16:creationId xmlns:a16="http://schemas.microsoft.com/office/drawing/2014/main" id="{6A7810FF-621B-4228-5AFF-DC925E3BA264}"/>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13084789-1CA4-E78A-913D-B25F7931B7A4}"/>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 name="Graphic 21">
            <a:extLst>
              <a:ext uri="{FF2B5EF4-FFF2-40B4-BE49-F238E27FC236}">
                <a16:creationId xmlns:a16="http://schemas.microsoft.com/office/drawing/2014/main" id="{19EADFFA-DBB0-B3E2-C9F4-07CF2561E735}"/>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endParaRPr lang="en-US" dirty="0">
              <a:solidFill>
                <a:srgbClr val="00264E"/>
              </a:solidFill>
            </a:endParaRPr>
          </a:p>
        </p:txBody>
      </p:sp>
      <p:sp>
        <p:nvSpPr>
          <p:cNvPr id="6" name="Footer Placeholder 5">
            <a:extLst>
              <a:ext uri="{FF2B5EF4-FFF2-40B4-BE49-F238E27FC236}">
                <a16:creationId xmlns:a16="http://schemas.microsoft.com/office/drawing/2014/main" id="{27505E00-04B1-D11A-537E-F61BCFC81D35}"/>
              </a:ext>
            </a:extLst>
          </p:cNvPr>
          <p:cNvSpPr>
            <a:spLocks noGrp="1"/>
          </p:cNvSpPr>
          <p:nvPr>
            <p:ph type="ftr" sz="quarter" idx="16"/>
          </p:nvPr>
        </p:nvSpPr>
        <p:spPr/>
        <p:txBody>
          <a:bodyPr/>
          <a:lstStyle/>
          <a:p>
            <a:endParaRPr lang="en-GB"/>
          </a:p>
        </p:txBody>
      </p:sp>
    </p:spTree>
    <p:extLst>
      <p:ext uri="{BB962C8B-B14F-4D97-AF65-F5344CB8AC3E}">
        <p14:creationId xmlns:p14="http://schemas.microsoft.com/office/powerpoint/2010/main" val="4084814308"/>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3C1BABE-8407-C2F4-68A8-2C5D50964104}"/>
              </a:ext>
            </a:extLst>
          </p:cNvPr>
          <p:cNvSpPr>
            <a:spLocks/>
          </p:cNvSpPr>
          <p:nvPr userDrawn="1"/>
        </p:nvSpPr>
        <p:spPr>
          <a:xfrm>
            <a:off x="0" y="0"/>
            <a:ext cx="12192000" cy="6858000"/>
          </a:xfrm>
          <a:prstGeom prst="rect">
            <a:avLst/>
          </a:prstGeom>
          <a:solidFill>
            <a:schemeClr val="bg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16" name="Rectangle 15">
            <a:extLst>
              <a:ext uri="{FF2B5EF4-FFF2-40B4-BE49-F238E27FC236}">
                <a16:creationId xmlns:a16="http://schemas.microsoft.com/office/drawing/2014/main" id="{A3362375-3EA6-B3A0-0123-191371802ABF}"/>
              </a:ext>
            </a:extLst>
          </p:cNvPr>
          <p:cNvSpPr>
            <a:spLocks/>
          </p:cNvSpPr>
          <p:nvPr userDrawn="1"/>
        </p:nvSpPr>
        <p:spPr>
          <a:xfrm>
            <a:off x="442911" y="3202702"/>
            <a:ext cx="11306178" cy="1074140"/>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The following layouts are for end slides.</a:t>
            </a: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Do not use this slide)</a:t>
            </a:r>
            <a:endParaRPr kumimoji="0" lang="en-US" sz="11500" b="0" i="0" u="none" strike="noStrike" kern="1200" cap="none" spc="-30" normalizeH="0" baseline="0" noProof="0" dirty="0">
              <a:ln>
                <a:noFill/>
              </a:ln>
              <a:solidFill>
                <a:srgbClr val="00264E"/>
              </a:solidFill>
              <a:effectLst/>
              <a:uLnTx/>
              <a:uFillTx/>
              <a:latin typeface="Work Sans Medium" pitchFamily="2" charset="0"/>
              <a:ea typeface="+mn-ea"/>
              <a:cs typeface="+mn-cs"/>
            </a:endParaRPr>
          </a:p>
        </p:txBody>
      </p:sp>
      <p:sp>
        <p:nvSpPr>
          <p:cNvPr id="17" name="Rectangle 16">
            <a:extLst>
              <a:ext uri="{FF2B5EF4-FFF2-40B4-BE49-F238E27FC236}">
                <a16:creationId xmlns:a16="http://schemas.microsoft.com/office/drawing/2014/main" id="{C38E7042-8B92-289F-5E79-FEE05EBE518F}"/>
              </a:ext>
            </a:extLst>
          </p:cNvPr>
          <p:cNvSpPr>
            <a:spLocks/>
          </p:cNvSpPr>
          <p:nvPr userDrawn="1"/>
        </p:nvSpPr>
        <p:spPr>
          <a:xfrm>
            <a:off x="3666174" y="2202881"/>
            <a:ext cx="4859664" cy="914096"/>
          </a:xfrm>
          <a:prstGeom prst="rect">
            <a:avLst/>
          </a:prstGeom>
          <a:noFill/>
          <a:ln w="9525" cap="flat">
            <a:noFill/>
            <a:prstDash val="solid"/>
            <a:miter/>
          </a:ln>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6600" b="0" i="0" u="none" strike="noStrike" kern="1200" cap="none" spc="-30" normalizeH="0" baseline="0" noProof="0" dirty="0">
                <a:ln>
                  <a:noFill/>
                </a:ln>
                <a:solidFill>
                  <a:srgbClr val="00264E"/>
                </a:solidFill>
                <a:effectLst/>
                <a:uLnTx/>
                <a:uFillTx/>
                <a:latin typeface="Work Sans Medium" pitchFamily="2" charset="0"/>
                <a:ea typeface="+mn-ea"/>
                <a:cs typeface="+mn-cs"/>
              </a:rPr>
              <a:t>End layouts</a:t>
            </a:r>
          </a:p>
        </p:txBody>
      </p:sp>
    </p:spTree>
    <p:extLst>
      <p:ext uri="{BB962C8B-B14F-4D97-AF65-F5344CB8AC3E}">
        <p14:creationId xmlns:p14="http://schemas.microsoft.com/office/powerpoint/2010/main" val="423104585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End layout">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E2F12AE-23AE-B4A3-96E4-CE04655F87FC}"/>
              </a:ext>
            </a:extLst>
          </p:cNvPr>
          <p:cNvGraphicFramePr>
            <a:graphicFrameLocks noChangeAspect="1"/>
          </p:cNvGraphicFramePr>
          <p:nvPr userDrawn="1">
            <p:custDataLst>
              <p:tags r:id="rId1"/>
            </p:custDataLst>
            <p:extLst>
              <p:ext uri="{D42A27DB-BD31-4B8C-83A1-F6EECF244321}">
                <p14:modId xmlns:p14="http://schemas.microsoft.com/office/powerpoint/2010/main" val="421668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think-cell data - do not delete" hidden="1">
                        <a:extLst>
                          <a:ext uri="{FF2B5EF4-FFF2-40B4-BE49-F238E27FC236}">
                            <a16:creationId xmlns:a16="http://schemas.microsoft.com/office/drawing/2014/main" id="{EE2F12AE-23AE-B4A3-96E4-CE04655F87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86768166-8533-DF7E-0F24-2CECBFC13282}"/>
              </a:ext>
            </a:extLst>
          </p:cNvPr>
          <p:cNvSpPr txBox="1">
            <a:spLocks/>
          </p:cNvSpPr>
          <p:nvPr userDrawn="1"/>
        </p:nvSpPr>
        <p:spPr>
          <a:xfrm>
            <a:off x="442913" y="3466703"/>
            <a:ext cx="11306175" cy="775597"/>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kern="1200" spc="-30" baseline="0">
                <a:solidFill>
                  <a:schemeClr val="accent1"/>
                </a:solidFill>
                <a:latin typeface="+mj-lt"/>
                <a:ea typeface="+mj-ea"/>
                <a:cs typeface="+mj-cs"/>
              </a:defRPr>
            </a:lvl1pPr>
          </a:lstStyle>
          <a:p>
            <a:pPr algn="ctr">
              <a:lnSpc>
                <a:spcPct val="100000"/>
              </a:lnSpc>
              <a:spcBef>
                <a:spcPts val="1200"/>
              </a:spcBef>
            </a:pPr>
            <a:r>
              <a:rPr lang="en-US" sz="2800" dirty="0">
                <a:solidFill>
                  <a:srgbClr val="00264E"/>
                </a:solidFill>
                <a:latin typeface="+mn-lt"/>
              </a:rPr>
              <a:t>Everything we do is about</a:t>
            </a:r>
            <a:br>
              <a:rPr lang="en-US" dirty="0">
                <a:solidFill>
                  <a:srgbClr val="00264E"/>
                </a:solidFill>
              </a:rPr>
            </a:br>
            <a:r>
              <a:rPr lang="en-US" sz="4400" b="1" i="1" dirty="0">
                <a:solidFill>
                  <a:srgbClr val="00264E"/>
                </a:solidFill>
                <a:latin typeface="Playfair Display Black" pitchFamily="2" charset="77"/>
              </a:rPr>
              <a:t>Making Better Happen</a:t>
            </a:r>
            <a:r>
              <a:rPr lang="en-US" sz="4000" i="1" baseline="30000" dirty="0">
                <a:solidFill>
                  <a:srgbClr val="00264E"/>
                </a:solidFill>
                <a:latin typeface="Work Sans" pitchFamily="2" charset="77"/>
              </a:rPr>
              <a:t>TM</a:t>
            </a:r>
            <a:br>
              <a:rPr lang="en-US" dirty="0">
                <a:solidFill>
                  <a:srgbClr val="00264E"/>
                </a:solidFill>
              </a:rPr>
            </a:br>
            <a:endParaRPr lang="en-US" sz="2400" dirty="0">
              <a:solidFill>
                <a:srgbClr val="00264E"/>
              </a:solidFill>
            </a:endParaRPr>
          </a:p>
        </p:txBody>
      </p:sp>
      <p:pic>
        <p:nvPicPr>
          <p:cNvPr id="4" name="Picture 83" descr="A group of yellow flowers&#10;&#10;Description automatically generated with medium confidence">
            <a:extLst>
              <a:ext uri="{FF2B5EF4-FFF2-40B4-BE49-F238E27FC236}">
                <a16:creationId xmlns:a16="http://schemas.microsoft.com/office/drawing/2014/main" id="{6B831837-1A8D-0721-079D-8F0BEB749494}"/>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flipH="1">
            <a:off x="9678382" y="4124989"/>
            <a:ext cx="2362814" cy="1528295"/>
          </a:xfrm>
          <a:prstGeom prst="rect">
            <a:avLst/>
          </a:prstGeom>
        </p:spPr>
      </p:pic>
      <p:pic>
        <p:nvPicPr>
          <p:cNvPr id="5" name="Bildobjekt 5">
            <a:extLst>
              <a:ext uri="{FF2B5EF4-FFF2-40B4-BE49-F238E27FC236}">
                <a16:creationId xmlns:a16="http://schemas.microsoft.com/office/drawing/2014/main" id="{08D098EF-F67A-A9FE-4629-BE612C3DCF81}"/>
              </a:ext>
            </a:extLst>
          </p:cNvPr>
          <p:cNvPicPr>
            <a:picLocks noChangeAspect="1"/>
          </p:cNvPicPr>
          <p:nvPr userDrawn="1"/>
        </p:nvPicPr>
        <p:blipFill>
          <a:blip r:embed="rId6"/>
          <a:stretch>
            <a:fillRect/>
          </a:stretch>
        </p:blipFill>
        <p:spPr>
          <a:xfrm>
            <a:off x="1591388" y="4507598"/>
            <a:ext cx="2705404" cy="2205757"/>
          </a:xfrm>
          <a:prstGeom prst="rect">
            <a:avLst/>
          </a:prstGeom>
        </p:spPr>
      </p:pic>
      <p:pic>
        <p:nvPicPr>
          <p:cNvPr id="6" name="Picture 87" descr="A picture containing diagram&#10;&#10;Description automatically generated">
            <a:extLst>
              <a:ext uri="{FF2B5EF4-FFF2-40B4-BE49-F238E27FC236}">
                <a16:creationId xmlns:a16="http://schemas.microsoft.com/office/drawing/2014/main" id="{A222E8EE-D703-C2AA-BCDF-4C4AA07EFF4D}"/>
              </a:ext>
            </a:extLst>
          </p:cNvPr>
          <p:cNvPicPr>
            <a:picLocks noChangeAspect="1"/>
          </p:cNvPicPr>
          <p:nvPr userDrawn="1"/>
        </p:nvPicPr>
        <p:blipFill>
          <a:blip r:embed="rId7" cstate="hqprint">
            <a:extLst>
              <a:ext uri="{28A0092B-C50C-407E-A947-70E740481C1C}">
                <a14:useLocalDpi xmlns:a14="http://schemas.microsoft.com/office/drawing/2010/main"/>
              </a:ext>
            </a:extLst>
          </a:blip>
          <a:srcRect l="68451" t="12540" r="17334" b="79103"/>
          <a:stretch/>
        </p:blipFill>
        <p:spPr>
          <a:xfrm rot="502737">
            <a:off x="1927664" y="1474544"/>
            <a:ext cx="1843204" cy="689953"/>
          </a:xfrm>
          <a:prstGeom prst="rect">
            <a:avLst/>
          </a:prstGeom>
        </p:spPr>
      </p:pic>
      <p:pic>
        <p:nvPicPr>
          <p:cNvPr id="7" name="Bildobjekt 9">
            <a:extLst>
              <a:ext uri="{FF2B5EF4-FFF2-40B4-BE49-F238E27FC236}">
                <a16:creationId xmlns:a16="http://schemas.microsoft.com/office/drawing/2014/main" id="{C473EF3C-903F-D38C-22A6-DCAE28A0A654}"/>
              </a:ext>
            </a:extLst>
          </p:cNvPr>
          <p:cNvPicPr>
            <a:picLocks noChangeAspect="1"/>
          </p:cNvPicPr>
          <p:nvPr userDrawn="1"/>
        </p:nvPicPr>
        <p:blipFill>
          <a:blip r:embed="rId8"/>
          <a:srcRect r="329" b="83895"/>
          <a:stretch/>
        </p:blipFill>
        <p:spPr>
          <a:xfrm flipH="1">
            <a:off x="0" y="5121494"/>
            <a:ext cx="12192000" cy="1736506"/>
          </a:xfrm>
          <a:prstGeom prst="rect">
            <a:avLst/>
          </a:prstGeom>
        </p:spPr>
      </p:pic>
      <p:pic>
        <p:nvPicPr>
          <p:cNvPr id="8" name="Picture 87" descr="A picture containing diagram&#10;&#10;Description automatically generated">
            <a:extLst>
              <a:ext uri="{FF2B5EF4-FFF2-40B4-BE49-F238E27FC236}">
                <a16:creationId xmlns:a16="http://schemas.microsoft.com/office/drawing/2014/main" id="{AEE54984-D74D-50E7-7EBC-4B487271E173}"/>
              </a:ext>
            </a:extLst>
          </p:cNvPr>
          <p:cNvPicPr>
            <a:picLocks noChangeAspect="1"/>
          </p:cNvPicPr>
          <p:nvPr userDrawn="1"/>
        </p:nvPicPr>
        <p:blipFill>
          <a:blip r:embed="rId7" cstate="hqprint">
            <a:extLst>
              <a:ext uri="{28A0092B-C50C-407E-A947-70E740481C1C}">
                <a14:useLocalDpi xmlns:a14="http://schemas.microsoft.com/office/drawing/2010/main"/>
              </a:ext>
            </a:extLst>
          </a:blip>
          <a:srcRect l="61642" r="27580" b="86470"/>
          <a:stretch/>
        </p:blipFill>
        <p:spPr>
          <a:xfrm>
            <a:off x="8411283" y="885919"/>
            <a:ext cx="1487188" cy="1188776"/>
          </a:xfrm>
          <a:prstGeom prst="rect">
            <a:avLst/>
          </a:prstGeom>
        </p:spPr>
      </p:pic>
      <p:pic>
        <p:nvPicPr>
          <p:cNvPr id="9" name="Picture 87" descr="A picture containing diagram&#10;&#10;Description automatically generated">
            <a:extLst>
              <a:ext uri="{FF2B5EF4-FFF2-40B4-BE49-F238E27FC236}">
                <a16:creationId xmlns:a16="http://schemas.microsoft.com/office/drawing/2014/main" id="{E8377462-E7E2-EA71-FFD0-1A9E8612E645}"/>
              </a:ext>
            </a:extLst>
          </p:cNvPr>
          <p:cNvPicPr>
            <a:picLocks noChangeAspect="1"/>
          </p:cNvPicPr>
          <p:nvPr userDrawn="1"/>
        </p:nvPicPr>
        <p:blipFill>
          <a:blip r:embed="rId7" cstate="hqprint">
            <a:extLst>
              <a:ext uri="{28A0092B-C50C-407E-A947-70E740481C1C}">
                <a14:useLocalDpi xmlns:a14="http://schemas.microsoft.com/office/drawing/2010/main"/>
              </a:ext>
            </a:extLst>
          </a:blip>
          <a:srcRect l="68451" t="12540" r="17334" b="79103"/>
          <a:stretch/>
        </p:blipFill>
        <p:spPr>
          <a:xfrm>
            <a:off x="8503316" y="1458027"/>
            <a:ext cx="1961589" cy="734267"/>
          </a:xfrm>
          <a:prstGeom prst="rect">
            <a:avLst/>
          </a:prstGeom>
        </p:spPr>
      </p:pic>
      <p:sp>
        <p:nvSpPr>
          <p:cNvPr id="13" name="Date Placeholder 19">
            <a:extLst>
              <a:ext uri="{FF2B5EF4-FFF2-40B4-BE49-F238E27FC236}">
                <a16:creationId xmlns:a16="http://schemas.microsoft.com/office/drawing/2014/main" id="{E461A9C4-4F3D-66A3-519B-8E828AAC01EA}"/>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14" name="Slide Number Placeholder 20">
            <a:extLst>
              <a:ext uri="{FF2B5EF4-FFF2-40B4-BE49-F238E27FC236}">
                <a16:creationId xmlns:a16="http://schemas.microsoft.com/office/drawing/2014/main" id="{0C65DAA5-6C6F-F21B-0D1E-2698AE5BAB2F}"/>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15" name="Graphic 21">
            <a:extLst>
              <a:ext uri="{FF2B5EF4-FFF2-40B4-BE49-F238E27FC236}">
                <a16:creationId xmlns:a16="http://schemas.microsoft.com/office/drawing/2014/main" id="{7F06C29D-E22F-1325-C1EA-C3F22D47E304}"/>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Work Sans Light"/>
              <a:ea typeface="+mn-ea"/>
              <a:cs typeface="+mn-cs"/>
            </a:endParaRPr>
          </a:p>
        </p:txBody>
      </p:sp>
      <p:sp>
        <p:nvSpPr>
          <p:cNvPr id="3" name="Footer Placeholder 2">
            <a:extLst>
              <a:ext uri="{FF2B5EF4-FFF2-40B4-BE49-F238E27FC236}">
                <a16:creationId xmlns:a16="http://schemas.microsoft.com/office/drawing/2014/main" id="{4C57235B-7AA0-5E00-A88A-C3D37838FDEB}"/>
              </a:ext>
            </a:extLst>
          </p:cNvPr>
          <p:cNvSpPr>
            <a:spLocks noGrp="1"/>
          </p:cNvSpPr>
          <p:nvPr>
            <p:ph type="ftr" sz="quarter" idx="10"/>
          </p:nvPr>
        </p:nvSpPr>
        <p:spPr/>
        <p:txBody>
          <a:bodyPr/>
          <a:lstStyle/>
          <a:p>
            <a:endParaRPr lang="en-GB"/>
          </a:p>
        </p:txBody>
      </p:sp>
    </p:spTree>
    <p:extLst>
      <p:ext uri="{BB962C8B-B14F-4D97-AF65-F5344CB8AC3E}">
        <p14:creationId xmlns:p14="http://schemas.microsoft.com/office/powerpoint/2010/main" val="269852129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End layout">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E2F12AE-23AE-B4A3-96E4-CE04655F87FC}"/>
              </a:ext>
            </a:extLst>
          </p:cNvPr>
          <p:cNvGraphicFramePr>
            <a:graphicFrameLocks noChangeAspect="1"/>
          </p:cNvGraphicFramePr>
          <p:nvPr userDrawn="1">
            <p:custDataLst>
              <p:tags r:id="rId1"/>
            </p:custDataLst>
            <p:extLst>
              <p:ext uri="{D42A27DB-BD31-4B8C-83A1-F6EECF244321}">
                <p14:modId xmlns:p14="http://schemas.microsoft.com/office/powerpoint/2010/main" val="421668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think-cell data - do not delete" hidden="1">
                        <a:extLst>
                          <a:ext uri="{FF2B5EF4-FFF2-40B4-BE49-F238E27FC236}">
                            <a16:creationId xmlns:a16="http://schemas.microsoft.com/office/drawing/2014/main" id="{EE2F12AE-23AE-B4A3-96E4-CE04655F87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86768166-8533-DF7E-0F24-2CECBFC13282}"/>
              </a:ext>
            </a:extLst>
          </p:cNvPr>
          <p:cNvSpPr txBox="1">
            <a:spLocks/>
          </p:cNvSpPr>
          <p:nvPr userDrawn="1"/>
        </p:nvSpPr>
        <p:spPr>
          <a:xfrm>
            <a:off x="442913" y="3466703"/>
            <a:ext cx="11306175" cy="775597"/>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kern="1200" spc="-30" baseline="0">
                <a:solidFill>
                  <a:schemeClr val="accent1"/>
                </a:solidFill>
                <a:latin typeface="+mj-lt"/>
                <a:ea typeface="+mj-ea"/>
                <a:cs typeface="+mj-cs"/>
              </a:defRPr>
            </a:lvl1pPr>
          </a:lstStyle>
          <a:p>
            <a:pPr algn="ctr">
              <a:lnSpc>
                <a:spcPct val="100000"/>
              </a:lnSpc>
              <a:spcBef>
                <a:spcPts val="1200"/>
              </a:spcBef>
            </a:pPr>
            <a:r>
              <a:rPr lang="en-US" sz="2800" dirty="0">
                <a:solidFill>
                  <a:srgbClr val="00264E"/>
                </a:solidFill>
                <a:latin typeface="+mn-lt"/>
              </a:rPr>
              <a:t>Everything we do is about</a:t>
            </a:r>
            <a:br>
              <a:rPr lang="en-US" dirty="0">
                <a:solidFill>
                  <a:srgbClr val="00264E"/>
                </a:solidFill>
              </a:rPr>
            </a:br>
            <a:r>
              <a:rPr lang="en-US" sz="4400" b="1" i="1" dirty="0">
                <a:solidFill>
                  <a:srgbClr val="00264E"/>
                </a:solidFill>
                <a:latin typeface="Playfair Display Black" pitchFamily="2" charset="77"/>
              </a:rPr>
              <a:t>Making Better Happen</a:t>
            </a:r>
            <a:r>
              <a:rPr lang="en-US" sz="4000" i="1" baseline="30000" dirty="0">
                <a:solidFill>
                  <a:srgbClr val="00264E"/>
                </a:solidFill>
                <a:latin typeface="Work Sans" pitchFamily="2" charset="77"/>
              </a:rPr>
              <a:t>TM</a:t>
            </a:r>
            <a:br>
              <a:rPr lang="en-US" dirty="0">
                <a:solidFill>
                  <a:srgbClr val="00264E"/>
                </a:solidFill>
              </a:rPr>
            </a:br>
            <a:endParaRPr lang="en-US" sz="2400" dirty="0">
              <a:solidFill>
                <a:srgbClr val="00264E"/>
              </a:solidFill>
            </a:endParaRPr>
          </a:p>
        </p:txBody>
      </p:sp>
      <p:sp>
        <p:nvSpPr>
          <p:cNvPr id="13" name="Date Placeholder 19">
            <a:extLst>
              <a:ext uri="{FF2B5EF4-FFF2-40B4-BE49-F238E27FC236}">
                <a16:creationId xmlns:a16="http://schemas.microsoft.com/office/drawing/2014/main" id="{E461A9C4-4F3D-66A3-519B-8E828AAC01EA}"/>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14" name="Slide Number Placeholder 20">
            <a:extLst>
              <a:ext uri="{FF2B5EF4-FFF2-40B4-BE49-F238E27FC236}">
                <a16:creationId xmlns:a16="http://schemas.microsoft.com/office/drawing/2014/main" id="{0C65DAA5-6C6F-F21B-0D1E-2698AE5BAB2F}"/>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15" name="Graphic 21">
            <a:extLst>
              <a:ext uri="{FF2B5EF4-FFF2-40B4-BE49-F238E27FC236}">
                <a16:creationId xmlns:a16="http://schemas.microsoft.com/office/drawing/2014/main" id="{7F06C29D-E22F-1325-C1EA-C3F22D47E304}"/>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Work Sans Light"/>
              <a:ea typeface="+mn-ea"/>
              <a:cs typeface="+mn-cs"/>
            </a:endParaRPr>
          </a:p>
        </p:txBody>
      </p:sp>
      <p:sp>
        <p:nvSpPr>
          <p:cNvPr id="3" name="Footer Placeholder 2">
            <a:extLst>
              <a:ext uri="{FF2B5EF4-FFF2-40B4-BE49-F238E27FC236}">
                <a16:creationId xmlns:a16="http://schemas.microsoft.com/office/drawing/2014/main" id="{FFA7242A-9C9E-5B87-E583-639B9C1FC8E4}"/>
              </a:ext>
            </a:extLst>
          </p:cNvPr>
          <p:cNvSpPr>
            <a:spLocks noGrp="1"/>
          </p:cNvSpPr>
          <p:nvPr>
            <p:ph type="ftr" sz="quarter" idx="10"/>
          </p:nvPr>
        </p:nvSpPr>
        <p:spPr/>
        <p:txBody>
          <a:bodyPr/>
          <a:lstStyle/>
          <a:p>
            <a:endParaRPr lang="en-GB"/>
          </a:p>
        </p:txBody>
      </p:sp>
    </p:spTree>
    <p:extLst>
      <p:ext uri="{BB962C8B-B14F-4D97-AF65-F5344CB8AC3E}">
        <p14:creationId xmlns:p14="http://schemas.microsoft.com/office/powerpoint/2010/main" val="51663786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End layout with contact details">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E2F12AE-23AE-B4A3-96E4-CE04655F87FC}"/>
              </a:ext>
            </a:extLst>
          </p:cNvPr>
          <p:cNvGraphicFramePr>
            <a:graphicFrameLocks noChangeAspect="1"/>
          </p:cNvGraphicFramePr>
          <p:nvPr userDrawn="1">
            <p:custDataLst>
              <p:tags r:id="rId1"/>
            </p:custDataLst>
            <p:extLst>
              <p:ext uri="{D42A27DB-BD31-4B8C-83A1-F6EECF244321}">
                <p14:modId xmlns:p14="http://schemas.microsoft.com/office/powerpoint/2010/main" val="421668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think-cell data - do not delete" hidden="1">
                        <a:extLst>
                          <a:ext uri="{FF2B5EF4-FFF2-40B4-BE49-F238E27FC236}">
                            <a16:creationId xmlns:a16="http://schemas.microsoft.com/office/drawing/2014/main" id="{EE2F12AE-23AE-B4A3-96E4-CE04655F87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86768166-8533-DF7E-0F24-2CECBFC13282}"/>
              </a:ext>
            </a:extLst>
          </p:cNvPr>
          <p:cNvSpPr txBox="1">
            <a:spLocks/>
          </p:cNvSpPr>
          <p:nvPr userDrawn="1"/>
        </p:nvSpPr>
        <p:spPr>
          <a:xfrm>
            <a:off x="442913" y="3466703"/>
            <a:ext cx="11306175" cy="775597"/>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kern="1200" spc="-30" baseline="0">
                <a:solidFill>
                  <a:schemeClr val="accent1"/>
                </a:solidFill>
                <a:latin typeface="+mj-lt"/>
                <a:ea typeface="+mj-ea"/>
                <a:cs typeface="+mj-cs"/>
              </a:defRPr>
            </a:lvl1pPr>
          </a:lstStyle>
          <a:p>
            <a:pPr algn="ctr">
              <a:lnSpc>
                <a:spcPct val="100000"/>
              </a:lnSpc>
              <a:spcBef>
                <a:spcPts val="1200"/>
              </a:spcBef>
            </a:pPr>
            <a:r>
              <a:rPr lang="en-US" sz="2800" dirty="0">
                <a:solidFill>
                  <a:srgbClr val="00264E"/>
                </a:solidFill>
                <a:latin typeface="+mn-lt"/>
              </a:rPr>
              <a:t>Everything we do is about</a:t>
            </a:r>
            <a:br>
              <a:rPr lang="en-US" dirty="0">
                <a:solidFill>
                  <a:srgbClr val="00264E"/>
                </a:solidFill>
              </a:rPr>
            </a:br>
            <a:r>
              <a:rPr lang="en-US" sz="4400" b="1" i="1" dirty="0">
                <a:solidFill>
                  <a:srgbClr val="00264E"/>
                </a:solidFill>
                <a:latin typeface="Playfair Display Black" pitchFamily="2" charset="77"/>
              </a:rPr>
              <a:t>Making Better Happen</a:t>
            </a:r>
            <a:r>
              <a:rPr lang="en-US" sz="4000" i="1" baseline="30000" dirty="0">
                <a:solidFill>
                  <a:srgbClr val="00264E"/>
                </a:solidFill>
                <a:latin typeface="Work Sans" pitchFamily="2" charset="77"/>
              </a:rPr>
              <a:t>TM</a:t>
            </a:r>
            <a:br>
              <a:rPr lang="en-US" dirty="0">
                <a:solidFill>
                  <a:srgbClr val="00264E"/>
                </a:solidFill>
              </a:rPr>
            </a:br>
            <a:endParaRPr lang="en-US" sz="2400" dirty="0">
              <a:solidFill>
                <a:srgbClr val="00264E"/>
              </a:solidFill>
            </a:endParaRPr>
          </a:p>
        </p:txBody>
      </p:sp>
      <p:sp>
        <p:nvSpPr>
          <p:cNvPr id="13" name="Date Placeholder 19">
            <a:extLst>
              <a:ext uri="{FF2B5EF4-FFF2-40B4-BE49-F238E27FC236}">
                <a16:creationId xmlns:a16="http://schemas.microsoft.com/office/drawing/2014/main" id="{E461A9C4-4F3D-66A3-519B-8E828AAC01EA}"/>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14" name="Slide Number Placeholder 20">
            <a:extLst>
              <a:ext uri="{FF2B5EF4-FFF2-40B4-BE49-F238E27FC236}">
                <a16:creationId xmlns:a16="http://schemas.microsoft.com/office/drawing/2014/main" id="{0C65DAA5-6C6F-F21B-0D1E-2698AE5BAB2F}"/>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15" name="Graphic 21">
            <a:extLst>
              <a:ext uri="{FF2B5EF4-FFF2-40B4-BE49-F238E27FC236}">
                <a16:creationId xmlns:a16="http://schemas.microsoft.com/office/drawing/2014/main" id="{7F06C29D-E22F-1325-C1EA-C3F22D47E304}"/>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Work Sans Light"/>
              <a:ea typeface="+mn-ea"/>
              <a:cs typeface="+mn-cs"/>
            </a:endParaRPr>
          </a:p>
        </p:txBody>
      </p:sp>
      <p:sp>
        <p:nvSpPr>
          <p:cNvPr id="4" name="Text Placeholder 3">
            <a:extLst>
              <a:ext uri="{FF2B5EF4-FFF2-40B4-BE49-F238E27FC236}">
                <a16:creationId xmlns:a16="http://schemas.microsoft.com/office/drawing/2014/main" id="{7B4421C9-E764-1389-FE77-445B2CC9EC49}"/>
              </a:ext>
            </a:extLst>
          </p:cNvPr>
          <p:cNvSpPr>
            <a:spLocks noGrp="1"/>
          </p:cNvSpPr>
          <p:nvPr>
            <p:ph type="body" sz="quarter" idx="10" hasCustomPrompt="1"/>
          </p:nvPr>
        </p:nvSpPr>
        <p:spPr>
          <a:xfrm>
            <a:off x="3617118" y="4715649"/>
            <a:ext cx="4957763" cy="659091"/>
          </a:xfrm>
        </p:spPr>
        <p:txBody>
          <a:bodyPr/>
          <a:lstStyle>
            <a:lvl1pPr marL="0" indent="0" algn="ctr">
              <a:buNone/>
              <a:defRPr sz="1400"/>
            </a:lvl1pPr>
            <a:lvl5pPr>
              <a:defRPr/>
            </a:lvl5pPr>
          </a:lstStyle>
          <a:p>
            <a:pPr lvl="0"/>
            <a:r>
              <a:rPr lang="en-US" dirty="0"/>
              <a:t>Add name and contact details</a:t>
            </a:r>
            <a:endParaRPr lang="en-GB" dirty="0"/>
          </a:p>
        </p:txBody>
      </p:sp>
      <p:sp>
        <p:nvSpPr>
          <p:cNvPr id="5" name="TextBox 4">
            <a:extLst>
              <a:ext uri="{FF2B5EF4-FFF2-40B4-BE49-F238E27FC236}">
                <a16:creationId xmlns:a16="http://schemas.microsoft.com/office/drawing/2014/main" id="{81DE6DCA-714B-91B4-7E4E-D7E3A5353DF7}"/>
              </a:ext>
            </a:extLst>
          </p:cNvPr>
          <p:cNvSpPr txBox="1"/>
          <p:nvPr userDrawn="1"/>
        </p:nvSpPr>
        <p:spPr>
          <a:xfrm>
            <a:off x="4960070" y="4355864"/>
            <a:ext cx="2271860" cy="246221"/>
          </a:xfrm>
          <a:prstGeom prst="rect">
            <a:avLst/>
          </a:prstGeom>
          <a:noFill/>
          <a:ln>
            <a:noFill/>
          </a:ln>
        </p:spPr>
        <p:txBody>
          <a:bodyPr wrap="square" lIns="0" tIns="0" rIns="0" bIns="0" rtlCol="0">
            <a:spAutoFit/>
          </a:bodyPr>
          <a:lstStyle/>
          <a:p>
            <a:pPr algn="ctr">
              <a:buClr>
                <a:schemeClr val="tx2"/>
              </a:buClr>
            </a:pPr>
            <a:r>
              <a:rPr lang="en-GB" sz="1600" spc="-30" dirty="0">
                <a:solidFill>
                  <a:schemeClr val="tx2"/>
                </a:solidFill>
                <a:latin typeface="Playfair Display Black" pitchFamily="2" charset="0"/>
              </a:rPr>
              <a:t>Contact us</a:t>
            </a:r>
          </a:p>
        </p:txBody>
      </p:sp>
      <p:sp>
        <p:nvSpPr>
          <p:cNvPr id="3" name="Footer Placeholder 2">
            <a:extLst>
              <a:ext uri="{FF2B5EF4-FFF2-40B4-BE49-F238E27FC236}">
                <a16:creationId xmlns:a16="http://schemas.microsoft.com/office/drawing/2014/main" id="{81515365-DBA6-BADF-F234-A6F1298201F1}"/>
              </a:ext>
            </a:extLst>
          </p:cNvPr>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32857498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Agenda_AAK Sky Blue">
    <p:bg>
      <p:bgPr>
        <a:solidFill>
          <a:schemeClr val="accent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0CB4B7DD-28BF-400A-9C18-DD61B9CDAD76}"/>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p>
        </p:txBody>
      </p:sp>
      <p:sp>
        <p:nvSpPr>
          <p:cNvPr id="4" name="Date Placeholder 3"/>
          <p:cNvSpPr>
            <a:spLocks noGrp="1"/>
          </p:cNvSpPr>
          <p:nvPr>
            <p:ph type="dt" sz="half" idx="10"/>
          </p:nvPr>
        </p:nvSpPr>
        <p:spPr/>
        <p:txBody>
          <a:bodyPr/>
          <a:lstStyle>
            <a:lvl1pPr>
              <a:defRPr spc="-30" baseline="0">
                <a:solidFill>
                  <a:schemeClr val="bg1"/>
                </a:solidFill>
              </a:defRPr>
            </a:lvl1pPr>
          </a:lstStyle>
          <a:p>
            <a:fld id="{49AF0F6B-BA28-4AB4-A443-34D6F07474EC}" type="datetime1">
              <a:rPr lang="en-GB" smtClean="0"/>
              <a:t>18/06/2025</a:t>
            </a:fld>
            <a:endParaRPr lang="en-US"/>
          </a:p>
        </p:txBody>
      </p:sp>
      <p:sp>
        <p:nvSpPr>
          <p:cNvPr id="6" name="Slide Number Placeholder 5"/>
          <p:cNvSpPr>
            <a:spLocks noGrp="1"/>
          </p:cNvSpPr>
          <p:nvPr>
            <p:ph type="sldNum" sz="quarter" idx="12"/>
          </p:nvPr>
        </p:nvSpPr>
        <p:spPr/>
        <p:txBody>
          <a:bodyPr/>
          <a:lstStyle>
            <a:lvl1pPr>
              <a:defRPr spc="-30" baseline="0">
                <a:solidFill>
                  <a:schemeClr val="bg1"/>
                </a:solidFill>
              </a:defRPr>
            </a:lvl1pPr>
          </a:lstStyle>
          <a:p>
            <a:fld id="{4803DD7B-12C8-43B8-9F45-989336E79744}" type="slidenum">
              <a:rPr lang="en-US" smtClean="0"/>
              <a:pPr/>
              <a:t>‹#›</a:t>
            </a:fld>
            <a:endParaRPr lang="en-US"/>
          </a:p>
        </p:txBody>
      </p:sp>
      <p:sp>
        <p:nvSpPr>
          <p:cNvPr id="9" name="Graphic 21">
            <a:extLst>
              <a:ext uri="{FF2B5EF4-FFF2-40B4-BE49-F238E27FC236}">
                <a16:creationId xmlns:a16="http://schemas.microsoft.com/office/drawing/2014/main" id="{05EB7591-792F-497E-BC19-17F9D3F0DD27}"/>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chemeClr val="bg1"/>
          </a:solidFill>
          <a:ln w="9525"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9E8E342D-8E7B-4687-9A9D-EE055EE1D4DE}"/>
              </a:ext>
            </a:extLst>
          </p:cNvPr>
          <p:cNvSpPr>
            <a:spLocks noGrp="1"/>
          </p:cNvSpPr>
          <p:nvPr>
            <p:ph type="title"/>
          </p:nvPr>
        </p:nvSpPr>
        <p:spPr>
          <a:xfrm>
            <a:off x="442914" y="221456"/>
            <a:ext cx="3600450" cy="775597"/>
          </a:xfrm>
        </p:spPr>
        <p:txBody>
          <a:bodyPr/>
          <a:lstStyle>
            <a:lvl1pPr>
              <a:defRPr>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8EE89C49-B4A2-4BF1-BBCC-7355BE13BF5B}"/>
              </a:ext>
            </a:extLst>
          </p:cNvPr>
          <p:cNvSpPr>
            <a:spLocks noGrp="1"/>
          </p:cNvSpPr>
          <p:nvPr>
            <p:ph type="body" sz="quarter" idx="15" hasCustomPrompt="1"/>
          </p:nvPr>
        </p:nvSpPr>
        <p:spPr>
          <a:xfrm>
            <a:off x="971549" y="1506165"/>
            <a:ext cx="3071813" cy="276999"/>
          </a:xfrm>
        </p:spPr>
        <p:txBody>
          <a:bodyPr>
            <a:spAutoFit/>
          </a:bodyPr>
          <a:lstStyle>
            <a:lvl1pPr marL="0" indent="0">
              <a:lnSpc>
                <a:spcPct val="90000"/>
              </a:lnSpc>
              <a:spcBef>
                <a:spcPts val="600"/>
              </a:spcBef>
              <a:spcAft>
                <a:spcPts val="0"/>
              </a:spcAft>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ext</a:t>
            </a:r>
          </a:p>
        </p:txBody>
      </p:sp>
      <p:sp>
        <p:nvSpPr>
          <p:cNvPr id="8" name="Text Placeholder 7">
            <a:extLst>
              <a:ext uri="{FF2B5EF4-FFF2-40B4-BE49-F238E27FC236}">
                <a16:creationId xmlns:a16="http://schemas.microsoft.com/office/drawing/2014/main" id="{1AD25EDE-211D-4376-A566-F21D3F510B99}"/>
              </a:ext>
            </a:extLst>
          </p:cNvPr>
          <p:cNvSpPr>
            <a:spLocks noGrp="1"/>
          </p:cNvSpPr>
          <p:nvPr>
            <p:ph type="body" sz="quarter" idx="16" hasCustomPrompt="1"/>
          </p:nvPr>
        </p:nvSpPr>
        <p:spPr>
          <a:xfrm>
            <a:off x="442913" y="1506165"/>
            <a:ext cx="376237" cy="276999"/>
          </a:xfrm>
        </p:spPr>
        <p:txBody>
          <a:bodyPr wrap="square">
            <a:spAutoFit/>
          </a:bodyPr>
          <a:lstStyle>
            <a:lvl1pPr marL="0" indent="0">
              <a:buNone/>
              <a:defRPr sz="2000">
                <a:solidFill>
                  <a:schemeClr val="bg1"/>
                </a:solidFill>
                <a:latin typeface="Work Sans Medium Roman"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a:t>#</a:t>
            </a:r>
          </a:p>
        </p:txBody>
      </p:sp>
      <p:sp>
        <p:nvSpPr>
          <p:cNvPr id="12" name="Text Placeholder 4">
            <a:extLst>
              <a:ext uri="{FF2B5EF4-FFF2-40B4-BE49-F238E27FC236}">
                <a16:creationId xmlns:a16="http://schemas.microsoft.com/office/drawing/2014/main" id="{0D516DBD-2718-44D9-8274-2F4C843197C8}"/>
              </a:ext>
            </a:extLst>
          </p:cNvPr>
          <p:cNvSpPr>
            <a:spLocks noGrp="1"/>
          </p:cNvSpPr>
          <p:nvPr>
            <p:ph type="body" sz="quarter" idx="17" hasCustomPrompt="1"/>
          </p:nvPr>
        </p:nvSpPr>
        <p:spPr>
          <a:xfrm>
            <a:off x="971549" y="2167051"/>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ext</a:t>
            </a:r>
          </a:p>
        </p:txBody>
      </p:sp>
      <p:sp>
        <p:nvSpPr>
          <p:cNvPr id="13" name="Text Placeholder 7">
            <a:extLst>
              <a:ext uri="{FF2B5EF4-FFF2-40B4-BE49-F238E27FC236}">
                <a16:creationId xmlns:a16="http://schemas.microsoft.com/office/drawing/2014/main" id="{9890DA38-E6CB-4D57-8C6E-C427FF50D001}"/>
              </a:ext>
            </a:extLst>
          </p:cNvPr>
          <p:cNvSpPr>
            <a:spLocks noGrp="1"/>
          </p:cNvSpPr>
          <p:nvPr>
            <p:ph type="body" sz="quarter" idx="18" hasCustomPrompt="1"/>
          </p:nvPr>
        </p:nvSpPr>
        <p:spPr>
          <a:xfrm>
            <a:off x="442913" y="2167051"/>
            <a:ext cx="376237" cy="276999"/>
          </a:xfrm>
        </p:spPr>
        <p:txBody>
          <a:bodyPr wrap="square">
            <a:spAutoFit/>
          </a:bodyPr>
          <a:lstStyle>
            <a:lvl1pPr marL="0" indent="0">
              <a:buNone/>
              <a:defRPr sz="2000">
                <a:solidFill>
                  <a:schemeClr val="bg1"/>
                </a:solidFill>
                <a:latin typeface="Work Sans Medium Roman"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a:t>#</a:t>
            </a:r>
          </a:p>
        </p:txBody>
      </p:sp>
      <p:sp>
        <p:nvSpPr>
          <p:cNvPr id="14" name="Text Placeholder 4">
            <a:extLst>
              <a:ext uri="{FF2B5EF4-FFF2-40B4-BE49-F238E27FC236}">
                <a16:creationId xmlns:a16="http://schemas.microsoft.com/office/drawing/2014/main" id="{72C959F8-256E-4D0D-970F-C1357A95089C}"/>
              </a:ext>
            </a:extLst>
          </p:cNvPr>
          <p:cNvSpPr>
            <a:spLocks noGrp="1"/>
          </p:cNvSpPr>
          <p:nvPr>
            <p:ph type="body" sz="quarter" idx="19" hasCustomPrompt="1"/>
          </p:nvPr>
        </p:nvSpPr>
        <p:spPr>
          <a:xfrm>
            <a:off x="971549" y="2827937"/>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ext</a:t>
            </a:r>
          </a:p>
        </p:txBody>
      </p:sp>
      <p:sp>
        <p:nvSpPr>
          <p:cNvPr id="15" name="Text Placeholder 7">
            <a:extLst>
              <a:ext uri="{FF2B5EF4-FFF2-40B4-BE49-F238E27FC236}">
                <a16:creationId xmlns:a16="http://schemas.microsoft.com/office/drawing/2014/main" id="{794C02A7-08B2-4598-B5E8-B171109646D1}"/>
              </a:ext>
            </a:extLst>
          </p:cNvPr>
          <p:cNvSpPr>
            <a:spLocks noGrp="1"/>
          </p:cNvSpPr>
          <p:nvPr>
            <p:ph type="body" sz="quarter" idx="20" hasCustomPrompt="1"/>
          </p:nvPr>
        </p:nvSpPr>
        <p:spPr>
          <a:xfrm>
            <a:off x="442913" y="2827937"/>
            <a:ext cx="376237" cy="276999"/>
          </a:xfrm>
        </p:spPr>
        <p:txBody>
          <a:bodyPr wrap="square">
            <a:spAutoFit/>
          </a:bodyPr>
          <a:lstStyle>
            <a:lvl1pPr marL="0" indent="0">
              <a:buNone/>
              <a:defRPr sz="2000">
                <a:solidFill>
                  <a:schemeClr val="bg1"/>
                </a:solidFill>
                <a:latin typeface="Work Sans Medium Roman"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a:t>#</a:t>
            </a:r>
          </a:p>
        </p:txBody>
      </p:sp>
      <p:sp>
        <p:nvSpPr>
          <p:cNvPr id="16" name="Text Placeholder 4">
            <a:extLst>
              <a:ext uri="{FF2B5EF4-FFF2-40B4-BE49-F238E27FC236}">
                <a16:creationId xmlns:a16="http://schemas.microsoft.com/office/drawing/2014/main" id="{9B618029-B736-413E-86C7-10E7A3FFC9FC}"/>
              </a:ext>
            </a:extLst>
          </p:cNvPr>
          <p:cNvSpPr>
            <a:spLocks noGrp="1"/>
          </p:cNvSpPr>
          <p:nvPr>
            <p:ph type="body" sz="quarter" idx="21" hasCustomPrompt="1"/>
          </p:nvPr>
        </p:nvSpPr>
        <p:spPr>
          <a:xfrm>
            <a:off x="971549" y="3488823"/>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ext</a:t>
            </a:r>
          </a:p>
        </p:txBody>
      </p:sp>
      <p:sp>
        <p:nvSpPr>
          <p:cNvPr id="17" name="Text Placeholder 7">
            <a:extLst>
              <a:ext uri="{FF2B5EF4-FFF2-40B4-BE49-F238E27FC236}">
                <a16:creationId xmlns:a16="http://schemas.microsoft.com/office/drawing/2014/main" id="{5AA61192-2B03-4F58-AE1E-09114F170367}"/>
              </a:ext>
            </a:extLst>
          </p:cNvPr>
          <p:cNvSpPr>
            <a:spLocks noGrp="1"/>
          </p:cNvSpPr>
          <p:nvPr>
            <p:ph type="body" sz="quarter" idx="22" hasCustomPrompt="1"/>
          </p:nvPr>
        </p:nvSpPr>
        <p:spPr>
          <a:xfrm>
            <a:off x="442913" y="3488823"/>
            <a:ext cx="376237" cy="276999"/>
          </a:xfrm>
        </p:spPr>
        <p:txBody>
          <a:bodyPr wrap="square">
            <a:spAutoFit/>
          </a:bodyPr>
          <a:lstStyle>
            <a:lvl1pPr marL="0" indent="0">
              <a:buNone/>
              <a:defRPr sz="2000">
                <a:solidFill>
                  <a:schemeClr val="bg1"/>
                </a:solidFill>
                <a:latin typeface="Work Sans Medium Roman"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a:t>#</a:t>
            </a:r>
          </a:p>
        </p:txBody>
      </p:sp>
      <p:sp>
        <p:nvSpPr>
          <p:cNvPr id="18" name="Text Placeholder 4">
            <a:extLst>
              <a:ext uri="{FF2B5EF4-FFF2-40B4-BE49-F238E27FC236}">
                <a16:creationId xmlns:a16="http://schemas.microsoft.com/office/drawing/2014/main" id="{001DC646-3B66-47D9-B508-09A2B54E7CD1}"/>
              </a:ext>
            </a:extLst>
          </p:cNvPr>
          <p:cNvSpPr>
            <a:spLocks noGrp="1"/>
          </p:cNvSpPr>
          <p:nvPr>
            <p:ph type="body" sz="quarter" idx="23" hasCustomPrompt="1"/>
          </p:nvPr>
        </p:nvSpPr>
        <p:spPr>
          <a:xfrm>
            <a:off x="971549" y="4149709"/>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ext</a:t>
            </a:r>
          </a:p>
        </p:txBody>
      </p:sp>
      <p:sp>
        <p:nvSpPr>
          <p:cNvPr id="20" name="Text Placeholder 7">
            <a:extLst>
              <a:ext uri="{FF2B5EF4-FFF2-40B4-BE49-F238E27FC236}">
                <a16:creationId xmlns:a16="http://schemas.microsoft.com/office/drawing/2014/main" id="{A1BBBFCB-34E2-4052-8268-94142CABF8F2}"/>
              </a:ext>
            </a:extLst>
          </p:cNvPr>
          <p:cNvSpPr>
            <a:spLocks noGrp="1"/>
          </p:cNvSpPr>
          <p:nvPr>
            <p:ph type="body" sz="quarter" idx="24" hasCustomPrompt="1"/>
          </p:nvPr>
        </p:nvSpPr>
        <p:spPr>
          <a:xfrm>
            <a:off x="442913" y="4149709"/>
            <a:ext cx="376237" cy="276999"/>
          </a:xfrm>
        </p:spPr>
        <p:txBody>
          <a:bodyPr wrap="square">
            <a:spAutoFit/>
          </a:bodyPr>
          <a:lstStyle>
            <a:lvl1pPr marL="0" indent="0">
              <a:buNone/>
              <a:defRPr sz="2000">
                <a:solidFill>
                  <a:schemeClr val="bg1"/>
                </a:solidFill>
                <a:latin typeface="Work Sans Medium Roman"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a:t>#</a:t>
            </a:r>
          </a:p>
        </p:txBody>
      </p:sp>
      <p:sp>
        <p:nvSpPr>
          <p:cNvPr id="21" name="Text Placeholder 4">
            <a:extLst>
              <a:ext uri="{FF2B5EF4-FFF2-40B4-BE49-F238E27FC236}">
                <a16:creationId xmlns:a16="http://schemas.microsoft.com/office/drawing/2014/main" id="{E454277E-E459-44BB-80BE-0E1F83ED667B}"/>
              </a:ext>
            </a:extLst>
          </p:cNvPr>
          <p:cNvSpPr>
            <a:spLocks noGrp="1"/>
          </p:cNvSpPr>
          <p:nvPr>
            <p:ph type="body" sz="quarter" idx="25" hasCustomPrompt="1"/>
          </p:nvPr>
        </p:nvSpPr>
        <p:spPr>
          <a:xfrm>
            <a:off x="971549" y="4810595"/>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ext</a:t>
            </a:r>
          </a:p>
        </p:txBody>
      </p:sp>
      <p:sp>
        <p:nvSpPr>
          <p:cNvPr id="22" name="Text Placeholder 7">
            <a:extLst>
              <a:ext uri="{FF2B5EF4-FFF2-40B4-BE49-F238E27FC236}">
                <a16:creationId xmlns:a16="http://schemas.microsoft.com/office/drawing/2014/main" id="{14AF7E5D-97FD-4EBA-8375-D07CDF9F49C7}"/>
              </a:ext>
            </a:extLst>
          </p:cNvPr>
          <p:cNvSpPr>
            <a:spLocks noGrp="1"/>
          </p:cNvSpPr>
          <p:nvPr>
            <p:ph type="body" sz="quarter" idx="26" hasCustomPrompt="1"/>
          </p:nvPr>
        </p:nvSpPr>
        <p:spPr>
          <a:xfrm>
            <a:off x="442913" y="4810595"/>
            <a:ext cx="376237" cy="276999"/>
          </a:xfrm>
        </p:spPr>
        <p:txBody>
          <a:bodyPr wrap="square">
            <a:spAutoFit/>
          </a:bodyPr>
          <a:lstStyle>
            <a:lvl1pPr marL="0" indent="0">
              <a:buNone/>
              <a:defRPr sz="2000">
                <a:solidFill>
                  <a:schemeClr val="bg1"/>
                </a:solidFill>
                <a:latin typeface="Work Sans Medium Roman"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a:t>#</a:t>
            </a:r>
          </a:p>
        </p:txBody>
      </p:sp>
      <p:sp>
        <p:nvSpPr>
          <p:cNvPr id="23" name="Text Placeholder 4">
            <a:extLst>
              <a:ext uri="{FF2B5EF4-FFF2-40B4-BE49-F238E27FC236}">
                <a16:creationId xmlns:a16="http://schemas.microsoft.com/office/drawing/2014/main" id="{CCE4A50A-55D9-4DC5-A643-1DC5A1522B90}"/>
              </a:ext>
            </a:extLst>
          </p:cNvPr>
          <p:cNvSpPr>
            <a:spLocks noGrp="1"/>
          </p:cNvSpPr>
          <p:nvPr>
            <p:ph type="body" sz="quarter" idx="27" hasCustomPrompt="1"/>
          </p:nvPr>
        </p:nvSpPr>
        <p:spPr>
          <a:xfrm>
            <a:off x="971549" y="5471484"/>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ext</a:t>
            </a:r>
          </a:p>
        </p:txBody>
      </p:sp>
      <p:sp>
        <p:nvSpPr>
          <p:cNvPr id="24" name="Text Placeholder 7">
            <a:extLst>
              <a:ext uri="{FF2B5EF4-FFF2-40B4-BE49-F238E27FC236}">
                <a16:creationId xmlns:a16="http://schemas.microsoft.com/office/drawing/2014/main" id="{C95057B2-70B1-4F7A-BABF-7CA1541DA2F6}"/>
              </a:ext>
            </a:extLst>
          </p:cNvPr>
          <p:cNvSpPr>
            <a:spLocks noGrp="1"/>
          </p:cNvSpPr>
          <p:nvPr>
            <p:ph type="body" sz="quarter" idx="28" hasCustomPrompt="1"/>
          </p:nvPr>
        </p:nvSpPr>
        <p:spPr>
          <a:xfrm>
            <a:off x="442913" y="5471484"/>
            <a:ext cx="376237" cy="276999"/>
          </a:xfrm>
        </p:spPr>
        <p:txBody>
          <a:bodyPr wrap="square">
            <a:spAutoFit/>
          </a:bodyPr>
          <a:lstStyle>
            <a:lvl1pPr marL="0" indent="0">
              <a:buNone/>
              <a:defRPr sz="2000">
                <a:solidFill>
                  <a:schemeClr val="bg1"/>
                </a:solidFill>
                <a:latin typeface="Work Sans Medium Roman"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a:t>#</a:t>
            </a:r>
          </a:p>
        </p:txBody>
      </p:sp>
    </p:spTree>
    <p:extLst>
      <p:ext uri="{BB962C8B-B14F-4D97-AF65-F5344CB8AC3E}">
        <p14:creationId xmlns:p14="http://schemas.microsoft.com/office/powerpoint/2010/main" val="890832620"/>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layout_Clean">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0D28EC-17F6-8468-7C96-4FB31D9FD0BA}"/>
              </a:ext>
            </a:extLst>
          </p:cNvPr>
          <p:cNvGraphicFramePr>
            <a:graphicFrameLocks noChangeAspect="1"/>
          </p:cNvGraphicFramePr>
          <p:nvPr userDrawn="1">
            <p:custDataLst>
              <p:tags r:id="rId1"/>
            </p:custDataLst>
            <p:extLst>
              <p:ext uri="{D42A27DB-BD31-4B8C-83A1-F6EECF244321}">
                <p14:modId xmlns:p14="http://schemas.microsoft.com/office/powerpoint/2010/main" val="3661027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680D28EC-17F6-8468-7C96-4FB31D9FD0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0CB4B7DD-28BF-400A-9C18-DD61B9CDAD76}"/>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rgbClr val="00264E"/>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9E8E342D-8E7B-4687-9A9D-EE055EE1D4DE}"/>
              </a:ext>
            </a:extLst>
          </p:cNvPr>
          <p:cNvSpPr>
            <a:spLocks noGrp="1"/>
          </p:cNvSpPr>
          <p:nvPr>
            <p:ph type="title"/>
          </p:nvPr>
        </p:nvSpPr>
        <p:spPr>
          <a:xfrm>
            <a:off x="442914" y="221456"/>
            <a:ext cx="3600450" cy="775597"/>
          </a:xfrm>
        </p:spPr>
        <p:txBody>
          <a:bodyPr vert="horz"/>
          <a:lstStyle>
            <a:lvl1pPr>
              <a:defRPr>
                <a:solidFill>
                  <a:schemeClr val="accent1"/>
                </a:solidFill>
                <a:latin typeface="Playfair Display Black" pitchFamily="2" charset="0"/>
              </a:defRPr>
            </a:lvl1pPr>
          </a:lstStyle>
          <a:p>
            <a:r>
              <a:rPr lang="en-US"/>
              <a:t>Click to edit Master title style</a:t>
            </a:r>
            <a:endParaRPr lang="en-US" dirty="0"/>
          </a:p>
        </p:txBody>
      </p:sp>
      <p:sp>
        <p:nvSpPr>
          <p:cNvPr id="25" name="Text Placeholder 4">
            <a:extLst>
              <a:ext uri="{FF2B5EF4-FFF2-40B4-BE49-F238E27FC236}">
                <a16:creationId xmlns:a16="http://schemas.microsoft.com/office/drawing/2014/main" id="{E31AD2CA-46F9-4311-AA53-47BE448219D7}"/>
              </a:ext>
            </a:extLst>
          </p:cNvPr>
          <p:cNvSpPr>
            <a:spLocks noGrp="1"/>
          </p:cNvSpPr>
          <p:nvPr>
            <p:ph type="body" sz="quarter" idx="15" hasCustomPrompt="1"/>
          </p:nvPr>
        </p:nvSpPr>
        <p:spPr>
          <a:xfrm>
            <a:off x="971549" y="1506165"/>
            <a:ext cx="3071813" cy="276999"/>
          </a:xfrm>
        </p:spPr>
        <p:txBody>
          <a:bodyPr>
            <a:spAutoFit/>
          </a:bodyPr>
          <a:lstStyle>
            <a:lvl1pPr marL="0" indent="0">
              <a:lnSpc>
                <a:spcPct val="90000"/>
              </a:lnSpc>
              <a:spcBef>
                <a:spcPts val="300"/>
              </a:spcBef>
              <a:spcAft>
                <a:spcPts val="0"/>
              </a:spcAft>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6" name="Text Placeholder 7">
            <a:extLst>
              <a:ext uri="{FF2B5EF4-FFF2-40B4-BE49-F238E27FC236}">
                <a16:creationId xmlns:a16="http://schemas.microsoft.com/office/drawing/2014/main" id="{B8BCD205-4358-4A14-A1B2-DAD1117A6231}"/>
              </a:ext>
            </a:extLst>
          </p:cNvPr>
          <p:cNvSpPr>
            <a:spLocks noGrp="1"/>
          </p:cNvSpPr>
          <p:nvPr>
            <p:ph type="body" sz="quarter" idx="16" hasCustomPrompt="1"/>
          </p:nvPr>
        </p:nvSpPr>
        <p:spPr>
          <a:xfrm>
            <a:off x="442913" y="1506165"/>
            <a:ext cx="376237" cy="276999"/>
          </a:xfrm>
        </p:spPr>
        <p:txBody>
          <a:bodyPr wrap="square">
            <a:spAutoFit/>
          </a:bodyPr>
          <a:lstStyle>
            <a:lvl1pPr marL="0" indent="0">
              <a:lnSpc>
                <a:spcPct val="90000"/>
              </a:lnSpc>
              <a:buNone/>
              <a:defRPr sz="2000">
                <a:solidFill>
                  <a:schemeClr val="accent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7" name="Text Placeholder 4">
            <a:extLst>
              <a:ext uri="{FF2B5EF4-FFF2-40B4-BE49-F238E27FC236}">
                <a16:creationId xmlns:a16="http://schemas.microsoft.com/office/drawing/2014/main" id="{24810E7C-D454-40CD-A438-8FCAE2A37117}"/>
              </a:ext>
            </a:extLst>
          </p:cNvPr>
          <p:cNvSpPr>
            <a:spLocks noGrp="1"/>
          </p:cNvSpPr>
          <p:nvPr>
            <p:ph type="body" sz="quarter" idx="17" hasCustomPrompt="1"/>
          </p:nvPr>
        </p:nvSpPr>
        <p:spPr>
          <a:xfrm>
            <a:off x="971549" y="2167051"/>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8" name="Text Placeholder 7">
            <a:extLst>
              <a:ext uri="{FF2B5EF4-FFF2-40B4-BE49-F238E27FC236}">
                <a16:creationId xmlns:a16="http://schemas.microsoft.com/office/drawing/2014/main" id="{2D374567-1F32-4E3B-9E67-17A12530E8E8}"/>
              </a:ext>
            </a:extLst>
          </p:cNvPr>
          <p:cNvSpPr>
            <a:spLocks noGrp="1"/>
          </p:cNvSpPr>
          <p:nvPr>
            <p:ph type="body" sz="quarter" idx="18" hasCustomPrompt="1"/>
          </p:nvPr>
        </p:nvSpPr>
        <p:spPr>
          <a:xfrm>
            <a:off x="442913" y="2167051"/>
            <a:ext cx="376237" cy="276999"/>
          </a:xfrm>
        </p:spPr>
        <p:txBody>
          <a:bodyPr wrap="square">
            <a:spAutoFit/>
          </a:bodyPr>
          <a:lstStyle>
            <a:lvl1pPr marL="0" indent="0">
              <a:lnSpc>
                <a:spcPct val="90000"/>
              </a:lnSpc>
              <a:buNone/>
              <a:defRPr sz="2000">
                <a:solidFill>
                  <a:schemeClr val="accent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9" name="Text Placeholder 4">
            <a:extLst>
              <a:ext uri="{FF2B5EF4-FFF2-40B4-BE49-F238E27FC236}">
                <a16:creationId xmlns:a16="http://schemas.microsoft.com/office/drawing/2014/main" id="{1FED032E-91AB-48C8-BA9D-C6E2773ED79A}"/>
              </a:ext>
            </a:extLst>
          </p:cNvPr>
          <p:cNvSpPr>
            <a:spLocks noGrp="1"/>
          </p:cNvSpPr>
          <p:nvPr>
            <p:ph type="body" sz="quarter" idx="19" hasCustomPrompt="1"/>
          </p:nvPr>
        </p:nvSpPr>
        <p:spPr>
          <a:xfrm>
            <a:off x="971549" y="2827937"/>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0" name="Text Placeholder 7">
            <a:extLst>
              <a:ext uri="{FF2B5EF4-FFF2-40B4-BE49-F238E27FC236}">
                <a16:creationId xmlns:a16="http://schemas.microsoft.com/office/drawing/2014/main" id="{F7FA3E30-B4BF-4AFE-A61C-24A788BFBDF0}"/>
              </a:ext>
            </a:extLst>
          </p:cNvPr>
          <p:cNvSpPr>
            <a:spLocks noGrp="1"/>
          </p:cNvSpPr>
          <p:nvPr>
            <p:ph type="body" sz="quarter" idx="20" hasCustomPrompt="1"/>
          </p:nvPr>
        </p:nvSpPr>
        <p:spPr>
          <a:xfrm>
            <a:off x="442913" y="2827937"/>
            <a:ext cx="376237" cy="276999"/>
          </a:xfrm>
        </p:spPr>
        <p:txBody>
          <a:bodyPr wrap="square">
            <a:spAutoFit/>
          </a:bodyPr>
          <a:lstStyle>
            <a:lvl1pPr marL="0" indent="0">
              <a:lnSpc>
                <a:spcPct val="90000"/>
              </a:lnSpc>
              <a:buNone/>
              <a:defRPr sz="2000">
                <a:solidFill>
                  <a:schemeClr val="accent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1" name="Text Placeholder 4">
            <a:extLst>
              <a:ext uri="{FF2B5EF4-FFF2-40B4-BE49-F238E27FC236}">
                <a16:creationId xmlns:a16="http://schemas.microsoft.com/office/drawing/2014/main" id="{5C04BF94-0CA4-45D7-90EE-EE260DA4AFF8}"/>
              </a:ext>
            </a:extLst>
          </p:cNvPr>
          <p:cNvSpPr>
            <a:spLocks noGrp="1"/>
          </p:cNvSpPr>
          <p:nvPr>
            <p:ph type="body" sz="quarter" idx="21" hasCustomPrompt="1"/>
          </p:nvPr>
        </p:nvSpPr>
        <p:spPr>
          <a:xfrm>
            <a:off x="971549" y="3488823"/>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2" name="Text Placeholder 7">
            <a:extLst>
              <a:ext uri="{FF2B5EF4-FFF2-40B4-BE49-F238E27FC236}">
                <a16:creationId xmlns:a16="http://schemas.microsoft.com/office/drawing/2014/main" id="{30708C30-3230-4A39-AC62-959E41EB2CE2}"/>
              </a:ext>
            </a:extLst>
          </p:cNvPr>
          <p:cNvSpPr>
            <a:spLocks noGrp="1"/>
          </p:cNvSpPr>
          <p:nvPr>
            <p:ph type="body" sz="quarter" idx="22" hasCustomPrompt="1"/>
          </p:nvPr>
        </p:nvSpPr>
        <p:spPr>
          <a:xfrm>
            <a:off x="442913" y="3488823"/>
            <a:ext cx="376237" cy="276999"/>
          </a:xfrm>
        </p:spPr>
        <p:txBody>
          <a:bodyPr wrap="square">
            <a:spAutoFit/>
          </a:bodyPr>
          <a:lstStyle>
            <a:lvl1pPr marL="0" indent="0">
              <a:lnSpc>
                <a:spcPct val="90000"/>
              </a:lnSpc>
              <a:buNone/>
              <a:defRPr sz="2000">
                <a:solidFill>
                  <a:schemeClr val="accent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3" name="Text Placeholder 4">
            <a:extLst>
              <a:ext uri="{FF2B5EF4-FFF2-40B4-BE49-F238E27FC236}">
                <a16:creationId xmlns:a16="http://schemas.microsoft.com/office/drawing/2014/main" id="{88F4FA1F-999B-47E1-B01D-3B12FE0B31E7}"/>
              </a:ext>
            </a:extLst>
          </p:cNvPr>
          <p:cNvSpPr>
            <a:spLocks noGrp="1"/>
          </p:cNvSpPr>
          <p:nvPr>
            <p:ph type="body" sz="quarter" idx="23" hasCustomPrompt="1"/>
          </p:nvPr>
        </p:nvSpPr>
        <p:spPr>
          <a:xfrm>
            <a:off x="971549" y="4149709"/>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4" name="Text Placeholder 7">
            <a:extLst>
              <a:ext uri="{FF2B5EF4-FFF2-40B4-BE49-F238E27FC236}">
                <a16:creationId xmlns:a16="http://schemas.microsoft.com/office/drawing/2014/main" id="{035F8BE4-77FC-4F59-BCC2-91B76B7F1521}"/>
              </a:ext>
            </a:extLst>
          </p:cNvPr>
          <p:cNvSpPr>
            <a:spLocks noGrp="1"/>
          </p:cNvSpPr>
          <p:nvPr>
            <p:ph type="body" sz="quarter" idx="24" hasCustomPrompt="1"/>
          </p:nvPr>
        </p:nvSpPr>
        <p:spPr>
          <a:xfrm>
            <a:off x="442913" y="4149709"/>
            <a:ext cx="376237" cy="276999"/>
          </a:xfrm>
        </p:spPr>
        <p:txBody>
          <a:bodyPr wrap="square">
            <a:spAutoFit/>
          </a:bodyPr>
          <a:lstStyle>
            <a:lvl1pPr marL="0" indent="0">
              <a:lnSpc>
                <a:spcPct val="90000"/>
              </a:lnSpc>
              <a:buNone/>
              <a:defRPr sz="2000">
                <a:solidFill>
                  <a:schemeClr val="accent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5" name="Text Placeholder 4">
            <a:extLst>
              <a:ext uri="{FF2B5EF4-FFF2-40B4-BE49-F238E27FC236}">
                <a16:creationId xmlns:a16="http://schemas.microsoft.com/office/drawing/2014/main" id="{3866815A-5C4C-411D-8043-18E44BC764A4}"/>
              </a:ext>
            </a:extLst>
          </p:cNvPr>
          <p:cNvSpPr>
            <a:spLocks noGrp="1"/>
          </p:cNvSpPr>
          <p:nvPr>
            <p:ph type="body" sz="quarter" idx="25" hasCustomPrompt="1"/>
          </p:nvPr>
        </p:nvSpPr>
        <p:spPr>
          <a:xfrm>
            <a:off x="971549" y="4810595"/>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6" name="Text Placeholder 7">
            <a:extLst>
              <a:ext uri="{FF2B5EF4-FFF2-40B4-BE49-F238E27FC236}">
                <a16:creationId xmlns:a16="http://schemas.microsoft.com/office/drawing/2014/main" id="{105B9D3D-1AD6-4B95-9E6A-7319CC20CB38}"/>
              </a:ext>
            </a:extLst>
          </p:cNvPr>
          <p:cNvSpPr>
            <a:spLocks noGrp="1"/>
          </p:cNvSpPr>
          <p:nvPr>
            <p:ph type="body" sz="quarter" idx="26" hasCustomPrompt="1"/>
          </p:nvPr>
        </p:nvSpPr>
        <p:spPr>
          <a:xfrm>
            <a:off x="442913" y="4810595"/>
            <a:ext cx="376237" cy="276999"/>
          </a:xfrm>
        </p:spPr>
        <p:txBody>
          <a:bodyPr wrap="square">
            <a:spAutoFit/>
          </a:bodyPr>
          <a:lstStyle>
            <a:lvl1pPr marL="0" indent="0">
              <a:lnSpc>
                <a:spcPct val="90000"/>
              </a:lnSpc>
              <a:buNone/>
              <a:defRPr sz="2000">
                <a:solidFill>
                  <a:schemeClr val="accent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7" name="Text Placeholder 4">
            <a:extLst>
              <a:ext uri="{FF2B5EF4-FFF2-40B4-BE49-F238E27FC236}">
                <a16:creationId xmlns:a16="http://schemas.microsoft.com/office/drawing/2014/main" id="{B8C0FBA2-35F0-4292-ABBF-1AA223650327}"/>
              </a:ext>
            </a:extLst>
          </p:cNvPr>
          <p:cNvSpPr>
            <a:spLocks noGrp="1"/>
          </p:cNvSpPr>
          <p:nvPr>
            <p:ph type="body" sz="quarter" idx="27" hasCustomPrompt="1"/>
          </p:nvPr>
        </p:nvSpPr>
        <p:spPr>
          <a:xfrm>
            <a:off x="971549" y="5471484"/>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8" name="Text Placeholder 7">
            <a:extLst>
              <a:ext uri="{FF2B5EF4-FFF2-40B4-BE49-F238E27FC236}">
                <a16:creationId xmlns:a16="http://schemas.microsoft.com/office/drawing/2014/main" id="{F69963A3-2EFC-4DB5-BD7E-A7B2F057E690}"/>
              </a:ext>
            </a:extLst>
          </p:cNvPr>
          <p:cNvSpPr>
            <a:spLocks noGrp="1"/>
          </p:cNvSpPr>
          <p:nvPr>
            <p:ph type="body" sz="quarter" idx="28" hasCustomPrompt="1"/>
          </p:nvPr>
        </p:nvSpPr>
        <p:spPr>
          <a:xfrm>
            <a:off x="442913" y="5471484"/>
            <a:ext cx="376237" cy="276999"/>
          </a:xfrm>
        </p:spPr>
        <p:txBody>
          <a:bodyPr wrap="square">
            <a:spAutoFit/>
          </a:bodyPr>
          <a:lstStyle>
            <a:lvl1pPr marL="0" indent="0">
              <a:lnSpc>
                <a:spcPct val="90000"/>
              </a:lnSpc>
              <a:buNone/>
              <a:defRPr sz="2000">
                <a:solidFill>
                  <a:schemeClr val="accent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 name="Date Placeholder 19">
            <a:extLst>
              <a:ext uri="{FF2B5EF4-FFF2-40B4-BE49-F238E27FC236}">
                <a16:creationId xmlns:a16="http://schemas.microsoft.com/office/drawing/2014/main" id="{3AD01A25-09B5-BD41-6191-16BA6C153A29}"/>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7" name="Slide Number Placeholder 20">
            <a:extLst>
              <a:ext uri="{FF2B5EF4-FFF2-40B4-BE49-F238E27FC236}">
                <a16:creationId xmlns:a16="http://schemas.microsoft.com/office/drawing/2014/main" id="{F9657B72-82E8-E443-7366-9D9A7FD59FE3}"/>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D98D1683-BDAC-FAE6-2667-C2571B318770}"/>
              </a:ext>
            </a:extLst>
          </p:cNvPr>
          <p:cNvSpPr>
            <a:spLocks noGrp="1"/>
          </p:cNvSpPr>
          <p:nvPr>
            <p:ph type="ftr" sz="quarter" idx="29"/>
          </p:nvPr>
        </p:nvSpPr>
        <p:spPr/>
        <p:txBody>
          <a:bodyPr/>
          <a:lstStyle/>
          <a:p>
            <a:endParaRPr lang="en-GB"/>
          </a:p>
        </p:txBody>
      </p:sp>
    </p:spTree>
    <p:extLst>
      <p:ext uri="{BB962C8B-B14F-4D97-AF65-F5344CB8AC3E}">
        <p14:creationId xmlns:p14="http://schemas.microsoft.com/office/powerpoint/2010/main" val="1649139068"/>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genda layout_Black Olive Navy">
    <p:bg>
      <p:bgPr>
        <a:solidFill>
          <a:srgbClr val="00264E"/>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02277D1-197D-3A6B-30B9-5259AE821245}"/>
              </a:ext>
            </a:extLst>
          </p:cNvPr>
          <p:cNvGraphicFramePr>
            <a:graphicFrameLocks noChangeAspect="1"/>
          </p:cNvGraphicFramePr>
          <p:nvPr userDrawn="1">
            <p:custDataLst>
              <p:tags r:id="rId1"/>
            </p:custDataLst>
            <p:extLst>
              <p:ext uri="{D42A27DB-BD31-4B8C-83A1-F6EECF244321}">
                <p14:modId xmlns:p14="http://schemas.microsoft.com/office/powerpoint/2010/main" val="3128734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think-cell data - do not delete" hidden="1">
                        <a:extLst>
                          <a:ext uri="{FF2B5EF4-FFF2-40B4-BE49-F238E27FC236}">
                            <a16:creationId xmlns:a16="http://schemas.microsoft.com/office/drawing/2014/main" id="{802277D1-197D-3A6B-30B9-5259AE8212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0CB4B7DD-28BF-400A-9C18-DD61B9CDAD76}"/>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endParaRPr lang="en-US" dirty="0"/>
          </a:p>
        </p:txBody>
      </p:sp>
      <p:sp>
        <p:nvSpPr>
          <p:cNvPr id="9" name="Graphic 21">
            <a:extLst>
              <a:ext uri="{FF2B5EF4-FFF2-40B4-BE49-F238E27FC236}">
                <a16:creationId xmlns:a16="http://schemas.microsoft.com/office/drawing/2014/main" id="{05EB7591-792F-497E-BC19-17F9D3F0DD27}"/>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chemeClr val="bg1"/>
          </a:solidFill>
          <a:ln w="9525"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9E8E342D-8E7B-4687-9A9D-EE055EE1D4DE}"/>
              </a:ext>
            </a:extLst>
          </p:cNvPr>
          <p:cNvSpPr>
            <a:spLocks noGrp="1"/>
          </p:cNvSpPr>
          <p:nvPr>
            <p:ph type="title"/>
          </p:nvPr>
        </p:nvSpPr>
        <p:spPr>
          <a:xfrm>
            <a:off x="442914" y="221456"/>
            <a:ext cx="3600450" cy="775597"/>
          </a:xfrm>
        </p:spPr>
        <p:txBody>
          <a:bodyPr vert="horz"/>
          <a:lstStyle>
            <a:lvl1pPr>
              <a:defRPr>
                <a:solidFill>
                  <a:schemeClr val="bg1"/>
                </a:solidFill>
                <a:latin typeface="Playfair Display Black" pitchFamily="2"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8EE89C49-B4A2-4BF1-BBCC-7355BE13BF5B}"/>
              </a:ext>
            </a:extLst>
          </p:cNvPr>
          <p:cNvSpPr>
            <a:spLocks noGrp="1"/>
          </p:cNvSpPr>
          <p:nvPr>
            <p:ph type="body" sz="quarter" idx="15" hasCustomPrompt="1"/>
          </p:nvPr>
        </p:nvSpPr>
        <p:spPr>
          <a:xfrm>
            <a:off x="971549" y="1506165"/>
            <a:ext cx="3071813" cy="276999"/>
          </a:xfrm>
        </p:spPr>
        <p:txBody>
          <a:bodyPr>
            <a:spAutoFit/>
          </a:bodyPr>
          <a:lstStyle>
            <a:lvl1pPr marL="0" indent="0">
              <a:lnSpc>
                <a:spcPct val="90000"/>
              </a:lnSpc>
              <a:spcBef>
                <a:spcPts val="600"/>
              </a:spcBef>
              <a:spcAft>
                <a:spcPts val="0"/>
              </a:spcAft>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8" name="Text Placeholder 7">
            <a:extLst>
              <a:ext uri="{FF2B5EF4-FFF2-40B4-BE49-F238E27FC236}">
                <a16:creationId xmlns:a16="http://schemas.microsoft.com/office/drawing/2014/main" id="{1AD25EDE-211D-4376-A566-F21D3F510B99}"/>
              </a:ext>
            </a:extLst>
          </p:cNvPr>
          <p:cNvSpPr>
            <a:spLocks noGrp="1"/>
          </p:cNvSpPr>
          <p:nvPr>
            <p:ph type="body" sz="quarter" idx="16" hasCustomPrompt="1"/>
          </p:nvPr>
        </p:nvSpPr>
        <p:spPr>
          <a:xfrm>
            <a:off x="442913" y="1506165"/>
            <a:ext cx="376237" cy="276999"/>
          </a:xfrm>
        </p:spPr>
        <p:txBody>
          <a:bodyPr wrap="square">
            <a:spAutoFit/>
          </a:bodyPr>
          <a:lstStyle>
            <a:lvl1pPr marL="0" indent="0">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12" name="Text Placeholder 4">
            <a:extLst>
              <a:ext uri="{FF2B5EF4-FFF2-40B4-BE49-F238E27FC236}">
                <a16:creationId xmlns:a16="http://schemas.microsoft.com/office/drawing/2014/main" id="{0D516DBD-2718-44D9-8274-2F4C843197C8}"/>
              </a:ext>
            </a:extLst>
          </p:cNvPr>
          <p:cNvSpPr>
            <a:spLocks noGrp="1"/>
          </p:cNvSpPr>
          <p:nvPr>
            <p:ph type="body" sz="quarter" idx="17" hasCustomPrompt="1"/>
          </p:nvPr>
        </p:nvSpPr>
        <p:spPr>
          <a:xfrm>
            <a:off x="971549" y="2167051"/>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13" name="Text Placeholder 7">
            <a:extLst>
              <a:ext uri="{FF2B5EF4-FFF2-40B4-BE49-F238E27FC236}">
                <a16:creationId xmlns:a16="http://schemas.microsoft.com/office/drawing/2014/main" id="{9890DA38-E6CB-4D57-8C6E-C427FF50D001}"/>
              </a:ext>
            </a:extLst>
          </p:cNvPr>
          <p:cNvSpPr>
            <a:spLocks noGrp="1"/>
          </p:cNvSpPr>
          <p:nvPr>
            <p:ph type="body" sz="quarter" idx="18" hasCustomPrompt="1"/>
          </p:nvPr>
        </p:nvSpPr>
        <p:spPr>
          <a:xfrm>
            <a:off x="442913" y="2167051"/>
            <a:ext cx="376237" cy="276999"/>
          </a:xfrm>
        </p:spPr>
        <p:txBody>
          <a:bodyPr wrap="square">
            <a:spAutoFit/>
          </a:bodyPr>
          <a:lstStyle>
            <a:lvl1pPr marL="0" indent="0">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14" name="Text Placeholder 4">
            <a:extLst>
              <a:ext uri="{FF2B5EF4-FFF2-40B4-BE49-F238E27FC236}">
                <a16:creationId xmlns:a16="http://schemas.microsoft.com/office/drawing/2014/main" id="{72C959F8-256E-4D0D-970F-C1357A95089C}"/>
              </a:ext>
            </a:extLst>
          </p:cNvPr>
          <p:cNvSpPr>
            <a:spLocks noGrp="1"/>
          </p:cNvSpPr>
          <p:nvPr>
            <p:ph type="body" sz="quarter" idx="19" hasCustomPrompt="1"/>
          </p:nvPr>
        </p:nvSpPr>
        <p:spPr>
          <a:xfrm>
            <a:off x="971549" y="2827937"/>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15" name="Text Placeholder 7">
            <a:extLst>
              <a:ext uri="{FF2B5EF4-FFF2-40B4-BE49-F238E27FC236}">
                <a16:creationId xmlns:a16="http://schemas.microsoft.com/office/drawing/2014/main" id="{794C02A7-08B2-4598-B5E8-B171109646D1}"/>
              </a:ext>
            </a:extLst>
          </p:cNvPr>
          <p:cNvSpPr>
            <a:spLocks noGrp="1"/>
          </p:cNvSpPr>
          <p:nvPr>
            <p:ph type="body" sz="quarter" idx="20" hasCustomPrompt="1"/>
          </p:nvPr>
        </p:nvSpPr>
        <p:spPr>
          <a:xfrm>
            <a:off x="442913" y="2827937"/>
            <a:ext cx="376237" cy="276999"/>
          </a:xfrm>
        </p:spPr>
        <p:txBody>
          <a:bodyPr wrap="square">
            <a:spAutoFit/>
          </a:bodyPr>
          <a:lstStyle>
            <a:lvl1pPr marL="0" indent="0">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16" name="Text Placeholder 4">
            <a:extLst>
              <a:ext uri="{FF2B5EF4-FFF2-40B4-BE49-F238E27FC236}">
                <a16:creationId xmlns:a16="http://schemas.microsoft.com/office/drawing/2014/main" id="{9B618029-B736-413E-86C7-10E7A3FFC9FC}"/>
              </a:ext>
            </a:extLst>
          </p:cNvPr>
          <p:cNvSpPr>
            <a:spLocks noGrp="1"/>
          </p:cNvSpPr>
          <p:nvPr>
            <p:ph type="body" sz="quarter" idx="21" hasCustomPrompt="1"/>
          </p:nvPr>
        </p:nvSpPr>
        <p:spPr>
          <a:xfrm>
            <a:off x="971549" y="3488823"/>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17" name="Text Placeholder 7">
            <a:extLst>
              <a:ext uri="{FF2B5EF4-FFF2-40B4-BE49-F238E27FC236}">
                <a16:creationId xmlns:a16="http://schemas.microsoft.com/office/drawing/2014/main" id="{5AA61192-2B03-4F58-AE1E-09114F170367}"/>
              </a:ext>
            </a:extLst>
          </p:cNvPr>
          <p:cNvSpPr>
            <a:spLocks noGrp="1"/>
          </p:cNvSpPr>
          <p:nvPr>
            <p:ph type="body" sz="quarter" idx="22" hasCustomPrompt="1"/>
          </p:nvPr>
        </p:nvSpPr>
        <p:spPr>
          <a:xfrm>
            <a:off x="442913" y="3488823"/>
            <a:ext cx="376237" cy="276999"/>
          </a:xfrm>
        </p:spPr>
        <p:txBody>
          <a:bodyPr wrap="square">
            <a:spAutoFit/>
          </a:bodyPr>
          <a:lstStyle>
            <a:lvl1pPr marL="0" indent="0">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18" name="Text Placeholder 4">
            <a:extLst>
              <a:ext uri="{FF2B5EF4-FFF2-40B4-BE49-F238E27FC236}">
                <a16:creationId xmlns:a16="http://schemas.microsoft.com/office/drawing/2014/main" id="{001DC646-3B66-47D9-B508-09A2B54E7CD1}"/>
              </a:ext>
            </a:extLst>
          </p:cNvPr>
          <p:cNvSpPr>
            <a:spLocks noGrp="1"/>
          </p:cNvSpPr>
          <p:nvPr>
            <p:ph type="body" sz="quarter" idx="23" hasCustomPrompt="1"/>
          </p:nvPr>
        </p:nvSpPr>
        <p:spPr>
          <a:xfrm>
            <a:off x="971549" y="4149709"/>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0" name="Text Placeholder 7">
            <a:extLst>
              <a:ext uri="{FF2B5EF4-FFF2-40B4-BE49-F238E27FC236}">
                <a16:creationId xmlns:a16="http://schemas.microsoft.com/office/drawing/2014/main" id="{A1BBBFCB-34E2-4052-8268-94142CABF8F2}"/>
              </a:ext>
            </a:extLst>
          </p:cNvPr>
          <p:cNvSpPr>
            <a:spLocks noGrp="1"/>
          </p:cNvSpPr>
          <p:nvPr>
            <p:ph type="body" sz="quarter" idx="24" hasCustomPrompt="1"/>
          </p:nvPr>
        </p:nvSpPr>
        <p:spPr>
          <a:xfrm>
            <a:off x="442913" y="4149709"/>
            <a:ext cx="376237" cy="276999"/>
          </a:xfrm>
        </p:spPr>
        <p:txBody>
          <a:bodyPr wrap="square">
            <a:spAutoFit/>
          </a:bodyPr>
          <a:lstStyle>
            <a:lvl1pPr marL="0" indent="0">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1" name="Text Placeholder 4">
            <a:extLst>
              <a:ext uri="{FF2B5EF4-FFF2-40B4-BE49-F238E27FC236}">
                <a16:creationId xmlns:a16="http://schemas.microsoft.com/office/drawing/2014/main" id="{E454277E-E459-44BB-80BE-0E1F83ED667B}"/>
              </a:ext>
            </a:extLst>
          </p:cNvPr>
          <p:cNvSpPr>
            <a:spLocks noGrp="1"/>
          </p:cNvSpPr>
          <p:nvPr>
            <p:ph type="body" sz="quarter" idx="25" hasCustomPrompt="1"/>
          </p:nvPr>
        </p:nvSpPr>
        <p:spPr>
          <a:xfrm>
            <a:off x="971549" y="4810595"/>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2" name="Text Placeholder 7">
            <a:extLst>
              <a:ext uri="{FF2B5EF4-FFF2-40B4-BE49-F238E27FC236}">
                <a16:creationId xmlns:a16="http://schemas.microsoft.com/office/drawing/2014/main" id="{14AF7E5D-97FD-4EBA-8375-D07CDF9F49C7}"/>
              </a:ext>
            </a:extLst>
          </p:cNvPr>
          <p:cNvSpPr>
            <a:spLocks noGrp="1"/>
          </p:cNvSpPr>
          <p:nvPr>
            <p:ph type="body" sz="quarter" idx="26" hasCustomPrompt="1"/>
          </p:nvPr>
        </p:nvSpPr>
        <p:spPr>
          <a:xfrm>
            <a:off x="442913" y="4810595"/>
            <a:ext cx="376237" cy="276999"/>
          </a:xfrm>
        </p:spPr>
        <p:txBody>
          <a:bodyPr wrap="square">
            <a:spAutoFit/>
          </a:bodyPr>
          <a:lstStyle>
            <a:lvl1pPr marL="0" indent="0">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3" name="Text Placeholder 4">
            <a:extLst>
              <a:ext uri="{FF2B5EF4-FFF2-40B4-BE49-F238E27FC236}">
                <a16:creationId xmlns:a16="http://schemas.microsoft.com/office/drawing/2014/main" id="{CCE4A50A-55D9-4DC5-A643-1DC5A1522B90}"/>
              </a:ext>
            </a:extLst>
          </p:cNvPr>
          <p:cNvSpPr>
            <a:spLocks noGrp="1"/>
          </p:cNvSpPr>
          <p:nvPr>
            <p:ph type="body" sz="quarter" idx="27" hasCustomPrompt="1"/>
          </p:nvPr>
        </p:nvSpPr>
        <p:spPr>
          <a:xfrm>
            <a:off x="971549" y="5471484"/>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4" name="Text Placeholder 7">
            <a:extLst>
              <a:ext uri="{FF2B5EF4-FFF2-40B4-BE49-F238E27FC236}">
                <a16:creationId xmlns:a16="http://schemas.microsoft.com/office/drawing/2014/main" id="{C95057B2-70B1-4F7A-BABF-7CA1541DA2F6}"/>
              </a:ext>
            </a:extLst>
          </p:cNvPr>
          <p:cNvSpPr>
            <a:spLocks noGrp="1"/>
          </p:cNvSpPr>
          <p:nvPr>
            <p:ph type="body" sz="quarter" idx="28" hasCustomPrompt="1"/>
          </p:nvPr>
        </p:nvSpPr>
        <p:spPr>
          <a:xfrm>
            <a:off x="442913" y="5471484"/>
            <a:ext cx="376237" cy="276999"/>
          </a:xfrm>
        </p:spPr>
        <p:txBody>
          <a:bodyPr wrap="square">
            <a:spAutoFit/>
          </a:bodyPr>
          <a:lstStyle>
            <a:lvl1pPr marL="0" indent="0">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 name="Date Placeholder 19">
            <a:extLst>
              <a:ext uri="{FF2B5EF4-FFF2-40B4-BE49-F238E27FC236}">
                <a16:creationId xmlns:a16="http://schemas.microsoft.com/office/drawing/2014/main" id="{A22CF366-7D4F-4450-2D70-E8F873378325}"/>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chemeClr val="bg1"/>
                </a:solidFill>
              </a:defRPr>
            </a:lvl1pPr>
          </a:lstStyle>
          <a:p>
            <a:fld id="{684B2894-3B84-4879-8F4C-FB2CBD9FC7AC}" type="datetimeFigureOut">
              <a:rPr lang="en-GB" smtClean="0"/>
              <a:pPr/>
              <a:t>18/06/2025</a:t>
            </a:fld>
            <a:endParaRPr lang="en-GB" dirty="0"/>
          </a:p>
        </p:txBody>
      </p:sp>
      <p:sp>
        <p:nvSpPr>
          <p:cNvPr id="10" name="Slide Number Placeholder 20">
            <a:extLst>
              <a:ext uri="{FF2B5EF4-FFF2-40B4-BE49-F238E27FC236}">
                <a16:creationId xmlns:a16="http://schemas.microsoft.com/office/drawing/2014/main" id="{DA24E541-63A8-1647-3FE1-BAF5492E29FC}"/>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chemeClr val="bg1"/>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5C0BF956-8522-AED2-5E42-5F0970129B97}"/>
              </a:ext>
            </a:extLst>
          </p:cNvPr>
          <p:cNvSpPr>
            <a:spLocks noGrp="1"/>
          </p:cNvSpPr>
          <p:nvPr>
            <p:ph type="ftr" sz="quarter" idx="29"/>
          </p:nvPr>
        </p:nvSpPr>
        <p:spPr/>
        <p:txBody>
          <a:bodyPr vert="horz" lIns="91440" tIns="45720" rIns="91440" bIns="45720" rtlCol="0" anchor="ctr"/>
          <a:lstStyle>
            <a:lvl1pPr>
              <a:defRPr lang="en-GB">
                <a:solidFill>
                  <a:schemeClr val="bg1"/>
                </a:solidFill>
              </a:defRPr>
            </a:lvl1pPr>
          </a:lstStyle>
          <a:p>
            <a:endParaRPr lang="en-GB" dirty="0"/>
          </a:p>
        </p:txBody>
      </p:sp>
    </p:spTree>
    <p:extLst>
      <p:ext uri="{BB962C8B-B14F-4D97-AF65-F5344CB8AC3E}">
        <p14:creationId xmlns:p14="http://schemas.microsoft.com/office/powerpoint/2010/main" val="3827703608"/>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genda layout_Soya Bean Green">
    <p:bg>
      <p:bgPr>
        <a:solidFill>
          <a:srgbClr val="D2DEC3"/>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438FE6-A3A2-8F40-8213-8CA44661496F}"/>
              </a:ext>
            </a:extLst>
          </p:cNvPr>
          <p:cNvGraphicFramePr>
            <a:graphicFrameLocks noChangeAspect="1"/>
          </p:cNvGraphicFramePr>
          <p:nvPr userDrawn="1">
            <p:custDataLst>
              <p:tags r:id="rId1"/>
            </p:custDataLst>
            <p:extLst>
              <p:ext uri="{D42A27DB-BD31-4B8C-83A1-F6EECF244321}">
                <p14:modId xmlns:p14="http://schemas.microsoft.com/office/powerpoint/2010/main" val="3691762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81438FE6-A3A2-8F40-8213-8CA4466149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0CB4B7DD-28BF-400A-9C18-DD61B9CDAD76}"/>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rgbClr val="00264E"/>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9E8E342D-8E7B-4687-9A9D-EE055EE1D4DE}"/>
              </a:ext>
            </a:extLst>
          </p:cNvPr>
          <p:cNvSpPr>
            <a:spLocks noGrp="1"/>
          </p:cNvSpPr>
          <p:nvPr>
            <p:ph type="title"/>
          </p:nvPr>
        </p:nvSpPr>
        <p:spPr>
          <a:xfrm>
            <a:off x="442914" y="221456"/>
            <a:ext cx="3600450" cy="775597"/>
          </a:xfrm>
        </p:spPr>
        <p:txBody>
          <a:bodyPr vert="horz"/>
          <a:lstStyle>
            <a:lvl1pPr>
              <a:defRPr>
                <a:solidFill>
                  <a:srgbClr val="00264E"/>
                </a:solidFill>
                <a:latin typeface="Playfair Display Black" pitchFamily="2" charset="0"/>
              </a:defRPr>
            </a:lvl1pPr>
          </a:lstStyle>
          <a:p>
            <a:r>
              <a:rPr lang="en-US"/>
              <a:t>Click to edit Master title style</a:t>
            </a:r>
            <a:endParaRPr lang="en-US" dirty="0"/>
          </a:p>
        </p:txBody>
      </p:sp>
      <p:sp>
        <p:nvSpPr>
          <p:cNvPr id="25" name="Text Placeholder 4">
            <a:extLst>
              <a:ext uri="{FF2B5EF4-FFF2-40B4-BE49-F238E27FC236}">
                <a16:creationId xmlns:a16="http://schemas.microsoft.com/office/drawing/2014/main" id="{6CBED0BC-D259-4875-86AF-D9188CD54FC3}"/>
              </a:ext>
            </a:extLst>
          </p:cNvPr>
          <p:cNvSpPr>
            <a:spLocks noGrp="1"/>
          </p:cNvSpPr>
          <p:nvPr>
            <p:ph type="body" sz="quarter" idx="15" hasCustomPrompt="1"/>
          </p:nvPr>
        </p:nvSpPr>
        <p:spPr>
          <a:xfrm>
            <a:off x="971549" y="1506165"/>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6" name="Text Placeholder 7">
            <a:extLst>
              <a:ext uri="{FF2B5EF4-FFF2-40B4-BE49-F238E27FC236}">
                <a16:creationId xmlns:a16="http://schemas.microsoft.com/office/drawing/2014/main" id="{D5B03D5B-79F9-41FB-9E64-BE7D0CC6B9A5}"/>
              </a:ext>
            </a:extLst>
          </p:cNvPr>
          <p:cNvSpPr>
            <a:spLocks noGrp="1"/>
          </p:cNvSpPr>
          <p:nvPr>
            <p:ph type="body" sz="quarter" idx="16" hasCustomPrompt="1"/>
          </p:nvPr>
        </p:nvSpPr>
        <p:spPr>
          <a:xfrm>
            <a:off x="442913" y="1506165"/>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7" name="Text Placeholder 4">
            <a:extLst>
              <a:ext uri="{FF2B5EF4-FFF2-40B4-BE49-F238E27FC236}">
                <a16:creationId xmlns:a16="http://schemas.microsoft.com/office/drawing/2014/main" id="{B65F8426-5514-49E0-A5AB-51491AA0C881}"/>
              </a:ext>
            </a:extLst>
          </p:cNvPr>
          <p:cNvSpPr>
            <a:spLocks noGrp="1"/>
          </p:cNvSpPr>
          <p:nvPr>
            <p:ph type="body" sz="quarter" idx="17" hasCustomPrompt="1"/>
          </p:nvPr>
        </p:nvSpPr>
        <p:spPr>
          <a:xfrm>
            <a:off x="971549" y="2167051"/>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8" name="Text Placeholder 7">
            <a:extLst>
              <a:ext uri="{FF2B5EF4-FFF2-40B4-BE49-F238E27FC236}">
                <a16:creationId xmlns:a16="http://schemas.microsoft.com/office/drawing/2014/main" id="{48E6C7B3-2A3C-4939-8E5A-52372E4F076F}"/>
              </a:ext>
            </a:extLst>
          </p:cNvPr>
          <p:cNvSpPr>
            <a:spLocks noGrp="1"/>
          </p:cNvSpPr>
          <p:nvPr>
            <p:ph type="body" sz="quarter" idx="18" hasCustomPrompt="1"/>
          </p:nvPr>
        </p:nvSpPr>
        <p:spPr>
          <a:xfrm>
            <a:off x="442913" y="2167051"/>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9" name="Text Placeholder 4">
            <a:extLst>
              <a:ext uri="{FF2B5EF4-FFF2-40B4-BE49-F238E27FC236}">
                <a16:creationId xmlns:a16="http://schemas.microsoft.com/office/drawing/2014/main" id="{1F134E19-827D-4CE8-8B64-1552EECB5CD3}"/>
              </a:ext>
            </a:extLst>
          </p:cNvPr>
          <p:cNvSpPr>
            <a:spLocks noGrp="1"/>
          </p:cNvSpPr>
          <p:nvPr>
            <p:ph type="body" sz="quarter" idx="19" hasCustomPrompt="1"/>
          </p:nvPr>
        </p:nvSpPr>
        <p:spPr>
          <a:xfrm>
            <a:off x="971549" y="2827937"/>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0" name="Text Placeholder 7">
            <a:extLst>
              <a:ext uri="{FF2B5EF4-FFF2-40B4-BE49-F238E27FC236}">
                <a16:creationId xmlns:a16="http://schemas.microsoft.com/office/drawing/2014/main" id="{B730A7A2-BD28-4419-901D-25CBE0AB9233}"/>
              </a:ext>
            </a:extLst>
          </p:cNvPr>
          <p:cNvSpPr>
            <a:spLocks noGrp="1"/>
          </p:cNvSpPr>
          <p:nvPr>
            <p:ph type="body" sz="quarter" idx="20" hasCustomPrompt="1"/>
          </p:nvPr>
        </p:nvSpPr>
        <p:spPr>
          <a:xfrm>
            <a:off x="442913" y="2827937"/>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1" name="Text Placeholder 4">
            <a:extLst>
              <a:ext uri="{FF2B5EF4-FFF2-40B4-BE49-F238E27FC236}">
                <a16:creationId xmlns:a16="http://schemas.microsoft.com/office/drawing/2014/main" id="{442A9B2B-9879-478A-910B-38E10A9B0119}"/>
              </a:ext>
            </a:extLst>
          </p:cNvPr>
          <p:cNvSpPr>
            <a:spLocks noGrp="1"/>
          </p:cNvSpPr>
          <p:nvPr>
            <p:ph type="body" sz="quarter" idx="21" hasCustomPrompt="1"/>
          </p:nvPr>
        </p:nvSpPr>
        <p:spPr>
          <a:xfrm>
            <a:off x="971549" y="3488823"/>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2" name="Text Placeholder 7">
            <a:extLst>
              <a:ext uri="{FF2B5EF4-FFF2-40B4-BE49-F238E27FC236}">
                <a16:creationId xmlns:a16="http://schemas.microsoft.com/office/drawing/2014/main" id="{06EF25CD-077D-41BB-9C6D-75E330D7300D}"/>
              </a:ext>
            </a:extLst>
          </p:cNvPr>
          <p:cNvSpPr>
            <a:spLocks noGrp="1"/>
          </p:cNvSpPr>
          <p:nvPr>
            <p:ph type="body" sz="quarter" idx="22" hasCustomPrompt="1"/>
          </p:nvPr>
        </p:nvSpPr>
        <p:spPr>
          <a:xfrm>
            <a:off x="442913" y="3488823"/>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3" name="Text Placeholder 4">
            <a:extLst>
              <a:ext uri="{FF2B5EF4-FFF2-40B4-BE49-F238E27FC236}">
                <a16:creationId xmlns:a16="http://schemas.microsoft.com/office/drawing/2014/main" id="{2CB56702-EFDF-4DFF-BDAD-853CFDCAB997}"/>
              </a:ext>
            </a:extLst>
          </p:cNvPr>
          <p:cNvSpPr>
            <a:spLocks noGrp="1"/>
          </p:cNvSpPr>
          <p:nvPr>
            <p:ph type="body" sz="quarter" idx="23" hasCustomPrompt="1"/>
          </p:nvPr>
        </p:nvSpPr>
        <p:spPr>
          <a:xfrm>
            <a:off x="971549" y="4149709"/>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4" name="Text Placeholder 7">
            <a:extLst>
              <a:ext uri="{FF2B5EF4-FFF2-40B4-BE49-F238E27FC236}">
                <a16:creationId xmlns:a16="http://schemas.microsoft.com/office/drawing/2014/main" id="{41397C85-5313-4131-9E34-6AB1FBD0F68B}"/>
              </a:ext>
            </a:extLst>
          </p:cNvPr>
          <p:cNvSpPr>
            <a:spLocks noGrp="1"/>
          </p:cNvSpPr>
          <p:nvPr>
            <p:ph type="body" sz="quarter" idx="24" hasCustomPrompt="1"/>
          </p:nvPr>
        </p:nvSpPr>
        <p:spPr>
          <a:xfrm>
            <a:off x="442913" y="4149709"/>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5" name="Text Placeholder 4">
            <a:extLst>
              <a:ext uri="{FF2B5EF4-FFF2-40B4-BE49-F238E27FC236}">
                <a16:creationId xmlns:a16="http://schemas.microsoft.com/office/drawing/2014/main" id="{C3DABBE9-055A-428D-8946-9B675805D775}"/>
              </a:ext>
            </a:extLst>
          </p:cNvPr>
          <p:cNvSpPr>
            <a:spLocks noGrp="1"/>
          </p:cNvSpPr>
          <p:nvPr>
            <p:ph type="body" sz="quarter" idx="25" hasCustomPrompt="1"/>
          </p:nvPr>
        </p:nvSpPr>
        <p:spPr>
          <a:xfrm>
            <a:off x="971549" y="4810595"/>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6" name="Text Placeholder 7">
            <a:extLst>
              <a:ext uri="{FF2B5EF4-FFF2-40B4-BE49-F238E27FC236}">
                <a16:creationId xmlns:a16="http://schemas.microsoft.com/office/drawing/2014/main" id="{1BC7FBD5-D84C-4693-A681-7BA81E4AE213}"/>
              </a:ext>
            </a:extLst>
          </p:cNvPr>
          <p:cNvSpPr>
            <a:spLocks noGrp="1"/>
          </p:cNvSpPr>
          <p:nvPr>
            <p:ph type="body" sz="quarter" idx="26" hasCustomPrompt="1"/>
          </p:nvPr>
        </p:nvSpPr>
        <p:spPr>
          <a:xfrm>
            <a:off x="442913" y="4810595"/>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7" name="Text Placeholder 4">
            <a:extLst>
              <a:ext uri="{FF2B5EF4-FFF2-40B4-BE49-F238E27FC236}">
                <a16:creationId xmlns:a16="http://schemas.microsoft.com/office/drawing/2014/main" id="{C0F7E4A4-FD0C-48DA-8AA0-469EAF21920C}"/>
              </a:ext>
            </a:extLst>
          </p:cNvPr>
          <p:cNvSpPr>
            <a:spLocks noGrp="1"/>
          </p:cNvSpPr>
          <p:nvPr>
            <p:ph type="body" sz="quarter" idx="27" hasCustomPrompt="1"/>
          </p:nvPr>
        </p:nvSpPr>
        <p:spPr>
          <a:xfrm>
            <a:off x="971549" y="5471484"/>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8" name="Text Placeholder 7">
            <a:extLst>
              <a:ext uri="{FF2B5EF4-FFF2-40B4-BE49-F238E27FC236}">
                <a16:creationId xmlns:a16="http://schemas.microsoft.com/office/drawing/2014/main" id="{3D32277F-6A9F-4B4D-B8AF-2707A62B8B75}"/>
              </a:ext>
            </a:extLst>
          </p:cNvPr>
          <p:cNvSpPr>
            <a:spLocks noGrp="1"/>
          </p:cNvSpPr>
          <p:nvPr>
            <p:ph type="body" sz="quarter" idx="28" hasCustomPrompt="1"/>
          </p:nvPr>
        </p:nvSpPr>
        <p:spPr>
          <a:xfrm>
            <a:off x="442913" y="5471484"/>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 name="Date Placeholder 19">
            <a:extLst>
              <a:ext uri="{FF2B5EF4-FFF2-40B4-BE49-F238E27FC236}">
                <a16:creationId xmlns:a16="http://schemas.microsoft.com/office/drawing/2014/main" id="{D299433D-86B5-3BB5-9A41-C0465B5D9DF7}"/>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7" name="Slide Number Placeholder 20">
            <a:extLst>
              <a:ext uri="{FF2B5EF4-FFF2-40B4-BE49-F238E27FC236}">
                <a16:creationId xmlns:a16="http://schemas.microsoft.com/office/drawing/2014/main" id="{43631522-CA6E-059B-D984-05B09D99128E}"/>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8" name="Graphic 21">
            <a:extLst>
              <a:ext uri="{FF2B5EF4-FFF2-40B4-BE49-F238E27FC236}">
                <a16:creationId xmlns:a16="http://schemas.microsoft.com/office/drawing/2014/main" id="{A00BC2C8-A372-EA6A-F806-31D4FBAA8B12}"/>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endParaRPr lang="en-US" dirty="0">
              <a:solidFill>
                <a:srgbClr val="00264E"/>
              </a:solidFill>
            </a:endParaRPr>
          </a:p>
        </p:txBody>
      </p:sp>
      <p:sp>
        <p:nvSpPr>
          <p:cNvPr id="4" name="Footer Placeholder 3">
            <a:extLst>
              <a:ext uri="{FF2B5EF4-FFF2-40B4-BE49-F238E27FC236}">
                <a16:creationId xmlns:a16="http://schemas.microsoft.com/office/drawing/2014/main" id="{8F394484-CB12-1D58-9238-FF85C4204831}"/>
              </a:ext>
            </a:extLst>
          </p:cNvPr>
          <p:cNvSpPr>
            <a:spLocks noGrp="1"/>
          </p:cNvSpPr>
          <p:nvPr>
            <p:ph type="ftr" sz="quarter" idx="29"/>
          </p:nvPr>
        </p:nvSpPr>
        <p:spPr/>
        <p:txBody>
          <a:bodyPr/>
          <a:lstStyle/>
          <a:p>
            <a:endParaRPr lang="en-GB"/>
          </a:p>
        </p:txBody>
      </p:sp>
    </p:spTree>
    <p:extLst>
      <p:ext uri="{BB962C8B-B14F-4D97-AF65-F5344CB8AC3E}">
        <p14:creationId xmlns:p14="http://schemas.microsoft.com/office/powerpoint/2010/main" val="232582751"/>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genda layout_Shea Brown">
    <p:bg>
      <p:bgPr>
        <a:solidFill>
          <a:srgbClr val="E2CFC6"/>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7697C69-BBA5-2B9D-F37D-74D55FFC5569}"/>
              </a:ext>
            </a:extLst>
          </p:cNvPr>
          <p:cNvGraphicFramePr>
            <a:graphicFrameLocks noChangeAspect="1"/>
          </p:cNvGraphicFramePr>
          <p:nvPr userDrawn="1">
            <p:custDataLst>
              <p:tags r:id="rId1"/>
            </p:custDataLst>
            <p:extLst>
              <p:ext uri="{D42A27DB-BD31-4B8C-83A1-F6EECF244321}">
                <p14:modId xmlns:p14="http://schemas.microsoft.com/office/powerpoint/2010/main" val="1384413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A7697C69-BBA5-2B9D-F37D-74D55FFC55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0CB4B7DD-28BF-400A-9C18-DD61B9CDAD76}"/>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rgbClr val="00264E"/>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9E8E342D-8E7B-4687-9A9D-EE055EE1D4DE}"/>
              </a:ext>
            </a:extLst>
          </p:cNvPr>
          <p:cNvSpPr>
            <a:spLocks noGrp="1"/>
          </p:cNvSpPr>
          <p:nvPr>
            <p:ph type="title"/>
          </p:nvPr>
        </p:nvSpPr>
        <p:spPr>
          <a:xfrm>
            <a:off x="442914" y="221456"/>
            <a:ext cx="3600450" cy="775597"/>
          </a:xfrm>
        </p:spPr>
        <p:txBody>
          <a:bodyPr vert="horz" lIns="0" tIns="0" rIns="0" bIns="0" rtlCol="0" anchor="ctr">
            <a:noAutofit/>
          </a:bodyPr>
          <a:lstStyle>
            <a:lvl1pPr>
              <a:defRPr lang="en-US" dirty="0">
                <a:solidFill>
                  <a:srgbClr val="00264E"/>
                </a:solidFill>
                <a:latin typeface="Playfair Display Black" pitchFamily="2" charset="0"/>
              </a:defRPr>
            </a:lvl1pPr>
          </a:lstStyle>
          <a:p>
            <a:pPr lvl="0"/>
            <a:r>
              <a:rPr lang="en-US"/>
              <a:t>Click to edit Master title style</a:t>
            </a:r>
            <a:endParaRPr lang="en-US" dirty="0"/>
          </a:p>
        </p:txBody>
      </p:sp>
      <p:sp>
        <p:nvSpPr>
          <p:cNvPr id="25" name="Text Placeholder 4">
            <a:extLst>
              <a:ext uri="{FF2B5EF4-FFF2-40B4-BE49-F238E27FC236}">
                <a16:creationId xmlns:a16="http://schemas.microsoft.com/office/drawing/2014/main" id="{6CBED0BC-D259-4875-86AF-D9188CD54FC3}"/>
              </a:ext>
            </a:extLst>
          </p:cNvPr>
          <p:cNvSpPr>
            <a:spLocks noGrp="1"/>
          </p:cNvSpPr>
          <p:nvPr>
            <p:ph type="body" sz="quarter" idx="15" hasCustomPrompt="1"/>
          </p:nvPr>
        </p:nvSpPr>
        <p:spPr>
          <a:xfrm>
            <a:off x="971549" y="1506165"/>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6" name="Text Placeholder 7">
            <a:extLst>
              <a:ext uri="{FF2B5EF4-FFF2-40B4-BE49-F238E27FC236}">
                <a16:creationId xmlns:a16="http://schemas.microsoft.com/office/drawing/2014/main" id="{D5B03D5B-79F9-41FB-9E64-BE7D0CC6B9A5}"/>
              </a:ext>
            </a:extLst>
          </p:cNvPr>
          <p:cNvSpPr>
            <a:spLocks noGrp="1"/>
          </p:cNvSpPr>
          <p:nvPr>
            <p:ph type="body" sz="quarter" idx="16" hasCustomPrompt="1"/>
          </p:nvPr>
        </p:nvSpPr>
        <p:spPr>
          <a:xfrm>
            <a:off x="442913" y="1506165"/>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7" name="Text Placeholder 4">
            <a:extLst>
              <a:ext uri="{FF2B5EF4-FFF2-40B4-BE49-F238E27FC236}">
                <a16:creationId xmlns:a16="http://schemas.microsoft.com/office/drawing/2014/main" id="{B65F8426-5514-49E0-A5AB-51491AA0C881}"/>
              </a:ext>
            </a:extLst>
          </p:cNvPr>
          <p:cNvSpPr>
            <a:spLocks noGrp="1"/>
          </p:cNvSpPr>
          <p:nvPr>
            <p:ph type="body" sz="quarter" idx="17" hasCustomPrompt="1"/>
          </p:nvPr>
        </p:nvSpPr>
        <p:spPr>
          <a:xfrm>
            <a:off x="971549" y="2167051"/>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8" name="Text Placeholder 7">
            <a:extLst>
              <a:ext uri="{FF2B5EF4-FFF2-40B4-BE49-F238E27FC236}">
                <a16:creationId xmlns:a16="http://schemas.microsoft.com/office/drawing/2014/main" id="{48E6C7B3-2A3C-4939-8E5A-52372E4F076F}"/>
              </a:ext>
            </a:extLst>
          </p:cNvPr>
          <p:cNvSpPr>
            <a:spLocks noGrp="1"/>
          </p:cNvSpPr>
          <p:nvPr>
            <p:ph type="body" sz="quarter" idx="18" hasCustomPrompt="1"/>
          </p:nvPr>
        </p:nvSpPr>
        <p:spPr>
          <a:xfrm>
            <a:off x="442913" y="2167051"/>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9" name="Text Placeholder 4">
            <a:extLst>
              <a:ext uri="{FF2B5EF4-FFF2-40B4-BE49-F238E27FC236}">
                <a16:creationId xmlns:a16="http://schemas.microsoft.com/office/drawing/2014/main" id="{1F134E19-827D-4CE8-8B64-1552EECB5CD3}"/>
              </a:ext>
            </a:extLst>
          </p:cNvPr>
          <p:cNvSpPr>
            <a:spLocks noGrp="1"/>
          </p:cNvSpPr>
          <p:nvPr>
            <p:ph type="body" sz="quarter" idx="19" hasCustomPrompt="1"/>
          </p:nvPr>
        </p:nvSpPr>
        <p:spPr>
          <a:xfrm>
            <a:off x="971549" y="2827937"/>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0" name="Text Placeholder 7">
            <a:extLst>
              <a:ext uri="{FF2B5EF4-FFF2-40B4-BE49-F238E27FC236}">
                <a16:creationId xmlns:a16="http://schemas.microsoft.com/office/drawing/2014/main" id="{B730A7A2-BD28-4419-901D-25CBE0AB9233}"/>
              </a:ext>
            </a:extLst>
          </p:cNvPr>
          <p:cNvSpPr>
            <a:spLocks noGrp="1"/>
          </p:cNvSpPr>
          <p:nvPr>
            <p:ph type="body" sz="quarter" idx="20" hasCustomPrompt="1"/>
          </p:nvPr>
        </p:nvSpPr>
        <p:spPr>
          <a:xfrm>
            <a:off x="442913" y="2827937"/>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1" name="Text Placeholder 4">
            <a:extLst>
              <a:ext uri="{FF2B5EF4-FFF2-40B4-BE49-F238E27FC236}">
                <a16:creationId xmlns:a16="http://schemas.microsoft.com/office/drawing/2014/main" id="{442A9B2B-9879-478A-910B-38E10A9B0119}"/>
              </a:ext>
            </a:extLst>
          </p:cNvPr>
          <p:cNvSpPr>
            <a:spLocks noGrp="1"/>
          </p:cNvSpPr>
          <p:nvPr>
            <p:ph type="body" sz="quarter" idx="21" hasCustomPrompt="1"/>
          </p:nvPr>
        </p:nvSpPr>
        <p:spPr>
          <a:xfrm>
            <a:off x="971549" y="3488823"/>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2" name="Text Placeholder 7">
            <a:extLst>
              <a:ext uri="{FF2B5EF4-FFF2-40B4-BE49-F238E27FC236}">
                <a16:creationId xmlns:a16="http://schemas.microsoft.com/office/drawing/2014/main" id="{06EF25CD-077D-41BB-9C6D-75E330D7300D}"/>
              </a:ext>
            </a:extLst>
          </p:cNvPr>
          <p:cNvSpPr>
            <a:spLocks noGrp="1"/>
          </p:cNvSpPr>
          <p:nvPr>
            <p:ph type="body" sz="quarter" idx="22" hasCustomPrompt="1"/>
          </p:nvPr>
        </p:nvSpPr>
        <p:spPr>
          <a:xfrm>
            <a:off x="442913" y="3488823"/>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3" name="Text Placeholder 4">
            <a:extLst>
              <a:ext uri="{FF2B5EF4-FFF2-40B4-BE49-F238E27FC236}">
                <a16:creationId xmlns:a16="http://schemas.microsoft.com/office/drawing/2014/main" id="{2CB56702-EFDF-4DFF-BDAD-853CFDCAB997}"/>
              </a:ext>
            </a:extLst>
          </p:cNvPr>
          <p:cNvSpPr>
            <a:spLocks noGrp="1"/>
          </p:cNvSpPr>
          <p:nvPr>
            <p:ph type="body" sz="quarter" idx="23" hasCustomPrompt="1"/>
          </p:nvPr>
        </p:nvSpPr>
        <p:spPr>
          <a:xfrm>
            <a:off x="971549" y="4149709"/>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4" name="Text Placeholder 7">
            <a:extLst>
              <a:ext uri="{FF2B5EF4-FFF2-40B4-BE49-F238E27FC236}">
                <a16:creationId xmlns:a16="http://schemas.microsoft.com/office/drawing/2014/main" id="{41397C85-5313-4131-9E34-6AB1FBD0F68B}"/>
              </a:ext>
            </a:extLst>
          </p:cNvPr>
          <p:cNvSpPr>
            <a:spLocks noGrp="1"/>
          </p:cNvSpPr>
          <p:nvPr>
            <p:ph type="body" sz="quarter" idx="24" hasCustomPrompt="1"/>
          </p:nvPr>
        </p:nvSpPr>
        <p:spPr>
          <a:xfrm>
            <a:off x="442913" y="4149709"/>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5" name="Text Placeholder 4">
            <a:extLst>
              <a:ext uri="{FF2B5EF4-FFF2-40B4-BE49-F238E27FC236}">
                <a16:creationId xmlns:a16="http://schemas.microsoft.com/office/drawing/2014/main" id="{C3DABBE9-055A-428D-8946-9B675805D775}"/>
              </a:ext>
            </a:extLst>
          </p:cNvPr>
          <p:cNvSpPr>
            <a:spLocks noGrp="1"/>
          </p:cNvSpPr>
          <p:nvPr>
            <p:ph type="body" sz="quarter" idx="25" hasCustomPrompt="1"/>
          </p:nvPr>
        </p:nvSpPr>
        <p:spPr>
          <a:xfrm>
            <a:off x="971549" y="4810595"/>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6" name="Text Placeholder 7">
            <a:extLst>
              <a:ext uri="{FF2B5EF4-FFF2-40B4-BE49-F238E27FC236}">
                <a16:creationId xmlns:a16="http://schemas.microsoft.com/office/drawing/2014/main" id="{1BC7FBD5-D84C-4693-A681-7BA81E4AE213}"/>
              </a:ext>
            </a:extLst>
          </p:cNvPr>
          <p:cNvSpPr>
            <a:spLocks noGrp="1"/>
          </p:cNvSpPr>
          <p:nvPr>
            <p:ph type="body" sz="quarter" idx="26" hasCustomPrompt="1"/>
          </p:nvPr>
        </p:nvSpPr>
        <p:spPr>
          <a:xfrm>
            <a:off x="442913" y="4810595"/>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7" name="Text Placeholder 4">
            <a:extLst>
              <a:ext uri="{FF2B5EF4-FFF2-40B4-BE49-F238E27FC236}">
                <a16:creationId xmlns:a16="http://schemas.microsoft.com/office/drawing/2014/main" id="{C0F7E4A4-FD0C-48DA-8AA0-469EAF21920C}"/>
              </a:ext>
            </a:extLst>
          </p:cNvPr>
          <p:cNvSpPr>
            <a:spLocks noGrp="1"/>
          </p:cNvSpPr>
          <p:nvPr>
            <p:ph type="body" sz="quarter" idx="27" hasCustomPrompt="1"/>
          </p:nvPr>
        </p:nvSpPr>
        <p:spPr>
          <a:xfrm>
            <a:off x="971549" y="5471484"/>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8" name="Text Placeholder 7">
            <a:extLst>
              <a:ext uri="{FF2B5EF4-FFF2-40B4-BE49-F238E27FC236}">
                <a16:creationId xmlns:a16="http://schemas.microsoft.com/office/drawing/2014/main" id="{3D32277F-6A9F-4B4D-B8AF-2707A62B8B75}"/>
              </a:ext>
            </a:extLst>
          </p:cNvPr>
          <p:cNvSpPr>
            <a:spLocks noGrp="1"/>
          </p:cNvSpPr>
          <p:nvPr>
            <p:ph type="body" sz="quarter" idx="28" hasCustomPrompt="1"/>
          </p:nvPr>
        </p:nvSpPr>
        <p:spPr>
          <a:xfrm>
            <a:off x="442913" y="5471484"/>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 name="Date Placeholder 19">
            <a:extLst>
              <a:ext uri="{FF2B5EF4-FFF2-40B4-BE49-F238E27FC236}">
                <a16:creationId xmlns:a16="http://schemas.microsoft.com/office/drawing/2014/main" id="{D1DA7D27-9E76-6527-D269-B31C737671C5}"/>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7" name="Slide Number Placeholder 20">
            <a:extLst>
              <a:ext uri="{FF2B5EF4-FFF2-40B4-BE49-F238E27FC236}">
                <a16:creationId xmlns:a16="http://schemas.microsoft.com/office/drawing/2014/main" id="{F2113056-4FD5-ADEF-06B3-228920DD95AE}"/>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8" name="Graphic 21">
            <a:extLst>
              <a:ext uri="{FF2B5EF4-FFF2-40B4-BE49-F238E27FC236}">
                <a16:creationId xmlns:a16="http://schemas.microsoft.com/office/drawing/2014/main" id="{ACCE2F9E-51CB-50D8-8EC5-AE4D47389243}"/>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endParaRPr lang="en-US" dirty="0">
              <a:solidFill>
                <a:srgbClr val="00264E"/>
              </a:solidFill>
            </a:endParaRPr>
          </a:p>
        </p:txBody>
      </p:sp>
      <p:sp>
        <p:nvSpPr>
          <p:cNvPr id="4" name="Footer Placeholder 3">
            <a:extLst>
              <a:ext uri="{FF2B5EF4-FFF2-40B4-BE49-F238E27FC236}">
                <a16:creationId xmlns:a16="http://schemas.microsoft.com/office/drawing/2014/main" id="{1E9EE0B6-4400-9B8D-0A83-2BDB3A569FC1}"/>
              </a:ext>
            </a:extLst>
          </p:cNvPr>
          <p:cNvSpPr>
            <a:spLocks noGrp="1"/>
          </p:cNvSpPr>
          <p:nvPr>
            <p:ph type="ftr" sz="quarter" idx="29"/>
          </p:nvPr>
        </p:nvSpPr>
        <p:spPr/>
        <p:txBody>
          <a:bodyPr/>
          <a:lstStyle/>
          <a:p>
            <a:endParaRPr lang="en-GB"/>
          </a:p>
        </p:txBody>
      </p:sp>
    </p:spTree>
    <p:extLst>
      <p:ext uri="{BB962C8B-B14F-4D97-AF65-F5344CB8AC3E}">
        <p14:creationId xmlns:p14="http://schemas.microsoft.com/office/powerpoint/2010/main" val="2540254347"/>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_Content">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9A734A43-BEEE-89BA-8D2E-96B33B0DC106}"/>
              </a:ext>
            </a:extLst>
          </p:cNvPr>
          <p:cNvSpPr>
            <a:spLocks/>
          </p:cNvSpPr>
          <p:nvPr userDrawn="1"/>
        </p:nvSpPr>
        <p:spPr>
          <a:xfrm>
            <a:off x="0" y="0"/>
            <a:ext cx="12192000" cy="6858000"/>
          </a:xfrm>
          <a:prstGeom prst="rect">
            <a:avLst/>
          </a:prstGeom>
          <a:solidFill>
            <a:schemeClr val="bg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26" name="Rectangle 25">
            <a:extLst>
              <a:ext uri="{FF2B5EF4-FFF2-40B4-BE49-F238E27FC236}">
                <a16:creationId xmlns:a16="http://schemas.microsoft.com/office/drawing/2014/main" id="{3F8D7C4B-CF2B-3A8E-D5C2-9F1C5DD33841}"/>
              </a:ext>
            </a:extLst>
          </p:cNvPr>
          <p:cNvSpPr>
            <a:spLocks/>
          </p:cNvSpPr>
          <p:nvPr userDrawn="1"/>
        </p:nvSpPr>
        <p:spPr>
          <a:xfrm>
            <a:off x="442911" y="3202702"/>
            <a:ext cx="11306178" cy="1074140"/>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The following layouts are for text and content slides.</a:t>
            </a: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Do not use this slide)</a:t>
            </a:r>
            <a:endParaRPr kumimoji="0" lang="en-US" sz="11500" b="0" i="0" u="none" strike="noStrike" kern="1200" cap="none" spc="-30" normalizeH="0" baseline="0" noProof="0" dirty="0">
              <a:ln>
                <a:noFill/>
              </a:ln>
              <a:solidFill>
                <a:srgbClr val="00264E"/>
              </a:solidFill>
              <a:effectLst/>
              <a:uLnTx/>
              <a:uFillTx/>
              <a:latin typeface="Work Sans Medium" pitchFamily="2" charset="0"/>
              <a:ea typeface="+mn-ea"/>
              <a:cs typeface="+mn-cs"/>
            </a:endParaRPr>
          </a:p>
        </p:txBody>
      </p:sp>
      <p:sp>
        <p:nvSpPr>
          <p:cNvPr id="27" name="Rectangle 26">
            <a:extLst>
              <a:ext uri="{FF2B5EF4-FFF2-40B4-BE49-F238E27FC236}">
                <a16:creationId xmlns:a16="http://schemas.microsoft.com/office/drawing/2014/main" id="{868154DF-188E-683B-6F4A-D49F5F3269E1}"/>
              </a:ext>
            </a:extLst>
          </p:cNvPr>
          <p:cNvSpPr>
            <a:spLocks/>
          </p:cNvSpPr>
          <p:nvPr userDrawn="1"/>
        </p:nvSpPr>
        <p:spPr>
          <a:xfrm>
            <a:off x="1753469" y="2202881"/>
            <a:ext cx="8685070" cy="914096"/>
          </a:xfrm>
          <a:prstGeom prst="rect">
            <a:avLst/>
          </a:prstGeom>
          <a:noFill/>
          <a:ln w="9525" cap="flat">
            <a:noFill/>
            <a:prstDash val="solid"/>
            <a:miter/>
          </a:ln>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6600" b="0" i="0" u="none" strike="noStrike" kern="1200" cap="none" spc="-30" normalizeH="0" baseline="0" noProof="0" dirty="0">
                <a:ln>
                  <a:noFill/>
                </a:ln>
                <a:solidFill>
                  <a:srgbClr val="00264E"/>
                </a:solidFill>
                <a:effectLst/>
                <a:uLnTx/>
                <a:uFillTx/>
                <a:latin typeface="Work Sans Medium" pitchFamily="2" charset="0"/>
                <a:ea typeface="+mn-ea"/>
                <a:cs typeface="+mn-cs"/>
              </a:rPr>
              <a:t>Text/content layouts</a:t>
            </a:r>
          </a:p>
        </p:txBody>
      </p:sp>
    </p:spTree>
    <p:extLst>
      <p:ext uri="{BB962C8B-B14F-4D97-AF65-F5344CB8AC3E}">
        <p14:creationId xmlns:p14="http://schemas.microsoft.com/office/powerpoint/2010/main" val="40301924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noProof="0"/>
              <a:t>Click to edit Master title style</a:t>
            </a:r>
            <a:endParaRPr lang="en-US" noProof="0"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1219200"/>
            <a:ext cx="11306175" cy="4907757"/>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19">
            <a:extLst>
              <a:ext uri="{FF2B5EF4-FFF2-40B4-BE49-F238E27FC236}">
                <a16:creationId xmlns:a16="http://schemas.microsoft.com/office/drawing/2014/main" id="{74A3D0D8-FD11-6790-AD79-AC17C8E38F3B}"/>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132077DA-7617-D387-D2E3-3E2AD76FB32C}"/>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 name="Footer Placeholder 4">
            <a:extLst>
              <a:ext uri="{FF2B5EF4-FFF2-40B4-BE49-F238E27FC236}">
                <a16:creationId xmlns:a16="http://schemas.microsoft.com/office/drawing/2014/main" id="{80CBB928-F190-0B63-7B67-14E6B2C99880}"/>
              </a:ext>
            </a:extLst>
          </p:cNvPr>
          <p:cNvSpPr>
            <a:spLocks noGrp="1"/>
          </p:cNvSpPr>
          <p:nvPr>
            <p:ph type="ftr" sz="quarter" idx="14"/>
          </p:nvPr>
        </p:nvSpPr>
        <p:spPr/>
        <p:txBody>
          <a:bodyPr/>
          <a:lstStyle/>
          <a:p>
            <a:endParaRPr lang="en-GB"/>
          </a:p>
        </p:txBody>
      </p:sp>
    </p:spTree>
    <p:extLst>
      <p:ext uri="{BB962C8B-B14F-4D97-AF65-F5344CB8AC3E}">
        <p14:creationId xmlns:p14="http://schemas.microsoft.com/office/powerpoint/2010/main" val="3348174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ndard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11" name="Text Placeholder 10"/>
          <p:cNvSpPr>
            <a:spLocks noGrp="1"/>
          </p:cNvSpPr>
          <p:nvPr>
            <p:ph type="body" sz="quarter" idx="14" hasCustomPrompt="1"/>
          </p:nvPr>
        </p:nvSpPr>
        <p:spPr>
          <a:xfrm>
            <a:off x="442912" y="1051906"/>
            <a:ext cx="11306175" cy="276999"/>
          </a:xfrm>
        </p:spPr>
        <p:txBody>
          <a:bodyPr/>
          <a:lstStyle>
            <a:lvl1pPr marL="0" indent="0">
              <a:buFont typeface="Arial" panose="020B0604020202020204" pitchFamily="34" charset="0"/>
              <a:buNone/>
              <a:defRPr sz="2000">
                <a:solidFill>
                  <a:schemeClr val="accent1"/>
                </a:solidFill>
              </a:defRPr>
            </a:lvl1pPr>
            <a:lvl2pPr marL="179392" indent="0">
              <a:buFont typeface="Arial" panose="020B0604020202020204" pitchFamily="34" charset="0"/>
              <a:buNone/>
              <a:defRPr sz="1800">
                <a:solidFill>
                  <a:schemeClr val="accent2"/>
                </a:solidFill>
              </a:defRPr>
            </a:lvl2pPr>
            <a:lvl3pPr marL="358784" indent="0">
              <a:buFont typeface="Arial" panose="020B0604020202020204" pitchFamily="34" charset="0"/>
              <a:buNone/>
              <a:defRPr sz="1800">
                <a:solidFill>
                  <a:schemeClr val="accent2"/>
                </a:solidFill>
              </a:defRPr>
            </a:lvl3pPr>
            <a:lvl4pPr marL="536589" indent="0">
              <a:buFont typeface="Arial" panose="020B0604020202020204" pitchFamily="34" charset="0"/>
              <a:buNone/>
              <a:defRPr sz="1800">
                <a:solidFill>
                  <a:schemeClr val="accent2"/>
                </a:solidFill>
              </a:defRPr>
            </a:lvl4pPr>
            <a:lvl5pPr marL="715980" indent="0">
              <a:buFont typeface="Arial" panose="020B0604020202020204" pitchFamily="34" charset="0"/>
              <a:buNone/>
              <a:defRPr sz="1800">
                <a:solidFill>
                  <a:schemeClr val="accent2"/>
                </a:solidFill>
              </a:defRPr>
            </a:lvl5pPr>
          </a:lstStyle>
          <a:p>
            <a:pPr lvl="0"/>
            <a:r>
              <a:rPr lang="en-US" dirty="0"/>
              <a:t>Click to add subtitle – max 1 line</a:t>
            </a:r>
          </a:p>
        </p:txBody>
      </p:sp>
      <p:sp>
        <p:nvSpPr>
          <p:cNvPr id="7" name="Content Placeholder 6"/>
          <p:cNvSpPr>
            <a:spLocks noGrp="1"/>
          </p:cNvSpPr>
          <p:nvPr>
            <p:ph sz="quarter" idx="15"/>
          </p:nvPr>
        </p:nvSpPr>
        <p:spPr>
          <a:xfrm>
            <a:off x="442913" y="1495104"/>
            <a:ext cx="11306175" cy="4634234"/>
          </a:xfrm>
        </p:spPr>
        <p:txBody>
          <a:bodyPr>
            <a:noAutofit/>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19">
            <a:extLst>
              <a:ext uri="{FF2B5EF4-FFF2-40B4-BE49-F238E27FC236}">
                <a16:creationId xmlns:a16="http://schemas.microsoft.com/office/drawing/2014/main" id="{C2DB0E73-29B5-922D-9659-581DEB154AB9}"/>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C3C584ED-C69B-2933-F56D-86806B7CF4C8}"/>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 name="Footer Placeholder 4">
            <a:extLst>
              <a:ext uri="{FF2B5EF4-FFF2-40B4-BE49-F238E27FC236}">
                <a16:creationId xmlns:a16="http://schemas.microsoft.com/office/drawing/2014/main" id="{7E2CFDD9-C1D7-8317-7C64-75A4FB33FAE6}"/>
              </a:ext>
            </a:extLst>
          </p:cNvPr>
          <p:cNvSpPr>
            <a:spLocks noGrp="1"/>
          </p:cNvSpPr>
          <p:nvPr>
            <p:ph type="ftr" sz="quarter" idx="16"/>
          </p:nvPr>
        </p:nvSpPr>
        <p:spPr/>
        <p:txBody>
          <a:bodyPr/>
          <a:lstStyle/>
          <a:p>
            <a:endParaRPr lang="en-GB"/>
          </a:p>
        </p:txBody>
      </p:sp>
    </p:spTree>
    <p:extLst>
      <p:ext uri="{BB962C8B-B14F-4D97-AF65-F5344CB8AC3E}">
        <p14:creationId xmlns:p14="http://schemas.microsoft.com/office/powerpoint/2010/main" val="1852653124"/>
      </p:ext>
    </p:extLst>
  </p:cSld>
  <p:clrMapOvr>
    <a:masterClrMapping/>
  </p:clrMapOvr>
  <p:extLst>
    <p:ext uri="{DCECCB84-F9BA-43D5-87BE-67443E8EF086}">
      <p15:sldGuideLst xmlns:p15="http://schemas.microsoft.com/office/powerpoint/2012/main">
        <p15:guide id="1" orient="horz" pos="93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CFF194EA-2E7A-44E9-8B33-43C36958B772}"/>
              </a:ext>
            </a:extLst>
          </p:cNvPr>
          <p:cNvSpPr>
            <a:spLocks noGrp="1"/>
          </p:cNvSpPr>
          <p:nvPr>
            <p:ph sz="quarter" idx="13"/>
          </p:nvPr>
        </p:nvSpPr>
        <p:spPr>
          <a:xfrm>
            <a:off x="442913" y="1219200"/>
            <a:ext cx="5384800"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ontent Placeholder 8">
            <a:extLst>
              <a:ext uri="{FF2B5EF4-FFF2-40B4-BE49-F238E27FC236}">
                <a16:creationId xmlns:a16="http://schemas.microsoft.com/office/drawing/2014/main" id="{5E896705-A6A9-4B8A-B4F7-D3EF16C44840}"/>
              </a:ext>
            </a:extLst>
          </p:cNvPr>
          <p:cNvSpPr>
            <a:spLocks noGrp="1"/>
          </p:cNvSpPr>
          <p:nvPr>
            <p:ph sz="quarter" idx="14"/>
          </p:nvPr>
        </p:nvSpPr>
        <p:spPr>
          <a:xfrm>
            <a:off x="6364288" y="1219200"/>
            <a:ext cx="5384800"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a:extLst>
              <a:ext uri="{FF2B5EF4-FFF2-40B4-BE49-F238E27FC236}">
                <a16:creationId xmlns:a16="http://schemas.microsoft.com/office/drawing/2014/main" id="{4A6467DD-1B5F-496A-8FBB-A8CF1D46C61A}"/>
              </a:ext>
            </a:extLst>
          </p:cNvPr>
          <p:cNvSpPr>
            <a:spLocks noGrp="1"/>
          </p:cNvSpPr>
          <p:nvPr>
            <p:ph type="title"/>
          </p:nvPr>
        </p:nvSpPr>
        <p:spPr/>
        <p:txBody>
          <a:bodyPr/>
          <a:lstStyle/>
          <a:p>
            <a:r>
              <a:rPr lang="en-US"/>
              <a:t>Click to edit Master title style</a:t>
            </a:r>
            <a:endParaRPr lang="en-US" dirty="0"/>
          </a:p>
        </p:txBody>
      </p:sp>
      <p:sp>
        <p:nvSpPr>
          <p:cNvPr id="5" name="Date Placeholder 19">
            <a:extLst>
              <a:ext uri="{FF2B5EF4-FFF2-40B4-BE49-F238E27FC236}">
                <a16:creationId xmlns:a16="http://schemas.microsoft.com/office/drawing/2014/main" id="{3B47828B-0587-8EBA-887B-EDE9ADF6F6D1}"/>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6" name="Slide Number Placeholder 20">
            <a:extLst>
              <a:ext uri="{FF2B5EF4-FFF2-40B4-BE49-F238E27FC236}">
                <a16:creationId xmlns:a16="http://schemas.microsoft.com/office/drawing/2014/main" id="{DBFAA4B4-90C1-26C5-6464-AE04965D7469}"/>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3" name="Footer Placeholder 2">
            <a:extLst>
              <a:ext uri="{FF2B5EF4-FFF2-40B4-BE49-F238E27FC236}">
                <a16:creationId xmlns:a16="http://schemas.microsoft.com/office/drawing/2014/main" id="{2060FC03-BF20-29CA-CB6D-A91CCC983DF7}"/>
              </a:ext>
            </a:extLst>
          </p:cNvPr>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3124700004"/>
      </p:ext>
    </p:extLst>
  </p:cSld>
  <p:clrMapOvr>
    <a:masterClrMapping/>
  </p:clrMapOvr>
  <p:extLst>
    <p:ext uri="{DCECCB84-F9BA-43D5-87BE-67443E8EF086}">
      <p15:sldGuideLst xmlns:p15="http://schemas.microsoft.com/office/powerpoint/2012/main">
        <p15:guide id="1" pos="3672">
          <p15:clr>
            <a:srgbClr val="FBAE40"/>
          </p15:clr>
        </p15:guide>
        <p15:guide id="2" pos="400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with headings">
    <p:spTree>
      <p:nvGrpSpPr>
        <p:cNvPr id="1" name=""/>
        <p:cNvGrpSpPr/>
        <p:nvPr/>
      </p:nvGrpSpPr>
      <p:grpSpPr>
        <a:xfrm>
          <a:off x="0" y="0"/>
          <a:ext cx="0" cy="0"/>
          <a:chOff x="0" y="0"/>
          <a:chExt cx="0" cy="0"/>
        </a:xfrm>
      </p:grpSpPr>
      <p:sp>
        <p:nvSpPr>
          <p:cNvPr id="10" name="Content Placeholder 8">
            <a:extLst>
              <a:ext uri="{FF2B5EF4-FFF2-40B4-BE49-F238E27FC236}">
                <a16:creationId xmlns:a16="http://schemas.microsoft.com/office/drawing/2014/main" id="{626175F9-DFB0-4C0C-9A83-FDE64C495CC6}"/>
              </a:ext>
            </a:extLst>
          </p:cNvPr>
          <p:cNvSpPr>
            <a:spLocks noGrp="1"/>
          </p:cNvSpPr>
          <p:nvPr>
            <p:ph sz="quarter" idx="13"/>
          </p:nvPr>
        </p:nvSpPr>
        <p:spPr>
          <a:xfrm>
            <a:off x="442913" y="1516856"/>
            <a:ext cx="5384800" cy="4612482"/>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8">
            <a:extLst>
              <a:ext uri="{FF2B5EF4-FFF2-40B4-BE49-F238E27FC236}">
                <a16:creationId xmlns:a16="http://schemas.microsoft.com/office/drawing/2014/main" id="{CE493A06-B38B-4B71-9CA5-FA1F92F99861}"/>
              </a:ext>
            </a:extLst>
          </p:cNvPr>
          <p:cNvSpPr>
            <a:spLocks noGrp="1"/>
          </p:cNvSpPr>
          <p:nvPr>
            <p:ph sz="quarter" idx="14"/>
          </p:nvPr>
        </p:nvSpPr>
        <p:spPr>
          <a:xfrm>
            <a:off x="6364289" y="1516856"/>
            <a:ext cx="5384800" cy="4612482"/>
          </a:xfr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14">
            <a:extLst>
              <a:ext uri="{FF2B5EF4-FFF2-40B4-BE49-F238E27FC236}">
                <a16:creationId xmlns:a16="http://schemas.microsoft.com/office/drawing/2014/main" id="{111653AB-3FA9-4785-B1D3-4C9FF62C0051}"/>
              </a:ext>
            </a:extLst>
          </p:cNvPr>
          <p:cNvSpPr>
            <a:spLocks noGrp="1"/>
          </p:cNvSpPr>
          <p:nvPr>
            <p:ph type="body" sz="quarter" idx="17"/>
          </p:nvPr>
        </p:nvSpPr>
        <p:spPr>
          <a:xfrm>
            <a:off x="442913" y="1219200"/>
            <a:ext cx="5384800" cy="221599"/>
          </a:xfrm>
        </p:spPr>
        <p:txBody>
          <a:bodyPr anchor="t">
            <a:noAutofit/>
          </a:bodyPr>
          <a:lstStyle>
            <a:lvl1pPr marL="0" indent="0">
              <a:lnSpc>
                <a:spcPct val="90000"/>
              </a:lnSpc>
              <a:spcBef>
                <a:spcPts val="600"/>
              </a:spcBef>
              <a:buNone/>
              <a:defRPr b="0">
                <a:solidFill>
                  <a:srgbClr val="00264E"/>
                </a:solidFill>
                <a:latin typeface="Playfair Display Black"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16" name="Text Placeholder 14">
            <a:extLst>
              <a:ext uri="{FF2B5EF4-FFF2-40B4-BE49-F238E27FC236}">
                <a16:creationId xmlns:a16="http://schemas.microsoft.com/office/drawing/2014/main" id="{AECDC1A3-0BF8-47E5-89E2-E0388384C57D}"/>
              </a:ext>
            </a:extLst>
          </p:cNvPr>
          <p:cNvSpPr>
            <a:spLocks noGrp="1"/>
          </p:cNvSpPr>
          <p:nvPr>
            <p:ph type="body" sz="quarter" idx="18"/>
          </p:nvPr>
        </p:nvSpPr>
        <p:spPr>
          <a:xfrm>
            <a:off x="6364289" y="1219200"/>
            <a:ext cx="5384800" cy="221599"/>
          </a:xfrm>
        </p:spPr>
        <p:txBody>
          <a:bodyPr anchor="t">
            <a:noAutofit/>
          </a:bodyPr>
          <a:lstStyle>
            <a:lvl1pPr marL="0" indent="0">
              <a:lnSpc>
                <a:spcPct val="90000"/>
              </a:lnSpc>
              <a:spcBef>
                <a:spcPts val="600"/>
              </a:spcBef>
              <a:buNone/>
              <a:defRPr b="0">
                <a:solidFill>
                  <a:srgbClr val="00264E"/>
                </a:solidFill>
                <a:latin typeface="Playfair Display Black"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2" name="Title 1">
            <a:extLst>
              <a:ext uri="{FF2B5EF4-FFF2-40B4-BE49-F238E27FC236}">
                <a16:creationId xmlns:a16="http://schemas.microsoft.com/office/drawing/2014/main" id="{3AD92700-BD49-4CF2-B9E3-C55F0F7C83F8}"/>
              </a:ext>
            </a:extLst>
          </p:cNvPr>
          <p:cNvSpPr>
            <a:spLocks noGrp="1"/>
          </p:cNvSpPr>
          <p:nvPr>
            <p:ph type="title"/>
          </p:nvPr>
        </p:nvSpPr>
        <p:spPr/>
        <p:txBody>
          <a:bodyPr/>
          <a:lstStyle/>
          <a:p>
            <a:r>
              <a:rPr lang="en-US"/>
              <a:t>Click to edit Master title style</a:t>
            </a:r>
            <a:endParaRPr lang="en-US" dirty="0"/>
          </a:p>
        </p:txBody>
      </p:sp>
      <p:sp>
        <p:nvSpPr>
          <p:cNvPr id="5" name="Date Placeholder 19">
            <a:extLst>
              <a:ext uri="{FF2B5EF4-FFF2-40B4-BE49-F238E27FC236}">
                <a16:creationId xmlns:a16="http://schemas.microsoft.com/office/drawing/2014/main" id="{D5484F62-D3D0-4E55-643A-00B0FB11EB87}"/>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6" name="Slide Number Placeholder 20">
            <a:extLst>
              <a:ext uri="{FF2B5EF4-FFF2-40B4-BE49-F238E27FC236}">
                <a16:creationId xmlns:a16="http://schemas.microsoft.com/office/drawing/2014/main" id="{265D5C37-85E7-4B11-4FAD-B589713DDD91}"/>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3" name="Footer Placeholder 2">
            <a:extLst>
              <a:ext uri="{FF2B5EF4-FFF2-40B4-BE49-F238E27FC236}">
                <a16:creationId xmlns:a16="http://schemas.microsoft.com/office/drawing/2014/main" id="{782E5E54-4B44-6E16-2310-407733575DC3}"/>
              </a:ext>
            </a:extLst>
          </p:cNvPr>
          <p:cNvSpPr>
            <a:spLocks noGrp="1"/>
          </p:cNvSpPr>
          <p:nvPr>
            <p:ph type="ftr" sz="quarter" idx="19"/>
          </p:nvPr>
        </p:nvSpPr>
        <p:spPr/>
        <p:txBody>
          <a:bodyPr/>
          <a:lstStyle/>
          <a:p>
            <a:endParaRPr lang="en-GB"/>
          </a:p>
        </p:txBody>
      </p:sp>
    </p:spTree>
    <p:extLst>
      <p:ext uri="{BB962C8B-B14F-4D97-AF65-F5344CB8AC3E}">
        <p14:creationId xmlns:p14="http://schemas.microsoft.com/office/powerpoint/2010/main" val="3585266664"/>
      </p:ext>
    </p:extLst>
  </p:cSld>
  <p:clrMapOvr>
    <a:masterClrMapping/>
  </p:clrMapOvr>
  <p:extLst>
    <p:ext uri="{DCECCB84-F9BA-43D5-87BE-67443E8EF086}">
      <p15:sldGuideLst xmlns:p15="http://schemas.microsoft.com/office/powerpoint/2012/main">
        <p15:guide id="1" pos="3672">
          <p15:clr>
            <a:srgbClr val="FBAE40"/>
          </p15:clr>
        </p15:guide>
        <p15:guide id="2" pos="400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_White logo">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90A70F0-0D66-E30E-ABE2-832F4257DB3C}"/>
              </a:ext>
            </a:extLst>
          </p:cNvPr>
          <p:cNvGraphicFramePr>
            <a:graphicFrameLocks noChangeAspect="1"/>
          </p:cNvGraphicFramePr>
          <p:nvPr userDrawn="1">
            <p:custDataLst>
              <p:tags r:id="rId1"/>
            </p:custDataLst>
            <p:extLst>
              <p:ext uri="{D42A27DB-BD31-4B8C-83A1-F6EECF244321}">
                <p14:modId xmlns:p14="http://schemas.microsoft.com/office/powerpoint/2010/main" val="3906449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think-cell data - do not delete" hidden="1">
                        <a:extLst>
                          <a:ext uri="{FF2B5EF4-FFF2-40B4-BE49-F238E27FC236}">
                            <a16:creationId xmlns:a16="http://schemas.microsoft.com/office/drawing/2014/main" id="{290A70F0-0D66-E30E-ABE2-832F4257DB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ADA750E9-3CE5-45DE-B0E3-9357B1119808}"/>
              </a:ext>
            </a:extLst>
          </p:cNvPr>
          <p:cNvSpPr/>
          <p:nvPr userDrawn="1"/>
        </p:nvSpPr>
        <p:spPr>
          <a:xfrm>
            <a:off x="0" y="6308725"/>
            <a:ext cx="1279525" cy="549275"/>
          </a:xfrm>
          <a:prstGeom prst="rect">
            <a:avLst/>
          </a:pr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14" name="Picture Placeholder 13">
            <a:extLst>
              <a:ext uri="{FF2B5EF4-FFF2-40B4-BE49-F238E27FC236}">
                <a16:creationId xmlns:a16="http://schemas.microsoft.com/office/drawing/2014/main" id="{F17ACFB9-2EDF-4944-A0E9-5A9584F12CDE}"/>
              </a:ext>
            </a:extLst>
          </p:cNvPr>
          <p:cNvSpPr>
            <a:spLocks noGrp="1"/>
          </p:cNvSpPr>
          <p:nvPr>
            <p:ph type="pic" sz="quarter" idx="13"/>
          </p:nvPr>
        </p:nvSpPr>
        <p:spPr>
          <a:xfrm>
            <a:off x="0" y="0"/>
            <a:ext cx="12192000" cy="6858000"/>
          </a:xfrm>
          <a:custGeom>
            <a:avLst/>
            <a:gdLst>
              <a:gd name="connsiteX0" fmla="*/ 811590 w 12192000"/>
              <a:gd name="connsiteY0" fmla="*/ 6423839 h 6858000"/>
              <a:gd name="connsiteX1" fmla="*/ 812551 w 12192000"/>
              <a:gd name="connsiteY1" fmla="*/ 6425983 h 6858000"/>
              <a:gd name="connsiteX2" fmla="*/ 842986 w 12192000"/>
              <a:gd name="connsiteY2" fmla="*/ 6528784 h 6858000"/>
              <a:gd name="connsiteX3" fmla="*/ 842084 w 12192000"/>
              <a:gd name="connsiteY3" fmla="*/ 6530809 h 6858000"/>
              <a:gd name="connsiteX4" fmla="*/ 841381 w 12192000"/>
              <a:gd name="connsiteY4" fmla="*/ 6530906 h 6858000"/>
              <a:gd name="connsiteX5" fmla="*/ 781809 w 12192000"/>
              <a:gd name="connsiteY5" fmla="*/ 6530906 h 6858000"/>
              <a:gd name="connsiteX6" fmla="*/ 780110 w 12192000"/>
              <a:gd name="connsiteY6" fmla="*/ 6529469 h 6858000"/>
              <a:gd name="connsiteX7" fmla="*/ 780205 w 12192000"/>
              <a:gd name="connsiteY7" fmla="*/ 6528784 h 6858000"/>
              <a:gd name="connsiteX8" fmla="*/ 810640 w 12192000"/>
              <a:gd name="connsiteY8" fmla="*/ 6425983 h 6858000"/>
              <a:gd name="connsiteX9" fmla="*/ 811590 w 12192000"/>
              <a:gd name="connsiteY9" fmla="*/ 6423839 h 6858000"/>
              <a:gd name="connsiteX10" fmla="*/ 587691 w 12192000"/>
              <a:gd name="connsiteY10" fmla="*/ 6423839 h 6858000"/>
              <a:gd name="connsiteX11" fmla="*/ 588641 w 12192000"/>
              <a:gd name="connsiteY11" fmla="*/ 6425983 h 6858000"/>
              <a:gd name="connsiteX12" fmla="*/ 619077 w 12192000"/>
              <a:gd name="connsiteY12" fmla="*/ 6528784 h 6858000"/>
              <a:gd name="connsiteX13" fmla="*/ 618198 w 12192000"/>
              <a:gd name="connsiteY13" fmla="*/ 6530804 h 6858000"/>
              <a:gd name="connsiteX14" fmla="*/ 617483 w 12192000"/>
              <a:gd name="connsiteY14" fmla="*/ 6530906 h 6858000"/>
              <a:gd name="connsiteX15" fmla="*/ 557911 w 12192000"/>
              <a:gd name="connsiteY15" fmla="*/ 6530906 h 6858000"/>
              <a:gd name="connsiteX16" fmla="*/ 556210 w 12192000"/>
              <a:gd name="connsiteY16" fmla="*/ 6529478 h 6858000"/>
              <a:gd name="connsiteX17" fmla="*/ 556306 w 12192000"/>
              <a:gd name="connsiteY17" fmla="*/ 6528784 h 6858000"/>
              <a:gd name="connsiteX18" fmla="*/ 586752 w 12192000"/>
              <a:gd name="connsiteY18" fmla="*/ 6425983 h 6858000"/>
              <a:gd name="connsiteX19" fmla="*/ 587691 w 12192000"/>
              <a:gd name="connsiteY19" fmla="*/ 6423839 h 6858000"/>
              <a:gd name="connsiteX20" fmla="*/ 543817 w 12192000"/>
              <a:gd name="connsiteY20" fmla="*/ 6352465 h 6858000"/>
              <a:gd name="connsiteX21" fmla="*/ 540861 w 12192000"/>
              <a:gd name="connsiteY21" fmla="*/ 6354577 h 6858000"/>
              <a:gd name="connsiteX22" fmla="*/ 443053 w 12192000"/>
              <a:gd name="connsiteY22" fmla="*/ 6633486 h 6858000"/>
              <a:gd name="connsiteX23" fmla="*/ 443767 w 12192000"/>
              <a:gd name="connsiteY23" fmla="*/ 6635455 h 6858000"/>
              <a:gd name="connsiteX24" fmla="*/ 444542 w 12192000"/>
              <a:gd name="connsiteY24" fmla="*/ 6635587 h 6858000"/>
              <a:gd name="connsiteX25" fmla="*/ 521743 w 12192000"/>
              <a:gd name="connsiteY25" fmla="*/ 6635587 h 6858000"/>
              <a:gd name="connsiteX26" fmla="*/ 524604 w 12192000"/>
              <a:gd name="connsiteY26" fmla="*/ 6633454 h 6858000"/>
              <a:gd name="connsiteX27" fmla="*/ 537103 w 12192000"/>
              <a:gd name="connsiteY27" fmla="*/ 6591713 h 6858000"/>
              <a:gd name="connsiteX28" fmla="*/ 539975 w 12192000"/>
              <a:gd name="connsiteY28" fmla="*/ 6589581 h 6858000"/>
              <a:gd name="connsiteX29" fmla="*/ 635419 w 12192000"/>
              <a:gd name="connsiteY29" fmla="*/ 6589581 h 6858000"/>
              <a:gd name="connsiteX30" fmla="*/ 638279 w 12192000"/>
              <a:gd name="connsiteY30" fmla="*/ 6591713 h 6858000"/>
              <a:gd name="connsiteX31" fmla="*/ 650789 w 12192000"/>
              <a:gd name="connsiteY31" fmla="*/ 6633454 h 6858000"/>
              <a:gd name="connsiteX32" fmla="*/ 653650 w 12192000"/>
              <a:gd name="connsiteY32" fmla="*/ 6635587 h 6858000"/>
              <a:gd name="connsiteX33" fmla="*/ 745642 w 12192000"/>
              <a:gd name="connsiteY33" fmla="*/ 6635587 h 6858000"/>
              <a:gd name="connsiteX34" fmla="*/ 748502 w 12192000"/>
              <a:gd name="connsiteY34" fmla="*/ 6633454 h 6858000"/>
              <a:gd name="connsiteX35" fmla="*/ 761012 w 12192000"/>
              <a:gd name="connsiteY35" fmla="*/ 6591713 h 6858000"/>
              <a:gd name="connsiteX36" fmla="*/ 763873 w 12192000"/>
              <a:gd name="connsiteY36" fmla="*/ 6589581 h 6858000"/>
              <a:gd name="connsiteX37" fmla="*/ 859328 w 12192000"/>
              <a:gd name="connsiteY37" fmla="*/ 6589581 h 6858000"/>
              <a:gd name="connsiteX38" fmla="*/ 862189 w 12192000"/>
              <a:gd name="connsiteY38" fmla="*/ 6591713 h 6858000"/>
              <a:gd name="connsiteX39" fmla="*/ 874677 w 12192000"/>
              <a:gd name="connsiteY39" fmla="*/ 6633454 h 6858000"/>
              <a:gd name="connsiteX40" fmla="*/ 877538 w 12192000"/>
              <a:gd name="connsiteY40" fmla="*/ 6635587 h 6858000"/>
              <a:gd name="connsiteX41" fmla="*/ 1009888 w 12192000"/>
              <a:gd name="connsiteY41" fmla="*/ 6635587 h 6858000"/>
              <a:gd name="connsiteX42" fmla="*/ 1012126 w 12192000"/>
              <a:gd name="connsiteY42" fmla="*/ 6633359 h 6858000"/>
              <a:gd name="connsiteX43" fmla="*/ 1012126 w 12192000"/>
              <a:gd name="connsiteY43" fmla="*/ 6558121 h 6858000"/>
              <a:gd name="connsiteX44" fmla="*/ 1013678 w 12192000"/>
              <a:gd name="connsiteY44" fmla="*/ 6554289 h 6858000"/>
              <a:gd name="connsiteX45" fmla="*/ 1042910 w 12192000"/>
              <a:gd name="connsiteY45" fmla="*/ 6524182 h 6858000"/>
              <a:gd name="connsiteX46" fmla="*/ 1045265 w 12192000"/>
              <a:gd name="connsiteY46" fmla="*/ 6523986 h 6858000"/>
              <a:gd name="connsiteX47" fmla="*/ 1045655 w 12192000"/>
              <a:gd name="connsiteY47" fmla="*/ 6524467 h 6858000"/>
              <a:gd name="connsiteX48" fmla="*/ 1114041 w 12192000"/>
              <a:gd name="connsiteY48" fmla="*/ 6633698 h 6858000"/>
              <a:gd name="connsiteX49" fmla="*/ 1117542 w 12192000"/>
              <a:gd name="connsiteY49" fmla="*/ 6635587 h 6858000"/>
              <a:gd name="connsiteX50" fmla="*/ 1214827 w 12192000"/>
              <a:gd name="connsiteY50" fmla="*/ 6635587 h 6858000"/>
              <a:gd name="connsiteX51" fmla="*/ 1215840 w 12192000"/>
              <a:gd name="connsiteY51" fmla="*/ 6633718 h 6858000"/>
              <a:gd name="connsiteX52" fmla="*/ 1106842 w 12192000"/>
              <a:gd name="connsiteY52" fmla="*/ 6465760 h 6858000"/>
              <a:gd name="connsiteX53" fmla="*/ 1107148 w 12192000"/>
              <a:gd name="connsiteY53" fmla="*/ 6462277 h 6858000"/>
              <a:gd name="connsiteX54" fmla="*/ 1207532 w 12192000"/>
              <a:gd name="connsiteY54" fmla="*/ 6354102 h 6858000"/>
              <a:gd name="connsiteX55" fmla="*/ 1206825 w 12192000"/>
              <a:gd name="connsiteY55" fmla="*/ 6352465 h 6858000"/>
              <a:gd name="connsiteX56" fmla="*/ 1109766 w 12192000"/>
              <a:gd name="connsiteY56" fmla="*/ 6352465 h 6858000"/>
              <a:gd name="connsiteX57" fmla="*/ 1106092 w 12192000"/>
              <a:gd name="connsiteY57" fmla="*/ 6354165 h 6858000"/>
              <a:gd name="connsiteX58" fmla="*/ 1013573 w 12192000"/>
              <a:gd name="connsiteY58" fmla="*/ 6461812 h 6858000"/>
              <a:gd name="connsiteX59" fmla="*/ 1012126 w 12192000"/>
              <a:gd name="connsiteY59" fmla="*/ 6461263 h 6858000"/>
              <a:gd name="connsiteX60" fmla="*/ 1012126 w 12192000"/>
              <a:gd name="connsiteY60" fmla="*/ 6354693 h 6858000"/>
              <a:gd name="connsiteX61" fmla="*/ 1009888 w 12192000"/>
              <a:gd name="connsiteY61" fmla="*/ 6352465 h 6858000"/>
              <a:gd name="connsiteX62" fmla="*/ 938134 w 12192000"/>
              <a:gd name="connsiteY62" fmla="*/ 6352465 h 6858000"/>
              <a:gd name="connsiteX63" fmla="*/ 935917 w 12192000"/>
              <a:gd name="connsiteY63" fmla="*/ 6354693 h 6858000"/>
              <a:gd name="connsiteX64" fmla="*/ 935917 w 12192000"/>
              <a:gd name="connsiteY64" fmla="*/ 6531687 h 6858000"/>
              <a:gd name="connsiteX65" fmla="*/ 954581 w 12192000"/>
              <a:gd name="connsiteY65" fmla="*/ 6580597 h 6858000"/>
              <a:gd name="connsiteX66" fmla="*/ 932169 w 12192000"/>
              <a:gd name="connsiteY66" fmla="*/ 6622233 h 6858000"/>
              <a:gd name="connsiteX67" fmla="*/ 909641 w 12192000"/>
              <a:gd name="connsiteY67" fmla="*/ 6578211 h 6858000"/>
              <a:gd name="connsiteX68" fmla="*/ 909641 w 12192000"/>
              <a:gd name="connsiteY68" fmla="*/ 6499616 h 6858000"/>
              <a:gd name="connsiteX69" fmla="*/ 859391 w 12192000"/>
              <a:gd name="connsiteY69" fmla="*/ 6354587 h 6858000"/>
              <a:gd name="connsiteX70" fmla="*/ 856435 w 12192000"/>
              <a:gd name="connsiteY70" fmla="*/ 6352465 h 6858000"/>
              <a:gd name="connsiteX71" fmla="*/ 767716 w 12192000"/>
              <a:gd name="connsiteY71" fmla="*/ 6352465 h 6858000"/>
              <a:gd name="connsiteX72" fmla="*/ 764760 w 12192000"/>
              <a:gd name="connsiteY72" fmla="*/ 6354577 h 6858000"/>
              <a:gd name="connsiteX73" fmla="*/ 700543 w 12192000"/>
              <a:gd name="connsiteY73" fmla="*/ 6537684 h 6858000"/>
              <a:gd name="connsiteX74" fmla="*/ 699087 w 12192000"/>
              <a:gd name="connsiteY74" fmla="*/ 6537684 h 6858000"/>
              <a:gd name="connsiteX75" fmla="*/ 635482 w 12192000"/>
              <a:gd name="connsiteY75" fmla="*/ 6354587 h 6858000"/>
              <a:gd name="connsiteX76" fmla="*/ 632526 w 12192000"/>
              <a:gd name="connsiteY76" fmla="*/ 6352465 h 6858000"/>
              <a:gd name="connsiteX77" fmla="*/ 0 w 12192000"/>
              <a:gd name="connsiteY77" fmla="*/ 0 h 6858000"/>
              <a:gd name="connsiteX78" fmla="*/ 12192000 w 12192000"/>
              <a:gd name="connsiteY78" fmla="*/ 0 h 6858000"/>
              <a:gd name="connsiteX79" fmla="*/ 12192000 w 12192000"/>
              <a:gd name="connsiteY79" fmla="*/ 6858000 h 6858000"/>
              <a:gd name="connsiteX80" fmla="*/ 0 w 12192000"/>
              <a:gd name="connsiteY8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2192000" h="6858000">
                <a:moveTo>
                  <a:pt x="811590" y="6423839"/>
                </a:moveTo>
                <a:cubicBezTo>
                  <a:pt x="811780" y="6423840"/>
                  <a:pt x="812213" y="6424811"/>
                  <a:pt x="812551" y="6425983"/>
                </a:cubicBezTo>
                <a:lnTo>
                  <a:pt x="842986" y="6528784"/>
                </a:lnTo>
                <a:cubicBezTo>
                  <a:pt x="843296" y="6529592"/>
                  <a:pt x="842892" y="6530499"/>
                  <a:pt x="842084" y="6530809"/>
                </a:cubicBezTo>
                <a:cubicBezTo>
                  <a:pt x="841861" y="6530894"/>
                  <a:pt x="841620" y="6530928"/>
                  <a:pt x="841381" y="6530906"/>
                </a:cubicBezTo>
                <a:lnTo>
                  <a:pt x="781809" y="6530906"/>
                </a:lnTo>
                <a:cubicBezTo>
                  <a:pt x="780943" y="6530979"/>
                  <a:pt x="780182" y="6530335"/>
                  <a:pt x="780110" y="6529469"/>
                </a:cubicBezTo>
                <a:cubicBezTo>
                  <a:pt x="780090" y="6529236"/>
                  <a:pt x="780123" y="6529003"/>
                  <a:pt x="780205" y="6528784"/>
                </a:cubicBezTo>
                <a:lnTo>
                  <a:pt x="810640" y="6425983"/>
                </a:lnTo>
                <a:cubicBezTo>
                  <a:pt x="810784" y="6425203"/>
                  <a:pt x="811109" y="6424469"/>
                  <a:pt x="811590" y="6423839"/>
                </a:cubicBezTo>
                <a:close/>
                <a:moveTo>
                  <a:pt x="587691" y="6423839"/>
                </a:moveTo>
                <a:cubicBezTo>
                  <a:pt x="588172" y="6424469"/>
                  <a:pt x="588498" y="6425203"/>
                  <a:pt x="588641" y="6425983"/>
                </a:cubicBezTo>
                <a:lnTo>
                  <a:pt x="619077" y="6528784"/>
                </a:lnTo>
                <a:cubicBezTo>
                  <a:pt x="619392" y="6529585"/>
                  <a:pt x="618999" y="6530489"/>
                  <a:pt x="618198" y="6530804"/>
                </a:cubicBezTo>
                <a:cubicBezTo>
                  <a:pt x="617971" y="6530894"/>
                  <a:pt x="617726" y="6530929"/>
                  <a:pt x="617483" y="6530906"/>
                </a:cubicBezTo>
                <a:lnTo>
                  <a:pt x="557911" y="6530906"/>
                </a:lnTo>
                <a:cubicBezTo>
                  <a:pt x="557047" y="6530981"/>
                  <a:pt x="556285" y="6530342"/>
                  <a:pt x="556210" y="6529478"/>
                </a:cubicBezTo>
                <a:cubicBezTo>
                  <a:pt x="556189" y="6529243"/>
                  <a:pt x="556222" y="6529005"/>
                  <a:pt x="556306" y="6528784"/>
                </a:cubicBezTo>
                <a:lnTo>
                  <a:pt x="586752" y="6425983"/>
                </a:lnTo>
                <a:cubicBezTo>
                  <a:pt x="586899" y="6425207"/>
                  <a:pt x="587221" y="6424474"/>
                  <a:pt x="587691" y="6423839"/>
                </a:cubicBezTo>
                <a:close/>
                <a:moveTo>
                  <a:pt x="543817" y="6352465"/>
                </a:moveTo>
                <a:cubicBezTo>
                  <a:pt x="542502" y="6352525"/>
                  <a:pt x="541345" y="6353352"/>
                  <a:pt x="540861" y="6354577"/>
                </a:cubicBezTo>
                <a:lnTo>
                  <a:pt x="443053" y="6633486"/>
                </a:lnTo>
                <a:cubicBezTo>
                  <a:pt x="442706" y="6634227"/>
                  <a:pt x="443026" y="6635108"/>
                  <a:pt x="443767" y="6635455"/>
                </a:cubicBezTo>
                <a:cubicBezTo>
                  <a:pt x="444008" y="6635568"/>
                  <a:pt x="444276" y="6635614"/>
                  <a:pt x="444542" y="6635587"/>
                </a:cubicBezTo>
                <a:lnTo>
                  <a:pt x="521743" y="6635587"/>
                </a:lnTo>
                <a:cubicBezTo>
                  <a:pt x="523044" y="6635530"/>
                  <a:pt x="524178" y="6634685"/>
                  <a:pt x="524604" y="6633454"/>
                </a:cubicBezTo>
                <a:lnTo>
                  <a:pt x="537103" y="6591713"/>
                </a:lnTo>
                <a:cubicBezTo>
                  <a:pt x="537532" y="6590480"/>
                  <a:pt x="538670" y="6589634"/>
                  <a:pt x="539975" y="6589581"/>
                </a:cubicBezTo>
                <a:lnTo>
                  <a:pt x="635419" y="6589581"/>
                </a:lnTo>
                <a:cubicBezTo>
                  <a:pt x="636718" y="6589641"/>
                  <a:pt x="637850" y="6590485"/>
                  <a:pt x="638279" y="6591713"/>
                </a:cubicBezTo>
                <a:lnTo>
                  <a:pt x="650789" y="6633454"/>
                </a:lnTo>
                <a:cubicBezTo>
                  <a:pt x="651218" y="6634683"/>
                  <a:pt x="652350" y="6635527"/>
                  <a:pt x="653650" y="6635587"/>
                </a:cubicBezTo>
                <a:lnTo>
                  <a:pt x="745642" y="6635587"/>
                </a:lnTo>
                <a:cubicBezTo>
                  <a:pt x="746942" y="6635530"/>
                  <a:pt x="748076" y="6634685"/>
                  <a:pt x="748502" y="6633454"/>
                </a:cubicBezTo>
                <a:lnTo>
                  <a:pt x="761012" y="6591713"/>
                </a:lnTo>
                <a:cubicBezTo>
                  <a:pt x="761433" y="6590479"/>
                  <a:pt x="762570" y="6589631"/>
                  <a:pt x="763873" y="6589581"/>
                </a:cubicBezTo>
                <a:lnTo>
                  <a:pt x="859328" y="6589581"/>
                </a:lnTo>
                <a:cubicBezTo>
                  <a:pt x="860627" y="6589641"/>
                  <a:pt x="861759" y="6590485"/>
                  <a:pt x="862189" y="6591713"/>
                </a:cubicBezTo>
                <a:lnTo>
                  <a:pt x="874677" y="6633454"/>
                </a:lnTo>
                <a:cubicBezTo>
                  <a:pt x="875108" y="6634681"/>
                  <a:pt x="876240" y="6635524"/>
                  <a:pt x="877538" y="6635587"/>
                </a:cubicBezTo>
                <a:lnTo>
                  <a:pt x="1009888" y="6635587"/>
                </a:lnTo>
                <a:cubicBezTo>
                  <a:pt x="1011119" y="6635584"/>
                  <a:pt x="1012118" y="6634590"/>
                  <a:pt x="1012126" y="6633359"/>
                </a:cubicBezTo>
                <a:lnTo>
                  <a:pt x="1012126" y="6558121"/>
                </a:lnTo>
                <a:cubicBezTo>
                  <a:pt x="1012196" y="6556706"/>
                  <a:pt x="1012743" y="6555355"/>
                  <a:pt x="1013678" y="6554289"/>
                </a:cubicBezTo>
                <a:lnTo>
                  <a:pt x="1042910" y="6524182"/>
                </a:lnTo>
                <a:cubicBezTo>
                  <a:pt x="1043506" y="6523478"/>
                  <a:pt x="1044560" y="6523390"/>
                  <a:pt x="1045265" y="6523986"/>
                </a:cubicBezTo>
                <a:cubicBezTo>
                  <a:pt x="1045423" y="6524121"/>
                  <a:pt x="1045555" y="6524284"/>
                  <a:pt x="1045655" y="6524467"/>
                </a:cubicBezTo>
                <a:lnTo>
                  <a:pt x="1114041" y="6633698"/>
                </a:lnTo>
                <a:cubicBezTo>
                  <a:pt x="1114797" y="6634897"/>
                  <a:pt x="1116125" y="6635613"/>
                  <a:pt x="1117542" y="6635587"/>
                </a:cubicBezTo>
                <a:lnTo>
                  <a:pt x="1214827" y="6635587"/>
                </a:lnTo>
                <a:cubicBezTo>
                  <a:pt x="1216062" y="6635587"/>
                  <a:pt x="1216516" y="6634743"/>
                  <a:pt x="1215840" y="6633718"/>
                </a:cubicBezTo>
                <a:lnTo>
                  <a:pt x="1106842" y="6465760"/>
                </a:lnTo>
                <a:cubicBezTo>
                  <a:pt x="1106173" y="6464657"/>
                  <a:pt x="1106296" y="6463247"/>
                  <a:pt x="1107148" y="6462277"/>
                </a:cubicBezTo>
                <a:lnTo>
                  <a:pt x="1207532" y="6354102"/>
                </a:lnTo>
                <a:cubicBezTo>
                  <a:pt x="1208366" y="6353204"/>
                  <a:pt x="1208049" y="6352465"/>
                  <a:pt x="1206825" y="6352465"/>
                </a:cubicBezTo>
                <a:lnTo>
                  <a:pt x="1109766" y="6352465"/>
                </a:lnTo>
                <a:cubicBezTo>
                  <a:pt x="1108370" y="6352546"/>
                  <a:pt x="1107057" y="6353153"/>
                  <a:pt x="1106092" y="6354165"/>
                </a:cubicBezTo>
                <a:lnTo>
                  <a:pt x="1013573" y="6461812"/>
                </a:lnTo>
                <a:cubicBezTo>
                  <a:pt x="1012770" y="6462741"/>
                  <a:pt x="1012126" y="6462488"/>
                  <a:pt x="1012126" y="6461263"/>
                </a:cubicBezTo>
                <a:lnTo>
                  <a:pt x="1012126" y="6354693"/>
                </a:lnTo>
                <a:cubicBezTo>
                  <a:pt x="1012117" y="6353462"/>
                  <a:pt x="1011119" y="6352468"/>
                  <a:pt x="1009888" y="6352465"/>
                </a:cubicBezTo>
                <a:lnTo>
                  <a:pt x="938134" y="6352465"/>
                </a:lnTo>
                <a:cubicBezTo>
                  <a:pt x="936911" y="6352478"/>
                  <a:pt x="935923" y="6353469"/>
                  <a:pt x="935917" y="6354693"/>
                </a:cubicBezTo>
                <a:lnTo>
                  <a:pt x="935917" y="6531687"/>
                </a:lnTo>
                <a:cubicBezTo>
                  <a:pt x="935526" y="6564445"/>
                  <a:pt x="942853" y="6560317"/>
                  <a:pt x="954581" y="6580597"/>
                </a:cubicBezTo>
                <a:cubicBezTo>
                  <a:pt x="964198" y="6597192"/>
                  <a:pt x="955996" y="6620596"/>
                  <a:pt x="932169" y="6622233"/>
                </a:cubicBezTo>
                <a:cubicBezTo>
                  <a:pt x="912291" y="6623605"/>
                  <a:pt x="894798" y="6600940"/>
                  <a:pt x="909641" y="6578211"/>
                </a:cubicBezTo>
                <a:cubicBezTo>
                  <a:pt x="925318" y="6554247"/>
                  <a:pt x="931895" y="6565342"/>
                  <a:pt x="909641" y="6499616"/>
                </a:cubicBezTo>
                <a:lnTo>
                  <a:pt x="859391" y="6354587"/>
                </a:lnTo>
                <a:cubicBezTo>
                  <a:pt x="858913" y="6353357"/>
                  <a:pt x="857754" y="6352525"/>
                  <a:pt x="856435" y="6352465"/>
                </a:cubicBezTo>
                <a:lnTo>
                  <a:pt x="767716" y="6352465"/>
                </a:lnTo>
                <a:cubicBezTo>
                  <a:pt x="766401" y="6352525"/>
                  <a:pt x="765243" y="6353352"/>
                  <a:pt x="764760" y="6354577"/>
                </a:cubicBezTo>
                <a:lnTo>
                  <a:pt x="700543" y="6537684"/>
                </a:lnTo>
                <a:cubicBezTo>
                  <a:pt x="700132" y="6538845"/>
                  <a:pt x="699477" y="6538845"/>
                  <a:pt x="699087" y="6537684"/>
                </a:cubicBezTo>
                <a:lnTo>
                  <a:pt x="635482" y="6354587"/>
                </a:lnTo>
                <a:cubicBezTo>
                  <a:pt x="635004" y="6353357"/>
                  <a:pt x="633844" y="6352525"/>
                  <a:pt x="632526" y="6352465"/>
                </a:cubicBezTo>
                <a:close/>
                <a:moveTo>
                  <a:pt x="0" y="0"/>
                </a:moveTo>
                <a:lnTo>
                  <a:pt x="12192000" y="0"/>
                </a:lnTo>
                <a:lnTo>
                  <a:pt x="12192000" y="6858000"/>
                </a:lnTo>
                <a:lnTo>
                  <a:pt x="0" y="6858000"/>
                </a:lnTo>
                <a:close/>
              </a:path>
            </a:pathLst>
          </a:custGeom>
          <a:solidFill>
            <a:schemeClr val="bg1">
              <a:lumMod val="85000"/>
            </a:schemeClr>
          </a:solidFill>
          <a:ln>
            <a:noFill/>
          </a:ln>
        </p:spPr>
        <p:txBody>
          <a:bodyPr wrap="square" lIns="0" tIns="3708000">
            <a:noAutofit/>
          </a:bodyPr>
          <a:lstStyle>
            <a:lvl1pPr marL="0" indent="0" algn="ctr">
              <a:buNone/>
              <a:defRPr i="1">
                <a:solidFill>
                  <a:schemeClr val="tx2"/>
                </a:solidFill>
              </a:defRPr>
            </a:lvl1pPr>
          </a:lstStyle>
          <a:p>
            <a:r>
              <a:rPr lang="en-US"/>
              <a:t>Click icon to add picture</a:t>
            </a:r>
            <a:endParaRPr lang="en-US" dirty="0"/>
          </a:p>
        </p:txBody>
      </p:sp>
      <p:sp>
        <p:nvSpPr>
          <p:cNvPr id="2" name="Title 1"/>
          <p:cNvSpPr>
            <a:spLocks noGrp="1"/>
          </p:cNvSpPr>
          <p:nvPr>
            <p:ph type="ctrTitle" hasCustomPrompt="1"/>
          </p:nvPr>
        </p:nvSpPr>
        <p:spPr>
          <a:xfrm>
            <a:off x="457200" y="998538"/>
            <a:ext cx="10637838" cy="1661993"/>
          </a:xfrm>
        </p:spPr>
        <p:txBody>
          <a:bodyPr vert="horz" lIns="0" tIns="0" rIns="0" bIns="0" rtlCol="0" anchor="b">
            <a:noAutofit/>
          </a:bodyPr>
          <a:lstStyle>
            <a:lvl1pPr>
              <a:defRPr lang="en-US" sz="6000" noProof="0" dirty="0">
                <a:solidFill>
                  <a:schemeClr val="bg1"/>
                </a:solidFill>
                <a:latin typeface="Playfair Display Black" pitchFamily="2" charset="0"/>
              </a:defRPr>
            </a:lvl1pPr>
          </a:lstStyle>
          <a:p>
            <a:pPr lvl="0"/>
            <a:r>
              <a:rPr lang="en-US" noProof="0" dirty="0"/>
              <a:t>Click to add slide title</a:t>
            </a:r>
          </a:p>
        </p:txBody>
      </p:sp>
      <p:sp>
        <p:nvSpPr>
          <p:cNvPr id="17" name="Date Placeholder 19">
            <a:extLst>
              <a:ext uri="{FF2B5EF4-FFF2-40B4-BE49-F238E27FC236}">
                <a16:creationId xmlns:a16="http://schemas.microsoft.com/office/drawing/2014/main" id="{7872CEA6-5EF6-165D-8403-233463D0994D}"/>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chemeClr val="bg1"/>
                </a:solidFill>
              </a:defRPr>
            </a:lvl1pPr>
          </a:lstStyle>
          <a:p>
            <a:fld id="{684B2894-3B84-4879-8F4C-FB2CBD9FC7AC}" type="datetimeFigureOut">
              <a:rPr lang="en-GB" smtClean="0"/>
              <a:pPr/>
              <a:t>18/06/2025</a:t>
            </a:fld>
            <a:endParaRPr lang="en-GB" dirty="0"/>
          </a:p>
        </p:txBody>
      </p:sp>
      <p:sp>
        <p:nvSpPr>
          <p:cNvPr id="18" name="Slide Number Placeholder 20">
            <a:extLst>
              <a:ext uri="{FF2B5EF4-FFF2-40B4-BE49-F238E27FC236}">
                <a16:creationId xmlns:a16="http://schemas.microsoft.com/office/drawing/2014/main" id="{2457E5B6-2CAC-BAD7-099E-23366E453542}"/>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chemeClr val="bg1"/>
                </a:solidFill>
              </a:defRPr>
            </a:lvl1pPr>
          </a:lstStyle>
          <a:p>
            <a:pPr algn="r"/>
            <a:fld id="{EDF3706E-DB9C-4B59-A485-1194C2A6AD28}" type="slidenum">
              <a:rPr lang="en-GB" smtClean="0"/>
              <a:pPr algn="r"/>
              <a:t>‹#›</a:t>
            </a:fld>
            <a:endParaRPr lang="en-GB"/>
          </a:p>
        </p:txBody>
      </p:sp>
      <p:sp>
        <p:nvSpPr>
          <p:cNvPr id="6" name="Text Placeholder 4">
            <a:extLst>
              <a:ext uri="{FF2B5EF4-FFF2-40B4-BE49-F238E27FC236}">
                <a16:creationId xmlns:a16="http://schemas.microsoft.com/office/drawing/2014/main" id="{49BBB778-99D0-F081-51C7-BC0738361348}"/>
              </a:ext>
            </a:extLst>
          </p:cNvPr>
          <p:cNvSpPr>
            <a:spLocks noGrp="1"/>
          </p:cNvSpPr>
          <p:nvPr>
            <p:ph type="body" sz="quarter" idx="14" hasCustomPrompt="1"/>
          </p:nvPr>
        </p:nvSpPr>
        <p:spPr>
          <a:xfrm>
            <a:off x="457200" y="2776299"/>
            <a:ext cx="10652125" cy="360000"/>
          </a:xfrm>
        </p:spPr>
        <p:txBody>
          <a:bodyPr/>
          <a:lstStyle>
            <a:lvl1pPr marL="0" indent="0">
              <a:buNone/>
              <a:defRPr sz="2800">
                <a:solidFill>
                  <a:schemeClr val="bg1"/>
                </a:solidFill>
              </a:defRPr>
            </a:lvl1pPr>
          </a:lstStyle>
          <a:p>
            <a:pPr lvl="0"/>
            <a:r>
              <a:rPr lang="en-US" dirty="0"/>
              <a:t>Click to add presentation title sub-text</a:t>
            </a:r>
            <a:endParaRPr lang="en-GB" dirty="0"/>
          </a:p>
        </p:txBody>
      </p:sp>
      <p:sp>
        <p:nvSpPr>
          <p:cNvPr id="3" name="Footer Placeholder 2">
            <a:extLst>
              <a:ext uri="{FF2B5EF4-FFF2-40B4-BE49-F238E27FC236}">
                <a16:creationId xmlns:a16="http://schemas.microsoft.com/office/drawing/2014/main" id="{81215EC3-DE29-135E-898F-8310D6E42781}"/>
              </a:ext>
            </a:extLst>
          </p:cNvPr>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20624315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CFF194EA-2E7A-44E9-8B33-43C36958B772}"/>
              </a:ext>
            </a:extLst>
          </p:cNvPr>
          <p:cNvSpPr>
            <a:spLocks noGrp="1"/>
          </p:cNvSpPr>
          <p:nvPr>
            <p:ph sz="quarter" idx="13"/>
          </p:nvPr>
        </p:nvSpPr>
        <p:spPr>
          <a:xfrm>
            <a:off x="442914" y="1219200"/>
            <a:ext cx="3408725"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ontent Placeholder 8">
            <a:extLst>
              <a:ext uri="{FF2B5EF4-FFF2-40B4-BE49-F238E27FC236}">
                <a16:creationId xmlns:a16="http://schemas.microsoft.com/office/drawing/2014/main" id="{5E896705-A6A9-4B8A-B4F7-D3EF16C44840}"/>
              </a:ext>
            </a:extLst>
          </p:cNvPr>
          <p:cNvSpPr>
            <a:spLocks noGrp="1"/>
          </p:cNvSpPr>
          <p:nvPr>
            <p:ph sz="quarter" idx="14"/>
          </p:nvPr>
        </p:nvSpPr>
        <p:spPr>
          <a:xfrm>
            <a:off x="8340363" y="1219200"/>
            <a:ext cx="3408725"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a:extLst>
              <a:ext uri="{FF2B5EF4-FFF2-40B4-BE49-F238E27FC236}">
                <a16:creationId xmlns:a16="http://schemas.microsoft.com/office/drawing/2014/main" id="{4A6467DD-1B5F-496A-8FBB-A8CF1D46C61A}"/>
              </a:ext>
            </a:extLst>
          </p:cNvPr>
          <p:cNvSpPr>
            <a:spLocks noGrp="1"/>
          </p:cNvSpPr>
          <p:nvPr>
            <p:ph type="title"/>
          </p:nvPr>
        </p:nvSpPr>
        <p:spPr/>
        <p:txBody>
          <a:bodyPr/>
          <a:lstStyle/>
          <a:p>
            <a:r>
              <a:rPr lang="en-US"/>
              <a:t>Click to edit Master title style</a:t>
            </a:r>
            <a:endParaRPr lang="en-US" dirty="0"/>
          </a:p>
        </p:txBody>
      </p:sp>
      <p:sp>
        <p:nvSpPr>
          <p:cNvPr id="8" name="Content Placeholder 8">
            <a:extLst>
              <a:ext uri="{FF2B5EF4-FFF2-40B4-BE49-F238E27FC236}">
                <a16:creationId xmlns:a16="http://schemas.microsoft.com/office/drawing/2014/main" id="{A22409F2-96A1-4FE6-8970-AED9133DB58F}"/>
              </a:ext>
            </a:extLst>
          </p:cNvPr>
          <p:cNvSpPr>
            <a:spLocks noGrp="1"/>
          </p:cNvSpPr>
          <p:nvPr>
            <p:ph sz="quarter" idx="15"/>
          </p:nvPr>
        </p:nvSpPr>
        <p:spPr>
          <a:xfrm>
            <a:off x="4391638" y="1219200"/>
            <a:ext cx="3408725"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19">
            <a:extLst>
              <a:ext uri="{FF2B5EF4-FFF2-40B4-BE49-F238E27FC236}">
                <a16:creationId xmlns:a16="http://schemas.microsoft.com/office/drawing/2014/main" id="{328D8700-1C45-9E96-A8CC-9E75C9DDD887}"/>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6" name="Slide Number Placeholder 20">
            <a:extLst>
              <a:ext uri="{FF2B5EF4-FFF2-40B4-BE49-F238E27FC236}">
                <a16:creationId xmlns:a16="http://schemas.microsoft.com/office/drawing/2014/main" id="{690FCAA0-BB64-4FE5-D679-364D826113A3}"/>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3" name="Footer Placeholder 2">
            <a:extLst>
              <a:ext uri="{FF2B5EF4-FFF2-40B4-BE49-F238E27FC236}">
                <a16:creationId xmlns:a16="http://schemas.microsoft.com/office/drawing/2014/main" id="{4DE0B5BF-E3A1-ABEF-FDE0-82C319BAB286}"/>
              </a:ext>
            </a:extLst>
          </p:cNvPr>
          <p:cNvSpPr>
            <a:spLocks noGrp="1"/>
          </p:cNvSpPr>
          <p:nvPr>
            <p:ph type="ftr" sz="quarter" idx="16"/>
          </p:nvPr>
        </p:nvSpPr>
        <p:spPr/>
        <p:txBody>
          <a:bodyPr/>
          <a:lstStyle/>
          <a:p>
            <a:endParaRPr lang="en-GB"/>
          </a:p>
        </p:txBody>
      </p:sp>
    </p:spTree>
    <p:extLst>
      <p:ext uri="{BB962C8B-B14F-4D97-AF65-F5344CB8AC3E}">
        <p14:creationId xmlns:p14="http://schemas.microsoft.com/office/powerpoint/2010/main" val="74708046"/>
      </p:ext>
    </p:extLst>
  </p:cSld>
  <p:clrMapOvr>
    <a:masterClrMapping/>
  </p:clrMapOvr>
  <p:extLst>
    <p:ext uri="{DCECCB84-F9BA-43D5-87BE-67443E8EF086}">
      <p15:sldGuideLst xmlns:p15="http://schemas.microsoft.com/office/powerpoint/2012/main">
        <p15:guide id="1" pos="4914">
          <p15:clr>
            <a:srgbClr val="FBAE40"/>
          </p15:clr>
        </p15:guide>
        <p15:guide id="2" pos="5253">
          <p15:clr>
            <a:srgbClr val="FBAE40"/>
          </p15:clr>
        </p15:guide>
        <p15:guide id="3" pos="2426">
          <p15:clr>
            <a:srgbClr val="FBAE40"/>
          </p15:clr>
        </p15:guide>
        <p15:guide id="4" pos="276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s with headings">
    <p:spTree>
      <p:nvGrpSpPr>
        <p:cNvPr id="1" name=""/>
        <p:cNvGrpSpPr/>
        <p:nvPr/>
      </p:nvGrpSpPr>
      <p:grpSpPr>
        <a:xfrm>
          <a:off x="0" y="0"/>
          <a:ext cx="0" cy="0"/>
          <a:chOff x="0" y="0"/>
          <a:chExt cx="0" cy="0"/>
        </a:xfrm>
      </p:grpSpPr>
      <p:sp>
        <p:nvSpPr>
          <p:cNvPr id="10" name="Content Placeholder 8">
            <a:extLst>
              <a:ext uri="{FF2B5EF4-FFF2-40B4-BE49-F238E27FC236}">
                <a16:creationId xmlns:a16="http://schemas.microsoft.com/office/drawing/2014/main" id="{626175F9-DFB0-4C0C-9A83-FDE64C495CC6}"/>
              </a:ext>
            </a:extLst>
          </p:cNvPr>
          <p:cNvSpPr>
            <a:spLocks noGrp="1"/>
          </p:cNvSpPr>
          <p:nvPr>
            <p:ph sz="quarter" idx="13"/>
          </p:nvPr>
        </p:nvSpPr>
        <p:spPr>
          <a:xfrm>
            <a:off x="442915" y="1516856"/>
            <a:ext cx="3408725" cy="4612482"/>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8">
            <a:extLst>
              <a:ext uri="{FF2B5EF4-FFF2-40B4-BE49-F238E27FC236}">
                <a16:creationId xmlns:a16="http://schemas.microsoft.com/office/drawing/2014/main" id="{CE493A06-B38B-4B71-9CA5-FA1F92F99861}"/>
              </a:ext>
            </a:extLst>
          </p:cNvPr>
          <p:cNvSpPr>
            <a:spLocks noGrp="1"/>
          </p:cNvSpPr>
          <p:nvPr>
            <p:ph sz="quarter" idx="14"/>
          </p:nvPr>
        </p:nvSpPr>
        <p:spPr>
          <a:xfrm>
            <a:off x="8340364" y="1516856"/>
            <a:ext cx="3408725" cy="4612482"/>
          </a:xfr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14">
            <a:extLst>
              <a:ext uri="{FF2B5EF4-FFF2-40B4-BE49-F238E27FC236}">
                <a16:creationId xmlns:a16="http://schemas.microsoft.com/office/drawing/2014/main" id="{111653AB-3FA9-4785-B1D3-4C9FF62C0051}"/>
              </a:ext>
            </a:extLst>
          </p:cNvPr>
          <p:cNvSpPr>
            <a:spLocks noGrp="1"/>
          </p:cNvSpPr>
          <p:nvPr>
            <p:ph type="body" sz="quarter" idx="17"/>
          </p:nvPr>
        </p:nvSpPr>
        <p:spPr>
          <a:xfrm>
            <a:off x="442915" y="1219200"/>
            <a:ext cx="3408725" cy="221599"/>
          </a:xfrm>
        </p:spPr>
        <p:txBody>
          <a:bodyPr anchor="t">
            <a:spAutoFit/>
          </a:bodyPr>
          <a:lstStyle>
            <a:lvl1pPr marL="0" indent="0">
              <a:lnSpc>
                <a:spcPct val="90000"/>
              </a:lnSpc>
              <a:spcBef>
                <a:spcPts val="600"/>
              </a:spcBef>
              <a:buNone/>
              <a:defRPr b="0">
                <a:solidFill>
                  <a:srgbClr val="00264E"/>
                </a:solidFill>
                <a:latin typeface="Playfair Display Black"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16" name="Text Placeholder 14">
            <a:extLst>
              <a:ext uri="{FF2B5EF4-FFF2-40B4-BE49-F238E27FC236}">
                <a16:creationId xmlns:a16="http://schemas.microsoft.com/office/drawing/2014/main" id="{AECDC1A3-0BF8-47E5-89E2-E0388384C57D}"/>
              </a:ext>
            </a:extLst>
          </p:cNvPr>
          <p:cNvSpPr>
            <a:spLocks noGrp="1"/>
          </p:cNvSpPr>
          <p:nvPr>
            <p:ph type="body" sz="quarter" idx="18"/>
          </p:nvPr>
        </p:nvSpPr>
        <p:spPr>
          <a:xfrm>
            <a:off x="8340364" y="1219200"/>
            <a:ext cx="3408725" cy="221599"/>
          </a:xfrm>
        </p:spPr>
        <p:txBody>
          <a:bodyPr anchor="t">
            <a:spAutoFit/>
          </a:bodyPr>
          <a:lstStyle>
            <a:lvl1pPr marL="0" indent="0">
              <a:lnSpc>
                <a:spcPct val="90000"/>
              </a:lnSpc>
              <a:spcBef>
                <a:spcPts val="600"/>
              </a:spcBef>
              <a:buNone/>
              <a:defRPr b="0">
                <a:solidFill>
                  <a:srgbClr val="00264E"/>
                </a:solidFill>
                <a:latin typeface="Playfair Display Black"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2" name="Title 1">
            <a:extLst>
              <a:ext uri="{FF2B5EF4-FFF2-40B4-BE49-F238E27FC236}">
                <a16:creationId xmlns:a16="http://schemas.microsoft.com/office/drawing/2014/main" id="{3AD92700-BD49-4CF2-B9E3-C55F0F7C83F8}"/>
              </a:ext>
            </a:extLst>
          </p:cNvPr>
          <p:cNvSpPr>
            <a:spLocks noGrp="1"/>
          </p:cNvSpPr>
          <p:nvPr>
            <p:ph type="title"/>
          </p:nvPr>
        </p:nvSpPr>
        <p:spPr/>
        <p:txBody>
          <a:bodyPr/>
          <a:lstStyle/>
          <a:p>
            <a:r>
              <a:rPr lang="en-US"/>
              <a:t>Click to edit Master title style</a:t>
            </a:r>
            <a:endParaRPr lang="en-US" dirty="0"/>
          </a:p>
        </p:txBody>
      </p:sp>
      <p:sp>
        <p:nvSpPr>
          <p:cNvPr id="12" name="Content Placeholder 8">
            <a:extLst>
              <a:ext uri="{FF2B5EF4-FFF2-40B4-BE49-F238E27FC236}">
                <a16:creationId xmlns:a16="http://schemas.microsoft.com/office/drawing/2014/main" id="{F5975FE8-B118-4A0D-8172-7656AA0E8E40}"/>
              </a:ext>
            </a:extLst>
          </p:cNvPr>
          <p:cNvSpPr>
            <a:spLocks noGrp="1"/>
          </p:cNvSpPr>
          <p:nvPr>
            <p:ph sz="quarter" idx="19"/>
          </p:nvPr>
        </p:nvSpPr>
        <p:spPr>
          <a:xfrm>
            <a:off x="4391638" y="1516856"/>
            <a:ext cx="3408725" cy="4612482"/>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4">
            <a:extLst>
              <a:ext uri="{FF2B5EF4-FFF2-40B4-BE49-F238E27FC236}">
                <a16:creationId xmlns:a16="http://schemas.microsoft.com/office/drawing/2014/main" id="{2329DBC5-2A3C-4D5A-ACE3-BA6A82928EE1}"/>
              </a:ext>
            </a:extLst>
          </p:cNvPr>
          <p:cNvSpPr>
            <a:spLocks noGrp="1"/>
          </p:cNvSpPr>
          <p:nvPr>
            <p:ph type="body" sz="quarter" idx="20"/>
          </p:nvPr>
        </p:nvSpPr>
        <p:spPr>
          <a:xfrm>
            <a:off x="4391638" y="1219200"/>
            <a:ext cx="3408725" cy="221599"/>
          </a:xfrm>
        </p:spPr>
        <p:txBody>
          <a:bodyPr anchor="t">
            <a:spAutoFit/>
          </a:bodyPr>
          <a:lstStyle>
            <a:lvl1pPr marL="0" indent="0">
              <a:lnSpc>
                <a:spcPct val="90000"/>
              </a:lnSpc>
              <a:spcBef>
                <a:spcPts val="600"/>
              </a:spcBef>
              <a:buNone/>
              <a:defRPr b="0">
                <a:solidFill>
                  <a:srgbClr val="00264E"/>
                </a:solidFill>
                <a:latin typeface="Playfair Display Black"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5" name="Date Placeholder 19">
            <a:extLst>
              <a:ext uri="{FF2B5EF4-FFF2-40B4-BE49-F238E27FC236}">
                <a16:creationId xmlns:a16="http://schemas.microsoft.com/office/drawing/2014/main" id="{62442CD6-B375-4E9E-71B2-F65134A619A2}"/>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6" name="Slide Number Placeholder 20">
            <a:extLst>
              <a:ext uri="{FF2B5EF4-FFF2-40B4-BE49-F238E27FC236}">
                <a16:creationId xmlns:a16="http://schemas.microsoft.com/office/drawing/2014/main" id="{C58079D0-7D8A-82CC-E076-D87A46DFDFCB}"/>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3" name="Footer Placeholder 2">
            <a:extLst>
              <a:ext uri="{FF2B5EF4-FFF2-40B4-BE49-F238E27FC236}">
                <a16:creationId xmlns:a16="http://schemas.microsoft.com/office/drawing/2014/main" id="{05523596-7EA7-D7BE-883D-D56B98CBC7BF}"/>
              </a:ext>
            </a:extLst>
          </p:cNvPr>
          <p:cNvSpPr>
            <a:spLocks noGrp="1"/>
          </p:cNvSpPr>
          <p:nvPr>
            <p:ph type="ftr" sz="quarter" idx="21"/>
          </p:nvPr>
        </p:nvSpPr>
        <p:spPr/>
        <p:txBody>
          <a:bodyPr/>
          <a:lstStyle/>
          <a:p>
            <a:endParaRPr lang="en-GB"/>
          </a:p>
        </p:txBody>
      </p:sp>
    </p:spTree>
    <p:extLst>
      <p:ext uri="{BB962C8B-B14F-4D97-AF65-F5344CB8AC3E}">
        <p14:creationId xmlns:p14="http://schemas.microsoft.com/office/powerpoint/2010/main" val="147930011"/>
      </p:ext>
    </p:extLst>
  </p:cSld>
  <p:clrMapOvr>
    <a:masterClrMapping/>
  </p:clrMapOvr>
  <p:extLst>
    <p:ext uri="{DCECCB84-F9BA-43D5-87BE-67443E8EF086}">
      <p15:sldGuideLst xmlns:p15="http://schemas.microsoft.com/office/powerpoint/2012/main">
        <p15:guide id="1" pos="2427">
          <p15:clr>
            <a:srgbClr val="FBAE40"/>
          </p15:clr>
        </p15:guide>
        <p15:guide id="2" pos="2768">
          <p15:clr>
            <a:srgbClr val="FBAE40"/>
          </p15:clr>
        </p15:guide>
        <p15:guide id="3" pos="5253">
          <p15:clr>
            <a:srgbClr val="FBAE40"/>
          </p15:clr>
        </p15:guide>
        <p15:guide id="4" pos="491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CFF194EA-2E7A-44E9-8B33-43C36958B772}"/>
              </a:ext>
            </a:extLst>
          </p:cNvPr>
          <p:cNvSpPr>
            <a:spLocks noGrp="1"/>
          </p:cNvSpPr>
          <p:nvPr>
            <p:ph sz="quarter" idx="13"/>
          </p:nvPr>
        </p:nvSpPr>
        <p:spPr>
          <a:xfrm>
            <a:off x="442913" y="1219200"/>
            <a:ext cx="2421544"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ontent Placeholder 8">
            <a:extLst>
              <a:ext uri="{FF2B5EF4-FFF2-40B4-BE49-F238E27FC236}">
                <a16:creationId xmlns:a16="http://schemas.microsoft.com/office/drawing/2014/main" id="{5E896705-A6A9-4B8A-B4F7-D3EF16C44840}"/>
              </a:ext>
            </a:extLst>
          </p:cNvPr>
          <p:cNvSpPr>
            <a:spLocks noGrp="1"/>
          </p:cNvSpPr>
          <p:nvPr>
            <p:ph sz="quarter" idx="14"/>
          </p:nvPr>
        </p:nvSpPr>
        <p:spPr>
          <a:xfrm>
            <a:off x="9327545" y="1219200"/>
            <a:ext cx="2421544"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a:extLst>
              <a:ext uri="{FF2B5EF4-FFF2-40B4-BE49-F238E27FC236}">
                <a16:creationId xmlns:a16="http://schemas.microsoft.com/office/drawing/2014/main" id="{4A6467DD-1B5F-496A-8FBB-A8CF1D46C61A}"/>
              </a:ext>
            </a:extLst>
          </p:cNvPr>
          <p:cNvSpPr>
            <a:spLocks noGrp="1"/>
          </p:cNvSpPr>
          <p:nvPr>
            <p:ph type="title"/>
          </p:nvPr>
        </p:nvSpPr>
        <p:spPr/>
        <p:txBody>
          <a:bodyPr/>
          <a:lstStyle/>
          <a:p>
            <a:r>
              <a:rPr lang="en-US"/>
              <a:t>Click to edit Master title style</a:t>
            </a:r>
            <a:endParaRPr lang="en-US" dirty="0"/>
          </a:p>
        </p:txBody>
      </p:sp>
      <p:sp>
        <p:nvSpPr>
          <p:cNvPr id="8" name="Content Placeholder 8">
            <a:extLst>
              <a:ext uri="{FF2B5EF4-FFF2-40B4-BE49-F238E27FC236}">
                <a16:creationId xmlns:a16="http://schemas.microsoft.com/office/drawing/2014/main" id="{EDD1061D-AD1C-4707-8189-42F0FFBAD7ED}"/>
              </a:ext>
            </a:extLst>
          </p:cNvPr>
          <p:cNvSpPr>
            <a:spLocks noGrp="1"/>
          </p:cNvSpPr>
          <p:nvPr>
            <p:ph sz="quarter" idx="15"/>
          </p:nvPr>
        </p:nvSpPr>
        <p:spPr>
          <a:xfrm>
            <a:off x="3404457" y="1219200"/>
            <a:ext cx="2421544"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8">
            <a:extLst>
              <a:ext uri="{FF2B5EF4-FFF2-40B4-BE49-F238E27FC236}">
                <a16:creationId xmlns:a16="http://schemas.microsoft.com/office/drawing/2014/main" id="{32162ABF-D244-4578-8891-5E279D4E979C}"/>
              </a:ext>
            </a:extLst>
          </p:cNvPr>
          <p:cNvSpPr>
            <a:spLocks noGrp="1"/>
          </p:cNvSpPr>
          <p:nvPr>
            <p:ph sz="quarter" idx="16"/>
          </p:nvPr>
        </p:nvSpPr>
        <p:spPr>
          <a:xfrm>
            <a:off x="6366001" y="1219200"/>
            <a:ext cx="2421544"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19">
            <a:extLst>
              <a:ext uri="{FF2B5EF4-FFF2-40B4-BE49-F238E27FC236}">
                <a16:creationId xmlns:a16="http://schemas.microsoft.com/office/drawing/2014/main" id="{A5923634-0835-4EE6-BD0A-3A042FE64988}"/>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6" name="Slide Number Placeholder 20">
            <a:extLst>
              <a:ext uri="{FF2B5EF4-FFF2-40B4-BE49-F238E27FC236}">
                <a16:creationId xmlns:a16="http://schemas.microsoft.com/office/drawing/2014/main" id="{DACEEB8D-55A3-16D1-DE66-C9E1FF906AC3}"/>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3" name="Footer Placeholder 2">
            <a:extLst>
              <a:ext uri="{FF2B5EF4-FFF2-40B4-BE49-F238E27FC236}">
                <a16:creationId xmlns:a16="http://schemas.microsoft.com/office/drawing/2014/main" id="{41762B8B-AEBB-0CB4-92B0-6C9FAE60313F}"/>
              </a:ext>
            </a:extLst>
          </p:cNvPr>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3052995763"/>
      </p:ext>
    </p:extLst>
  </p:cSld>
  <p:clrMapOvr>
    <a:masterClrMapping/>
  </p:clrMapOvr>
  <p:extLst>
    <p:ext uri="{DCECCB84-F9BA-43D5-87BE-67443E8EF086}">
      <p15:sldGuideLst xmlns:p15="http://schemas.microsoft.com/office/powerpoint/2012/main">
        <p15:guide id="1" pos="3672">
          <p15:clr>
            <a:srgbClr val="FBAE40"/>
          </p15:clr>
        </p15:guide>
        <p15:guide id="2" pos="4008">
          <p15:clr>
            <a:srgbClr val="FBAE40"/>
          </p15:clr>
        </p15:guide>
        <p15:guide id="3" pos="1805">
          <p15:clr>
            <a:srgbClr val="FBAE40"/>
          </p15:clr>
        </p15:guide>
        <p15:guide id="4" pos="2144">
          <p15:clr>
            <a:srgbClr val="FBAE40"/>
          </p15:clr>
        </p15:guide>
        <p15:guide id="5" pos="5546">
          <p15:clr>
            <a:srgbClr val="FBAE40"/>
          </p15:clr>
        </p15:guide>
        <p15:guide id="6" pos="588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columns with headings">
    <p:spTree>
      <p:nvGrpSpPr>
        <p:cNvPr id="1" name=""/>
        <p:cNvGrpSpPr/>
        <p:nvPr/>
      </p:nvGrpSpPr>
      <p:grpSpPr>
        <a:xfrm>
          <a:off x="0" y="0"/>
          <a:ext cx="0" cy="0"/>
          <a:chOff x="0" y="0"/>
          <a:chExt cx="0" cy="0"/>
        </a:xfrm>
      </p:grpSpPr>
      <p:sp>
        <p:nvSpPr>
          <p:cNvPr id="10" name="Content Placeholder 8">
            <a:extLst>
              <a:ext uri="{FF2B5EF4-FFF2-40B4-BE49-F238E27FC236}">
                <a16:creationId xmlns:a16="http://schemas.microsoft.com/office/drawing/2014/main" id="{626175F9-DFB0-4C0C-9A83-FDE64C495CC6}"/>
              </a:ext>
            </a:extLst>
          </p:cNvPr>
          <p:cNvSpPr>
            <a:spLocks noGrp="1"/>
          </p:cNvSpPr>
          <p:nvPr>
            <p:ph sz="quarter" idx="13"/>
          </p:nvPr>
        </p:nvSpPr>
        <p:spPr>
          <a:xfrm>
            <a:off x="442913" y="1516856"/>
            <a:ext cx="2421544" cy="4612482"/>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8">
            <a:extLst>
              <a:ext uri="{FF2B5EF4-FFF2-40B4-BE49-F238E27FC236}">
                <a16:creationId xmlns:a16="http://schemas.microsoft.com/office/drawing/2014/main" id="{CE493A06-B38B-4B71-9CA5-FA1F92F99861}"/>
              </a:ext>
            </a:extLst>
          </p:cNvPr>
          <p:cNvSpPr>
            <a:spLocks noGrp="1"/>
          </p:cNvSpPr>
          <p:nvPr>
            <p:ph sz="quarter" idx="14"/>
          </p:nvPr>
        </p:nvSpPr>
        <p:spPr>
          <a:xfrm>
            <a:off x="9327545" y="1516856"/>
            <a:ext cx="2421544" cy="4612482"/>
          </a:xfr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14">
            <a:extLst>
              <a:ext uri="{FF2B5EF4-FFF2-40B4-BE49-F238E27FC236}">
                <a16:creationId xmlns:a16="http://schemas.microsoft.com/office/drawing/2014/main" id="{111653AB-3FA9-4785-B1D3-4C9FF62C0051}"/>
              </a:ext>
            </a:extLst>
          </p:cNvPr>
          <p:cNvSpPr>
            <a:spLocks noGrp="1"/>
          </p:cNvSpPr>
          <p:nvPr>
            <p:ph type="body" sz="quarter" idx="17"/>
          </p:nvPr>
        </p:nvSpPr>
        <p:spPr>
          <a:xfrm>
            <a:off x="442913" y="1219200"/>
            <a:ext cx="2421544" cy="221599"/>
          </a:xfrm>
        </p:spPr>
        <p:txBody>
          <a:bodyPr anchor="t">
            <a:noAutofit/>
          </a:bodyPr>
          <a:lstStyle>
            <a:lvl1pPr marL="0" indent="0">
              <a:lnSpc>
                <a:spcPct val="90000"/>
              </a:lnSpc>
              <a:spcBef>
                <a:spcPts val="600"/>
              </a:spcBef>
              <a:buNone/>
              <a:defRPr b="0">
                <a:solidFill>
                  <a:schemeClr val="accent1"/>
                </a:solidFill>
                <a:latin typeface="Playfair Display Black"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16" name="Text Placeholder 14">
            <a:extLst>
              <a:ext uri="{FF2B5EF4-FFF2-40B4-BE49-F238E27FC236}">
                <a16:creationId xmlns:a16="http://schemas.microsoft.com/office/drawing/2014/main" id="{AECDC1A3-0BF8-47E5-89E2-E0388384C57D}"/>
              </a:ext>
            </a:extLst>
          </p:cNvPr>
          <p:cNvSpPr>
            <a:spLocks noGrp="1"/>
          </p:cNvSpPr>
          <p:nvPr>
            <p:ph type="body" sz="quarter" idx="18"/>
          </p:nvPr>
        </p:nvSpPr>
        <p:spPr>
          <a:xfrm>
            <a:off x="9327545" y="1219200"/>
            <a:ext cx="2421544" cy="221599"/>
          </a:xfrm>
        </p:spPr>
        <p:txBody>
          <a:bodyPr anchor="t">
            <a:noAutofit/>
          </a:bodyPr>
          <a:lstStyle>
            <a:lvl1pPr marL="0" indent="0">
              <a:lnSpc>
                <a:spcPct val="90000"/>
              </a:lnSpc>
              <a:spcBef>
                <a:spcPts val="600"/>
              </a:spcBef>
              <a:buNone/>
              <a:defRPr b="0">
                <a:solidFill>
                  <a:schemeClr val="accent1"/>
                </a:solidFill>
                <a:latin typeface="Playfair Display Black"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2" name="Title 1">
            <a:extLst>
              <a:ext uri="{FF2B5EF4-FFF2-40B4-BE49-F238E27FC236}">
                <a16:creationId xmlns:a16="http://schemas.microsoft.com/office/drawing/2014/main" id="{3AD92700-BD49-4CF2-B9E3-C55F0F7C83F8}"/>
              </a:ext>
            </a:extLst>
          </p:cNvPr>
          <p:cNvSpPr>
            <a:spLocks noGrp="1"/>
          </p:cNvSpPr>
          <p:nvPr>
            <p:ph type="title"/>
          </p:nvPr>
        </p:nvSpPr>
        <p:spPr/>
        <p:txBody>
          <a:bodyPr/>
          <a:lstStyle/>
          <a:p>
            <a:r>
              <a:rPr lang="en-US"/>
              <a:t>Click to edit Master title style</a:t>
            </a:r>
            <a:endParaRPr lang="en-US" dirty="0"/>
          </a:p>
        </p:txBody>
      </p:sp>
      <p:sp>
        <p:nvSpPr>
          <p:cNvPr id="12" name="Content Placeholder 8">
            <a:extLst>
              <a:ext uri="{FF2B5EF4-FFF2-40B4-BE49-F238E27FC236}">
                <a16:creationId xmlns:a16="http://schemas.microsoft.com/office/drawing/2014/main" id="{D8817BFB-9118-4E1D-AB4C-F589563045C1}"/>
              </a:ext>
            </a:extLst>
          </p:cNvPr>
          <p:cNvSpPr>
            <a:spLocks noGrp="1"/>
          </p:cNvSpPr>
          <p:nvPr>
            <p:ph sz="quarter" idx="19"/>
          </p:nvPr>
        </p:nvSpPr>
        <p:spPr>
          <a:xfrm>
            <a:off x="3404457" y="1516856"/>
            <a:ext cx="2421544" cy="4612482"/>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8">
            <a:extLst>
              <a:ext uri="{FF2B5EF4-FFF2-40B4-BE49-F238E27FC236}">
                <a16:creationId xmlns:a16="http://schemas.microsoft.com/office/drawing/2014/main" id="{84F6DEB1-BAEB-4E79-8274-A008B9CF7F9C}"/>
              </a:ext>
            </a:extLst>
          </p:cNvPr>
          <p:cNvSpPr>
            <a:spLocks noGrp="1"/>
          </p:cNvSpPr>
          <p:nvPr>
            <p:ph sz="quarter" idx="20"/>
          </p:nvPr>
        </p:nvSpPr>
        <p:spPr>
          <a:xfrm>
            <a:off x="6366001" y="1516856"/>
            <a:ext cx="2421544" cy="4612482"/>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4">
            <a:extLst>
              <a:ext uri="{FF2B5EF4-FFF2-40B4-BE49-F238E27FC236}">
                <a16:creationId xmlns:a16="http://schemas.microsoft.com/office/drawing/2014/main" id="{E0A314C0-EDE7-4619-971F-DD27A94F04C9}"/>
              </a:ext>
            </a:extLst>
          </p:cNvPr>
          <p:cNvSpPr>
            <a:spLocks noGrp="1"/>
          </p:cNvSpPr>
          <p:nvPr>
            <p:ph type="body" sz="quarter" idx="21"/>
          </p:nvPr>
        </p:nvSpPr>
        <p:spPr>
          <a:xfrm>
            <a:off x="3404457" y="1219200"/>
            <a:ext cx="2421544" cy="221599"/>
          </a:xfrm>
        </p:spPr>
        <p:txBody>
          <a:bodyPr anchor="t">
            <a:noAutofit/>
          </a:bodyPr>
          <a:lstStyle>
            <a:lvl1pPr marL="0" indent="0">
              <a:lnSpc>
                <a:spcPct val="90000"/>
              </a:lnSpc>
              <a:spcBef>
                <a:spcPts val="600"/>
              </a:spcBef>
              <a:buNone/>
              <a:defRPr b="0">
                <a:solidFill>
                  <a:schemeClr val="accent1"/>
                </a:solidFill>
                <a:latin typeface="Playfair Display Black"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17" name="Text Placeholder 14">
            <a:extLst>
              <a:ext uri="{FF2B5EF4-FFF2-40B4-BE49-F238E27FC236}">
                <a16:creationId xmlns:a16="http://schemas.microsoft.com/office/drawing/2014/main" id="{F07624EF-26E1-439F-8C38-D7767CC3F6E9}"/>
              </a:ext>
            </a:extLst>
          </p:cNvPr>
          <p:cNvSpPr>
            <a:spLocks noGrp="1"/>
          </p:cNvSpPr>
          <p:nvPr>
            <p:ph type="body" sz="quarter" idx="22"/>
          </p:nvPr>
        </p:nvSpPr>
        <p:spPr>
          <a:xfrm>
            <a:off x="6366001" y="1219200"/>
            <a:ext cx="2421544" cy="221599"/>
          </a:xfrm>
        </p:spPr>
        <p:txBody>
          <a:bodyPr anchor="t">
            <a:noAutofit/>
          </a:bodyPr>
          <a:lstStyle>
            <a:lvl1pPr marL="0" indent="0">
              <a:lnSpc>
                <a:spcPct val="90000"/>
              </a:lnSpc>
              <a:spcBef>
                <a:spcPts val="600"/>
              </a:spcBef>
              <a:buNone/>
              <a:defRPr b="0">
                <a:solidFill>
                  <a:schemeClr val="accent1"/>
                </a:solidFill>
                <a:latin typeface="Playfair Display Black"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3" name="Date Placeholder 19">
            <a:extLst>
              <a:ext uri="{FF2B5EF4-FFF2-40B4-BE49-F238E27FC236}">
                <a16:creationId xmlns:a16="http://schemas.microsoft.com/office/drawing/2014/main" id="{E5D9ECC6-A4E2-A11C-D521-08B6E81206D7}"/>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DA7FAB50-E682-17E3-9F46-9CA256502BD1}"/>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 name="Footer Placeholder 4">
            <a:extLst>
              <a:ext uri="{FF2B5EF4-FFF2-40B4-BE49-F238E27FC236}">
                <a16:creationId xmlns:a16="http://schemas.microsoft.com/office/drawing/2014/main" id="{2AD9DBD1-A6E9-3A9B-8334-1A73E74B9F43}"/>
              </a:ext>
            </a:extLst>
          </p:cNvPr>
          <p:cNvSpPr>
            <a:spLocks noGrp="1"/>
          </p:cNvSpPr>
          <p:nvPr>
            <p:ph type="ftr" sz="quarter" idx="23"/>
          </p:nvPr>
        </p:nvSpPr>
        <p:spPr/>
        <p:txBody>
          <a:bodyPr/>
          <a:lstStyle/>
          <a:p>
            <a:endParaRPr lang="en-GB"/>
          </a:p>
        </p:txBody>
      </p:sp>
    </p:spTree>
    <p:extLst>
      <p:ext uri="{BB962C8B-B14F-4D97-AF65-F5344CB8AC3E}">
        <p14:creationId xmlns:p14="http://schemas.microsoft.com/office/powerpoint/2010/main" val="2429278405"/>
      </p:ext>
    </p:extLst>
  </p:cSld>
  <p:clrMapOvr>
    <a:masterClrMapping/>
  </p:clrMapOvr>
  <p:extLst>
    <p:ext uri="{DCECCB84-F9BA-43D5-87BE-67443E8EF086}">
      <p15:sldGuideLst xmlns:p15="http://schemas.microsoft.com/office/powerpoint/2012/main">
        <p15:guide id="1" pos="3672">
          <p15:clr>
            <a:srgbClr val="FBAE40"/>
          </p15:clr>
        </p15:guide>
        <p15:guide id="2" pos="4008">
          <p15:clr>
            <a:srgbClr val="FBAE40"/>
          </p15:clr>
        </p15:guide>
        <p15:guide id="3" pos="1805">
          <p15:clr>
            <a:srgbClr val="FBAE40"/>
          </p15:clr>
        </p15:guide>
        <p15:guide id="4" pos="2144">
          <p15:clr>
            <a:srgbClr val="FBAE40"/>
          </p15:clr>
        </p15:guide>
        <p15:guide id="5" pos="5537">
          <p15:clr>
            <a:srgbClr val="FBAE40"/>
          </p15:clr>
        </p15:guide>
        <p15:guide id="6" pos="587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D345DB6-E06D-4509-8A86-3468330F1BC2}"/>
              </a:ext>
            </a:extLst>
          </p:cNvPr>
          <p:cNvSpPr>
            <a:spLocks noGrp="1"/>
          </p:cNvSpPr>
          <p:nvPr>
            <p:ph type="title"/>
          </p:nvPr>
        </p:nvSpPr>
        <p:spPr/>
        <p:txBody>
          <a:bodyPr/>
          <a:lstStyle/>
          <a:p>
            <a:r>
              <a:rPr lang="en-US"/>
              <a:t>Click to edit Master title style</a:t>
            </a:r>
            <a:endParaRPr lang="en-US" dirty="0"/>
          </a:p>
        </p:txBody>
      </p:sp>
      <p:sp>
        <p:nvSpPr>
          <p:cNvPr id="5" name="Date Placeholder 19">
            <a:extLst>
              <a:ext uri="{FF2B5EF4-FFF2-40B4-BE49-F238E27FC236}">
                <a16:creationId xmlns:a16="http://schemas.microsoft.com/office/drawing/2014/main" id="{E4B5733A-0DF8-7B8C-CF82-AAD80625E7D5}"/>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8" name="Slide Number Placeholder 20">
            <a:extLst>
              <a:ext uri="{FF2B5EF4-FFF2-40B4-BE49-F238E27FC236}">
                <a16:creationId xmlns:a16="http://schemas.microsoft.com/office/drawing/2014/main" id="{09A31ADA-EFE3-987A-11D9-506A1B1A7DDD}"/>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2" name="Footer Placeholder 1">
            <a:extLst>
              <a:ext uri="{FF2B5EF4-FFF2-40B4-BE49-F238E27FC236}">
                <a16:creationId xmlns:a16="http://schemas.microsoft.com/office/drawing/2014/main" id="{CA715888-E21B-EC44-88FB-A8786B677184}"/>
              </a:ext>
            </a:extLst>
          </p:cNvPr>
          <p:cNvSpPr>
            <a:spLocks noGrp="1"/>
          </p:cNvSpPr>
          <p:nvPr>
            <p:ph type="ftr" sz="quarter" idx="10"/>
          </p:nvPr>
        </p:nvSpPr>
        <p:spPr/>
        <p:txBody>
          <a:bodyPr/>
          <a:lstStyle/>
          <a:p>
            <a:endParaRPr lang="en-GB"/>
          </a:p>
        </p:txBody>
      </p:sp>
    </p:spTree>
    <p:extLst>
      <p:ext uri="{BB962C8B-B14F-4D97-AF65-F5344CB8AC3E}">
        <p14:creationId xmlns:p14="http://schemas.microsoft.com/office/powerpoint/2010/main" val="154822725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9">
            <a:extLst>
              <a:ext uri="{FF2B5EF4-FFF2-40B4-BE49-F238E27FC236}">
                <a16:creationId xmlns:a16="http://schemas.microsoft.com/office/drawing/2014/main" id="{A0D4EF44-0B7D-3E04-E27E-C41F1937F10C}"/>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3" name="Slide Number Placeholder 20">
            <a:extLst>
              <a:ext uri="{FF2B5EF4-FFF2-40B4-BE49-F238E27FC236}">
                <a16:creationId xmlns:a16="http://schemas.microsoft.com/office/drawing/2014/main" id="{29BA442E-CDB3-CE6F-4F91-3748EB556A3A}"/>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492CD166-5631-6CFA-CB96-9858CEE23F69}"/>
              </a:ext>
            </a:extLst>
          </p:cNvPr>
          <p:cNvSpPr>
            <a:spLocks noGrp="1"/>
          </p:cNvSpPr>
          <p:nvPr>
            <p:ph type="ftr" sz="quarter" idx="10"/>
          </p:nvPr>
        </p:nvSpPr>
        <p:spPr/>
        <p:txBody>
          <a:bodyPr/>
          <a:lstStyle/>
          <a:p>
            <a:endParaRPr lang="en-GB"/>
          </a:p>
        </p:txBody>
      </p:sp>
    </p:spTree>
    <p:extLst>
      <p:ext uri="{BB962C8B-B14F-4D97-AF65-F5344CB8AC3E}">
        <p14:creationId xmlns:p14="http://schemas.microsoft.com/office/powerpoint/2010/main" val="37349536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s with heading and S curv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D345DB6-E06D-4509-8A86-3468330F1BC2}"/>
              </a:ext>
            </a:extLst>
          </p:cNvPr>
          <p:cNvSpPr>
            <a:spLocks noGrp="1"/>
          </p:cNvSpPr>
          <p:nvPr>
            <p:ph type="title"/>
          </p:nvPr>
        </p:nvSpPr>
        <p:spPr/>
        <p:txBody>
          <a:bodyPr/>
          <a:lstStyle/>
          <a:p>
            <a:r>
              <a:rPr lang="en-US"/>
              <a:t>Click to edit Master title style</a:t>
            </a:r>
            <a:endParaRPr lang="en-US" dirty="0"/>
          </a:p>
        </p:txBody>
      </p:sp>
      <p:sp>
        <p:nvSpPr>
          <p:cNvPr id="5" name="Date Placeholder 19">
            <a:extLst>
              <a:ext uri="{FF2B5EF4-FFF2-40B4-BE49-F238E27FC236}">
                <a16:creationId xmlns:a16="http://schemas.microsoft.com/office/drawing/2014/main" id="{E4B5733A-0DF8-7B8C-CF82-AAD80625E7D5}"/>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8" name="Slide Number Placeholder 20">
            <a:extLst>
              <a:ext uri="{FF2B5EF4-FFF2-40B4-BE49-F238E27FC236}">
                <a16:creationId xmlns:a16="http://schemas.microsoft.com/office/drawing/2014/main" id="{09A31ADA-EFE3-987A-11D9-506A1B1A7DDD}"/>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3" name="Rektangel 5">
            <a:extLst>
              <a:ext uri="{FF2B5EF4-FFF2-40B4-BE49-F238E27FC236}">
                <a16:creationId xmlns:a16="http://schemas.microsoft.com/office/drawing/2014/main" id="{F7B4EBE6-EF0C-8DB8-5A76-9218485230B1}"/>
              </a:ext>
            </a:extLst>
          </p:cNvPr>
          <p:cNvSpPr/>
          <p:nvPr userDrawn="1"/>
        </p:nvSpPr>
        <p:spPr>
          <a:xfrm>
            <a:off x="0" y="3322313"/>
            <a:ext cx="12192000" cy="2808595"/>
          </a:xfrm>
          <a:prstGeom prst="rect">
            <a:avLst/>
          </a:prstGeom>
          <a:solidFill>
            <a:srgbClr val="E1E5EA"/>
          </a:solidFill>
          <a:ln w="9525" cap="flat">
            <a:noFill/>
            <a:prstDash val="solid"/>
            <a:miter/>
          </a:ln>
        </p:spPr>
        <p:txBody>
          <a:bodyPr lIns="72000" tIns="72000" rIns="72000" bIns="72000"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30" normalizeH="0" baseline="0" noProof="0" dirty="0">
              <a:ln>
                <a:noFill/>
              </a:ln>
              <a:solidFill>
                <a:prstClr val="white"/>
              </a:solidFill>
              <a:effectLst/>
              <a:uLnTx/>
              <a:uFillTx/>
              <a:latin typeface="Work Sans Light"/>
              <a:ea typeface="+mn-ea"/>
              <a:cs typeface="+mn-cs"/>
            </a:endParaRPr>
          </a:p>
        </p:txBody>
      </p:sp>
      <p:pic>
        <p:nvPicPr>
          <p:cNvPr id="4" name="Bildobjekt 4">
            <a:extLst>
              <a:ext uri="{FF2B5EF4-FFF2-40B4-BE49-F238E27FC236}">
                <a16:creationId xmlns:a16="http://schemas.microsoft.com/office/drawing/2014/main" id="{2FFC2B9A-BF5C-DA8E-D529-F7553C4E346E}"/>
              </a:ext>
            </a:extLst>
          </p:cNvPr>
          <p:cNvPicPr>
            <a:picLocks noChangeAspect="1"/>
          </p:cNvPicPr>
          <p:nvPr userDrawn="1"/>
        </p:nvPicPr>
        <p:blipFill>
          <a:blip r:embed="rId2"/>
          <a:srcRect l="511" r="850"/>
          <a:stretch/>
        </p:blipFill>
        <p:spPr>
          <a:xfrm flipH="1">
            <a:off x="0" y="1803284"/>
            <a:ext cx="12192000" cy="3966882"/>
          </a:xfrm>
          <a:prstGeom prst="rect">
            <a:avLst/>
          </a:prstGeom>
        </p:spPr>
      </p:pic>
      <p:sp>
        <p:nvSpPr>
          <p:cNvPr id="9" name="Text Placeholder 8">
            <a:extLst>
              <a:ext uri="{FF2B5EF4-FFF2-40B4-BE49-F238E27FC236}">
                <a16:creationId xmlns:a16="http://schemas.microsoft.com/office/drawing/2014/main" id="{387FECD9-24CF-147A-57ED-3D6220CBA9D9}"/>
              </a:ext>
            </a:extLst>
          </p:cNvPr>
          <p:cNvSpPr>
            <a:spLocks noGrp="1"/>
          </p:cNvSpPr>
          <p:nvPr>
            <p:ph type="body" sz="quarter" idx="10" hasCustomPrompt="1"/>
          </p:nvPr>
        </p:nvSpPr>
        <p:spPr>
          <a:xfrm>
            <a:off x="792161" y="3206542"/>
            <a:ext cx="5040000" cy="600075"/>
          </a:xfrm>
        </p:spPr>
        <p:txBody>
          <a:bodyPr anchor="ctr"/>
          <a:lstStyle>
            <a:lvl1pPr marL="0" indent="0">
              <a:buNone/>
              <a:defRPr>
                <a:latin typeface="Playfair Display Black" pitchFamily="2" charset="0"/>
              </a:defRPr>
            </a:lvl1pPr>
          </a:lstStyle>
          <a:p>
            <a:pPr lvl="0"/>
            <a:r>
              <a:rPr lang="en-US" dirty="0"/>
              <a:t>Add heading</a:t>
            </a:r>
            <a:endParaRPr lang="en-GB" dirty="0"/>
          </a:p>
        </p:txBody>
      </p:sp>
      <p:sp>
        <p:nvSpPr>
          <p:cNvPr id="10" name="Text Placeholder 8">
            <a:extLst>
              <a:ext uri="{FF2B5EF4-FFF2-40B4-BE49-F238E27FC236}">
                <a16:creationId xmlns:a16="http://schemas.microsoft.com/office/drawing/2014/main" id="{4048C28F-26EB-0662-94F1-447E099B1258}"/>
              </a:ext>
            </a:extLst>
          </p:cNvPr>
          <p:cNvSpPr>
            <a:spLocks noGrp="1"/>
          </p:cNvSpPr>
          <p:nvPr>
            <p:ph type="body" sz="quarter" idx="11" hasCustomPrompt="1"/>
          </p:nvPr>
        </p:nvSpPr>
        <p:spPr>
          <a:xfrm>
            <a:off x="6359841" y="3206542"/>
            <a:ext cx="5040000" cy="600075"/>
          </a:xfrm>
        </p:spPr>
        <p:txBody>
          <a:bodyPr anchor="ctr"/>
          <a:lstStyle>
            <a:lvl1pPr marL="0" indent="0">
              <a:buNone/>
              <a:defRPr>
                <a:latin typeface="Playfair Display Black" pitchFamily="2" charset="0"/>
              </a:defRPr>
            </a:lvl1pPr>
          </a:lstStyle>
          <a:p>
            <a:pPr lvl="0"/>
            <a:r>
              <a:rPr lang="en-US" dirty="0"/>
              <a:t>Add heading</a:t>
            </a:r>
            <a:endParaRPr lang="en-GB" dirty="0"/>
          </a:p>
        </p:txBody>
      </p:sp>
      <p:sp>
        <p:nvSpPr>
          <p:cNvPr id="12" name="Content Placeholder 11">
            <a:extLst>
              <a:ext uri="{FF2B5EF4-FFF2-40B4-BE49-F238E27FC236}">
                <a16:creationId xmlns:a16="http://schemas.microsoft.com/office/drawing/2014/main" id="{2D55815D-ED3A-33C1-FFA3-DBCE7D401DA6}"/>
              </a:ext>
            </a:extLst>
          </p:cNvPr>
          <p:cNvSpPr>
            <a:spLocks noGrp="1"/>
          </p:cNvSpPr>
          <p:nvPr>
            <p:ph sz="quarter" idx="12" hasCustomPrompt="1"/>
          </p:nvPr>
        </p:nvSpPr>
        <p:spPr>
          <a:xfrm>
            <a:off x="792163" y="3921125"/>
            <a:ext cx="5040312" cy="1964812"/>
          </a:xfrm>
        </p:spPr>
        <p:txBody>
          <a:bodyPr/>
          <a:lstStyle>
            <a:lvl1pPr>
              <a:defRPr/>
            </a:lvl1pPr>
          </a:lstStyle>
          <a:p>
            <a:pPr lvl="0"/>
            <a:r>
              <a:rPr lang="en-US" dirty="0"/>
              <a:t>Click to add text</a:t>
            </a:r>
            <a:endParaRPr lang="en-GB" dirty="0"/>
          </a:p>
        </p:txBody>
      </p:sp>
      <p:sp>
        <p:nvSpPr>
          <p:cNvPr id="13" name="Content Placeholder 11">
            <a:extLst>
              <a:ext uri="{FF2B5EF4-FFF2-40B4-BE49-F238E27FC236}">
                <a16:creationId xmlns:a16="http://schemas.microsoft.com/office/drawing/2014/main" id="{5BE536DF-6E9F-3A4D-27AA-B6506032672B}"/>
              </a:ext>
            </a:extLst>
          </p:cNvPr>
          <p:cNvSpPr>
            <a:spLocks noGrp="1"/>
          </p:cNvSpPr>
          <p:nvPr>
            <p:ph sz="quarter" idx="13" hasCustomPrompt="1"/>
          </p:nvPr>
        </p:nvSpPr>
        <p:spPr>
          <a:xfrm>
            <a:off x="6359685" y="3918075"/>
            <a:ext cx="5040312" cy="1964812"/>
          </a:xfrm>
        </p:spPr>
        <p:txBody>
          <a:bodyPr/>
          <a:lstStyle>
            <a:lvl1pPr>
              <a:defRPr/>
            </a:lvl1pPr>
          </a:lstStyle>
          <a:p>
            <a:pPr lvl="0"/>
            <a:r>
              <a:rPr lang="en-US" dirty="0"/>
              <a:t>Click to add text</a:t>
            </a:r>
            <a:endParaRPr lang="en-GB" dirty="0"/>
          </a:p>
        </p:txBody>
      </p:sp>
      <p:sp>
        <p:nvSpPr>
          <p:cNvPr id="2" name="Footer Placeholder 1">
            <a:extLst>
              <a:ext uri="{FF2B5EF4-FFF2-40B4-BE49-F238E27FC236}">
                <a16:creationId xmlns:a16="http://schemas.microsoft.com/office/drawing/2014/main" id="{F36A3C23-E478-096C-BAB7-B6CBE1769C75}"/>
              </a:ext>
            </a:extLst>
          </p:cNvPr>
          <p:cNvSpPr>
            <a:spLocks noGrp="1"/>
          </p:cNvSpPr>
          <p:nvPr>
            <p:ph type="ftr" sz="quarter" idx="14"/>
          </p:nvPr>
        </p:nvSpPr>
        <p:spPr/>
        <p:txBody>
          <a:bodyPr/>
          <a:lstStyle/>
          <a:p>
            <a:endParaRPr lang="en-GB"/>
          </a:p>
        </p:txBody>
      </p:sp>
    </p:spTree>
    <p:extLst>
      <p:ext uri="{BB962C8B-B14F-4D97-AF65-F5344CB8AC3E}">
        <p14:creationId xmlns:p14="http://schemas.microsoft.com/office/powerpoint/2010/main" val="38395542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29C2670-3B5D-6C3E-7D6E-CAB7593F83B5}"/>
              </a:ext>
            </a:extLst>
          </p:cNvPr>
          <p:cNvSpPr>
            <a:spLocks/>
          </p:cNvSpPr>
          <p:nvPr userDrawn="1"/>
        </p:nvSpPr>
        <p:spPr>
          <a:xfrm>
            <a:off x="0" y="0"/>
            <a:ext cx="12192000" cy="6858000"/>
          </a:xfrm>
          <a:prstGeom prst="rect">
            <a:avLst/>
          </a:prstGeom>
          <a:solidFill>
            <a:schemeClr val="bg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10" name="Rectangle 9">
            <a:extLst>
              <a:ext uri="{FF2B5EF4-FFF2-40B4-BE49-F238E27FC236}">
                <a16:creationId xmlns:a16="http://schemas.microsoft.com/office/drawing/2014/main" id="{E3F68B21-6370-175C-760C-D8CD76B133A9}"/>
              </a:ext>
            </a:extLst>
          </p:cNvPr>
          <p:cNvSpPr>
            <a:spLocks/>
          </p:cNvSpPr>
          <p:nvPr userDrawn="1"/>
        </p:nvSpPr>
        <p:spPr>
          <a:xfrm>
            <a:off x="442911" y="3202702"/>
            <a:ext cx="11306178" cy="1074140"/>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The following layouts are for picture slides.</a:t>
            </a: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Do not use this slide)</a:t>
            </a:r>
            <a:endParaRPr kumimoji="0" lang="en-US" sz="11500" b="0" i="0" u="none" strike="noStrike" kern="1200" cap="none" spc="-30" normalizeH="0" baseline="0" noProof="0" dirty="0">
              <a:ln>
                <a:noFill/>
              </a:ln>
              <a:solidFill>
                <a:srgbClr val="00264E"/>
              </a:solidFill>
              <a:effectLst/>
              <a:uLnTx/>
              <a:uFillTx/>
              <a:latin typeface="Work Sans Medium" pitchFamily="2" charset="0"/>
              <a:ea typeface="+mn-ea"/>
              <a:cs typeface="+mn-cs"/>
            </a:endParaRPr>
          </a:p>
        </p:txBody>
      </p:sp>
      <p:sp>
        <p:nvSpPr>
          <p:cNvPr id="11" name="Rectangle 10">
            <a:extLst>
              <a:ext uri="{FF2B5EF4-FFF2-40B4-BE49-F238E27FC236}">
                <a16:creationId xmlns:a16="http://schemas.microsoft.com/office/drawing/2014/main" id="{F19416E5-F63F-92E0-6E9E-0AD1F7892BD6}"/>
              </a:ext>
            </a:extLst>
          </p:cNvPr>
          <p:cNvSpPr>
            <a:spLocks/>
          </p:cNvSpPr>
          <p:nvPr userDrawn="1"/>
        </p:nvSpPr>
        <p:spPr>
          <a:xfrm>
            <a:off x="2990187" y="2202881"/>
            <a:ext cx="6211636" cy="914096"/>
          </a:xfrm>
          <a:prstGeom prst="rect">
            <a:avLst/>
          </a:prstGeom>
          <a:noFill/>
          <a:ln w="9525" cap="flat">
            <a:noFill/>
            <a:prstDash val="solid"/>
            <a:miter/>
          </a:ln>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6600" b="0" i="0" u="none" strike="noStrike" kern="1200" cap="none" spc="-30" normalizeH="0" baseline="0" noProof="0" dirty="0">
                <a:ln>
                  <a:noFill/>
                </a:ln>
                <a:solidFill>
                  <a:srgbClr val="00264E"/>
                </a:solidFill>
                <a:effectLst/>
                <a:uLnTx/>
                <a:uFillTx/>
                <a:latin typeface="Work Sans Medium" pitchFamily="2" charset="0"/>
                <a:ea typeface="+mn-ea"/>
                <a:cs typeface="+mn-cs"/>
              </a:rPr>
              <a:t>Picture layouts</a:t>
            </a:r>
          </a:p>
        </p:txBody>
      </p:sp>
    </p:spTree>
    <p:extLst>
      <p:ext uri="{BB962C8B-B14F-4D97-AF65-F5344CB8AC3E}">
        <p14:creationId xmlns:p14="http://schemas.microsoft.com/office/powerpoint/2010/main" val="42860134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Picture left_White logo">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B839AFF-8A75-4922-9401-D948529140CE}"/>
              </a:ext>
            </a:extLst>
          </p:cNvPr>
          <p:cNvSpPr/>
          <p:nvPr userDrawn="1"/>
        </p:nvSpPr>
        <p:spPr>
          <a:xfrm>
            <a:off x="0" y="6308725"/>
            <a:ext cx="1279525" cy="549275"/>
          </a:xfrm>
          <a:prstGeom prst="rect">
            <a:avLst/>
          </a:pr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15" name="Picture Placeholder 14">
            <a:extLst>
              <a:ext uri="{FF2B5EF4-FFF2-40B4-BE49-F238E27FC236}">
                <a16:creationId xmlns:a16="http://schemas.microsoft.com/office/drawing/2014/main" id="{70A06357-C425-41D5-9918-A8A4792A8272}"/>
              </a:ext>
            </a:extLst>
          </p:cNvPr>
          <p:cNvSpPr>
            <a:spLocks noGrp="1"/>
          </p:cNvSpPr>
          <p:nvPr>
            <p:ph type="pic" sz="quarter" idx="15"/>
          </p:nvPr>
        </p:nvSpPr>
        <p:spPr>
          <a:xfrm>
            <a:off x="-1588" y="0"/>
            <a:ext cx="4065588" cy="6858000"/>
          </a:xfrm>
          <a:custGeom>
            <a:avLst/>
            <a:gdLst>
              <a:gd name="connsiteX0" fmla="*/ 813178 w 4065588"/>
              <a:gd name="connsiteY0" fmla="*/ 6423839 h 6858000"/>
              <a:gd name="connsiteX1" fmla="*/ 814139 w 4065588"/>
              <a:gd name="connsiteY1" fmla="*/ 6425983 h 6858000"/>
              <a:gd name="connsiteX2" fmla="*/ 844574 w 4065588"/>
              <a:gd name="connsiteY2" fmla="*/ 6528784 h 6858000"/>
              <a:gd name="connsiteX3" fmla="*/ 843672 w 4065588"/>
              <a:gd name="connsiteY3" fmla="*/ 6530809 h 6858000"/>
              <a:gd name="connsiteX4" fmla="*/ 842969 w 4065588"/>
              <a:gd name="connsiteY4" fmla="*/ 6530906 h 6858000"/>
              <a:gd name="connsiteX5" fmla="*/ 783397 w 4065588"/>
              <a:gd name="connsiteY5" fmla="*/ 6530906 h 6858000"/>
              <a:gd name="connsiteX6" fmla="*/ 781698 w 4065588"/>
              <a:gd name="connsiteY6" fmla="*/ 6529469 h 6858000"/>
              <a:gd name="connsiteX7" fmla="*/ 781792 w 4065588"/>
              <a:gd name="connsiteY7" fmla="*/ 6528784 h 6858000"/>
              <a:gd name="connsiteX8" fmla="*/ 812228 w 4065588"/>
              <a:gd name="connsiteY8" fmla="*/ 6425983 h 6858000"/>
              <a:gd name="connsiteX9" fmla="*/ 813178 w 4065588"/>
              <a:gd name="connsiteY9" fmla="*/ 6423839 h 6858000"/>
              <a:gd name="connsiteX10" fmla="*/ 589279 w 4065588"/>
              <a:gd name="connsiteY10" fmla="*/ 6423839 h 6858000"/>
              <a:gd name="connsiteX11" fmla="*/ 590229 w 4065588"/>
              <a:gd name="connsiteY11" fmla="*/ 6425983 h 6858000"/>
              <a:gd name="connsiteX12" fmla="*/ 620665 w 4065588"/>
              <a:gd name="connsiteY12" fmla="*/ 6528784 h 6858000"/>
              <a:gd name="connsiteX13" fmla="*/ 619786 w 4065588"/>
              <a:gd name="connsiteY13" fmla="*/ 6530804 h 6858000"/>
              <a:gd name="connsiteX14" fmla="*/ 619071 w 4065588"/>
              <a:gd name="connsiteY14" fmla="*/ 6530906 h 6858000"/>
              <a:gd name="connsiteX15" fmla="*/ 559499 w 4065588"/>
              <a:gd name="connsiteY15" fmla="*/ 6530906 h 6858000"/>
              <a:gd name="connsiteX16" fmla="*/ 557798 w 4065588"/>
              <a:gd name="connsiteY16" fmla="*/ 6529478 h 6858000"/>
              <a:gd name="connsiteX17" fmla="*/ 557894 w 4065588"/>
              <a:gd name="connsiteY17" fmla="*/ 6528784 h 6858000"/>
              <a:gd name="connsiteX18" fmla="*/ 588340 w 4065588"/>
              <a:gd name="connsiteY18" fmla="*/ 6425983 h 6858000"/>
              <a:gd name="connsiteX19" fmla="*/ 589279 w 4065588"/>
              <a:gd name="connsiteY19" fmla="*/ 6423839 h 6858000"/>
              <a:gd name="connsiteX20" fmla="*/ 545405 w 4065588"/>
              <a:gd name="connsiteY20" fmla="*/ 6352465 h 6858000"/>
              <a:gd name="connsiteX21" fmla="*/ 542449 w 4065588"/>
              <a:gd name="connsiteY21" fmla="*/ 6354577 h 6858000"/>
              <a:gd name="connsiteX22" fmla="*/ 444641 w 4065588"/>
              <a:gd name="connsiteY22" fmla="*/ 6633486 h 6858000"/>
              <a:gd name="connsiteX23" fmla="*/ 445355 w 4065588"/>
              <a:gd name="connsiteY23" fmla="*/ 6635455 h 6858000"/>
              <a:gd name="connsiteX24" fmla="*/ 446130 w 4065588"/>
              <a:gd name="connsiteY24" fmla="*/ 6635587 h 6858000"/>
              <a:gd name="connsiteX25" fmla="*/ 523331 w 4065588"/>
              <a:gd name="connsiteY25" fmla="*/ 6635587 h 6858000"/>
              <a:gd name="connsiteX26" fmla="*/ 526192 w 4065588"/>
              <a:gd name="connsiteY26" fmla="*/ 6633454 h 6858000"/>
              <a:gd name="connsiteX27" fmla="*/ 538691 w 4065588"/>
              <a:gd name="connsiteY27" fmla="*/ 6591713 h 6858000"/>
              <a:gd name="connsiteX28" fmla="*/ 541563 w 4065588"/>
              <a:gd name="connsiteY28" fmla="*/ 6589581 h 6858000"/>
              <a:gd name="connsiteX29" fmla="*/ 637006 w 4065588"/>
              <a:gd name="connsiteY29" fmla="*/ 6589581 h 6858000"/>
              <a:gd name="connsiteX30" fmla="*/ 639867 w 4065588"/>
              <a:gd name="connsiteY30" fmla="*/ 6591713 h 6858000"/>
              <a:gd name="connsiteX31" fmla="*/ 652377 w 4065588"/>
              <a:gd name="connsiteY31" fmla="*/ 6633454 h 6858000"/>
              <a:gd name="connsiteX32" fmla="*/ 655238 w 4065588"/>
              <a:gd name="connsiteY32" fmla="*/ 6635587 h 6858000"/>
              <a:gd name="connsiteX33" fmla="*/ 747230 w 4065588"/>
              <a:gd name="connsiteY33" fmla="*/ 6635587 h 6858000"/>
              <a:gd name="connsiteX34" fmla="*/ 750090 w 4065588"/>
              <a:gd name="connsiteY34" fmla="*/ 6633454 h 6858000"/>
              <a:gd name="connsiteX35" fmla="*/ 762600 w 4065588"/>
              <a:gd name="connsiteY35" fmla="*/ 6591713 h 6858000"/>
              <a:gd name="connsiteX36" fmla="*/ 765461 w 4065588"/>
              <a:gd name="connsiteY36" fmla="*/ 6589581 h 6858000"/>
              <a:gd name="connsiteX37" fmla="*/ 860915 w 4065588"/>
              <a:gd name="connsiteY37" fmla="*/ 6589581 h 6858000"/>
              <a:gd name="connsiteX38" fmla="*/ 863776 w 4065588"/>
              <a:gd name="connsiteY38" fmla="*/ 6591713 h 6858000"/>
              <a:gd name="connsiteX39" fmla="*/ 876265 w 4065588"/>
              <a:gd name="connsiteY39" fmla="*/ 6633454 h 6858000"/>
              <a:gd name="connsiteX40" fmla="*/ 879126 w 4065588"/>
              <a:gd name="connsiteY40" fmla="*/ 6635587 h 6858000"/>
              <a:gd name="connsiteX41" fmla="*/ 1011476 w 4065588"/>
              <a:gd name="connsiteY41" fmla="*/ 6635587 h 6858000"/>
              <a:gd name="connsiteX42" fmla="*/ 1013714 w 4065588"/>
              <a:gd name="connsiteY42" fmla="*/ 6633359 h 6858000"/>
              <a:gd name="connsiteX43" fmla="*/ 1013714 w 4065588"/>
              <a:gd name="connsiteY43" fmla="*/ 6558121 h 6858000"/>
              <a:gd name="connsiteX44" fmla="*/ 1015266 w 4065588"/>
              <a:gd name="connsiteY44" fmla="*/ 6554289 h 6858000"/>
              <a:gd name="connsiteX45" fmla="*/ 1044498 w 4065588"/>
              <a:gd name="connsiteY45" fmla="*/ 6524182 h 6858000"/>
              <a:gd name="connsiteX46" fmla="*/ 1046852 w 4065588"/>
              <a:gd name="connsiteY46" fmla="*/ 6523986 h 6858000"/>
              <a:gd name="connsiteX47" fmla="*/ 1047242 w 4065588"/>
              <a:gd name="connsiteY47" fmla="*/ 6524467 h 6858000"/>
              <a:gd name="connsiteX48" fmla="*/ 1115629 w 4065588"/>
              <a:gd name="connsiteY48" fmla="*/ 6633698 h 6858000"/>
              <a:gd name="connsiteX49" fmla="*/ 1119130 w 4065588"/>
              <a:gd name="connsiteY49" fmla="*/ 6635587 h 6858000"/>
              <a:gd name="connsiteX50" fmla="*/ 1216415 w 4065588"/>
              <a:gd name="connsiteY50" fmla="*/ 6635587 h 6858000"/>
              <a:gd name="connsiteX51" fmla="*/ 1217428 w 4065588"/>
              <a:gd name="connsiteY51" fmla="*/ 6633718 h 6858000"/>
              <a:gd name="connsiteX52" fmla="*/ 1108430 w 4065588"/>
              <a:gd name="connsiteY52" fmla="*/ 6465760 h 6858000"/>
              <a:gd name="connsiteX53" fmla="*/ 1108736 w 4065588"/>
              <a:gd name="connsiteY53" fmla="*/ 6462277 h 6858000"/>
              <a:gd name="connsiteX54" fmla="*/ 1209120 w 4065588"/>
              <a:gd name="connsiteY54" fmla="*/ 6354102 h 6858000"/>
              <a:gd name="connsiteX55" fmla="*/ 1208413 w 4065588"/>
              <a:gd name="connsiteY55" fmla="*/ 6352465 h 6858000"/>
              <a:gd name="connsiteX56" fmla="*/ 1111354 w 4065588"/>
              <a:gd name="connsiteY56" fmla="*/ 6352465 h 6858000"/>
              <a:gd name="connsiteX57" fmla="*/ 1107680 w 4065588"/>
              <a:gd name="connsiteY57" fmla="*/ 6354165 h 6858000"/>
              <a:gd name="connsiteX58" fmla="*/ 1015161 w 4065588"/>
              <a:gd name="connsiteY58" fmla="*/ 6461812 h 6858000"/>
              <a:gd name="connsiteX59" fmla="*/ 1013714 w 4065588"/>
              <a:gd name="connsiteY59" fmla="*/ 6461263 h 6858000"/>
              <a:gd name="connsiteX60" fmla="*/ 1013714 w 4065588"/>
              <a:gd name="connsiteY60" fmla="*/ 6354693 h 6858000"/>
              <a:gd name="connsiteX61" fmla="*/ 1011476 w 4065588"/>
              <a:gd name="connsiteY61" fmla="*/ 6352465 h 6858000"/>
              <a:gd name="connsiteX62" fmla="*/ 939722 w 4065588"/>
              <a:gd name="connsiteY62" fmla="*/ 6352465 h 6858000"/>
              <a:gd name="connsiteX63" fmla="*/ 937505 w 4065588"/>
              <a:gd name="connsiteY63" fmla="*/ 6354693 h 6858000"/>
              <a:gd name="connsiteX64" fmla="*/ 937505 w 4065588"/>
              <a:gd name="connsiteY64" fmla="*/ 6531687 h 6858000"/>
              <a:gd name="connsiteX65" fmla="*/ 956169 w 4065588"/>
              <a:gd name="connsiteY65" fmla="*/ 6580597 h 6858000"/>
              <a:gd name="connsiteX66" fmla="*/ 933757 w 4065588"/>
              <a:gd name="connsiteY66" fmla="*/ 6622233 h 6858000"/>
              <a:gd name="connsiteX67" fmla="*/ 911229 w 4065588"/>
              <a:gd name="connsiteY67" fmla="*/ 6578211 h 6858000"/>
              <a:gd name="connsiteX68" fmla="*/ 911229 w 4065588"/>
              <a:gd name="connsiteY68" fmla="*/ 6499616 h 6858000"/>
              <a:gd name="connsiteX69" fmla="*/ 860979 w 4065588"/>
              <a:gd name="connsiteY69" fmla="*/ 6354587 h 6858000"/>
              <a:gd name="connsiteX70" fmla="*/ 858023 w 4065588"/>
              <a:gd name="connsiteY70" fmla="*/ 6352465 h 6858000"/>
              <a:gd name="connsiteX71" fmla="*/ 769304 w 4065588"/>
              <a:gd name="connsiteY71" fmla="*/ 6352465 h 6858000"/>
              <a:gd name="connsiteX72" fmla="*/ 766348 w 4065588"/>
              <a:gd name="connsiteY72" fmla="*/ 6354577 h 6858000"/>
              <a:gd name="connsiteX73" fmla="*/ 702131 w 4065588"/>
              <a:gd name="connsiteY73" fmla="*/ 6537684 h 6858000"/>
              <a:gd name="connsiteX74" fmla="*/ 700674 w 4065588"/>
              <a:gd name="connsiteY74" fmla="*/ 6537684 h 6858000"/>
              <a:gd name="connsiteX75" fmla="*/ 637070 w 4065588"/>
              <a:gd name="connsiteY75" fmla="*/ 6354587 h 6858000"/>
              <a:gd name="connsiteX76" fmla="*/ 634114 w 4065588"/>
              <a:gd name="connsiteY76" fmla="*/ 6352465 h 6858000"/>
              <a:gd name="connsiteX77" fmla="*/ 0 w 4065588"/>
              <a:gd name="connsiteY77" fmla="*/ 0 h 6858000"/>
              <a:gd name="connsiteX78" fmla="*/ 3674155 w 4065588"/>
              <a:gd name="connsiteY78" fmla="*/ 0 h 6858000"/>
              <a:gd name="connsiteX79" fmla="*/ 3712291 w 4065588"/>
              <a:gd name="connsiteY79" fmla="*/ 3409950 h 6858000"/>
              <a:gd name="connsiteX80" fmla="*/ 3145020 w 4065588"/>
              <a:gd name="connsiteY80" fmla="*/ 6858000 h 6858000"/>
              <a:gd name="connsiteX81" fmla="*/ 21930 w 4065588"/>
              <a:gd name="connsiteY81" fmla="*/ 6858000 h 6858000"/>
              <a:gd name="connsiteX82" fmla="*/ 0 w 4065588"/>
              <a:gd name="connsiteY8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065588" h="6858000">
                <a:moveTo>
                  <a:pt x="813178" y="6423839"/>
                </a:moveTo>
                <a:cubicBezTo>
                  <a:pt x="813368" y="6423840"/>
                  <a:pt x="813800" y="6424811"/>
                  <a:pt x="814139" y="6425983"/>
                </a:cubicBezTo>
                <a:lnTo>
                  <a:pt x="844574" y="6528784"/>
                </a:lnTo>
                <a:cubicBezTo>
                  <a:pt x="844884" y="6529592"/>
                  <a:pt x="844480" y="6530499"/>
                  <a:pt x="843672" y="6530809"/>
                </a:cubicBezTo>
                <a:cubicBezTo>
                  <a:pt x="843448" y="6530894"/>
                  <a:pt x="843208" y="6530928"/>
                  <a:pt x="842969" y="6530906"/>
                </a:cubicBezTo>
                <a:lnTo>
                  <a:pt x="783397" y="6530906"/>
                </a:lnTo>
                <a:cubicBezTo>
                  <a:pt x="782531" y="6530979"/>
                  <a:pt x="781770" y="6530335"/>
                  <a:pt x="781698" y="6529469"/>
                </a:cubicBezTo>
                <a:cubicBezTo>
                  <a:pt x="781678" y="6529236"/>
                  <a:pt x="781711" y="6529003"/>
                  <a:pt x="781792" y="6528784"/>
                </a:cubicBezTo>
                <a:lnTo>
                  <a:pt x="812228" y="6425983"/>
                </a:lnTo>
                <a:cubicBezTo>
                  <a:pt x="812371" y="6425203"/>
                  <a:pt x="812697" y="6424469"/>
                  <a:pt x="813178" y="6423839"/>
                </a:cubicBezTo>
                <a:close/>
                <a:moveTo>
                  <a:pt x="589279" y="6423839"/>
                </a:moveTo>
                <a:cubicBezTo>
                  <a:pt x="589760" y="6424469"/>
                  <a:pt x="590086" y="6425203"/>
                  <a:pt x="590229" y="6425983"/>
                </a:cubicBezTo>
                <a:lnTo>
                  <a:pt x="620665" y="6528784"/>
                </a:lnTo>
                <a:cubicBezTo>
                  <a:pt x="620980" y="6529585"/>
                  <a:pt x="620587" y="6530489"/>
                  <a:pt x="619786" y="6530804"/>
                </a:cubicBezTo>
                <a:cubicBezTo>
                  <a:pt x="619559" y="6530894"/>
                  <a:pt x="619314" y="6530929"/>
                  <a:pt x="619071" y="6530906"/>
                </a:cubicBezTo>
                <a:lnTo>
                  <a:pt x="559499" y="6530906"/>
                </a:lnTo>
                <a:cubicBezTo>
                  <a:pt x="558635" y="6530981"/>
                  <a:pt x="557873" y="6530342"/>
                  <a:pt x="557798" y="6529478"/>
                </a:cubicBezTo>
                <a:cubicBezTo>
                  <a:pt x="557777" y="6529243"/>
                  <a:pt x="557810" y="6529005"/>
                  <a:pt x="557894" y="6528784"/>
                </a:cubicBezTo>
                <a:lnTo>
                  <a:pt x="588340" y="6425983"/>
                </a:lnTo>
                <a:cubicBezTo>
                  <a:pt x="588487" y="6425207"/>
                  <a:pt x="588808" y="6424474"/>
                  <a:pt x="589279" y="6423839"/>
                </a:cubicBezTo>
                <a:close/>
                <a:moveTo>
                  <a:pt x="545405" y="6352465"/>
                </a:moveTo>
                <a:cubicBezTo>
                  <a:pt x="544090" y="6352525"/>
                  <a:pt x="542932" y="6353352"/>
                  <a:pt x="542449" y="6354577"/>
                </a:cubicBezTo>
                <a:lnTo>
                  <a:pt x="444641" y="6633486"/>
                </a:lnTo>
                <a:cubicBezTo>
                  <a:pt x="444294" y="6634227"/>
                  <a:pt x="444614" y="6635108"/>
                  <a:pt x="445355" y="6635455"/>
                </a:cubicBezTo>
                <a:cubicBezTo>
                  <a:pt x="445596" y="6635568"/>
                  <a:pt x="445864" y="6635614"/>
                  <a:pt x="446130" y="6635587"/>
                </a:cubicBezTo>
                <a:lnTo>
                  <a:pt x="523331" y="6635587"/>
                </a:lnTo>
                <a:cubicBezTo>
                  <a:pt x="524632" y="6635530"/>
                  <a:pt x="525766" y="6634685"/>
                  <a:pt x="526192" y="6633454"/>
                </a:cubicBezTo>
                <a:lnTo>
                  <a:pt x="538691" y="6591713"/>
                </a:lnTo>
                <a:cubicBezTo>
                  <a:pt x="539119" y="6590480"/>
                  <a:pt x="540258" y="6589634"/>
                  <a:pt x="541563" y="6589581"/>
                </a:cubicBezTo>
                <a:lnTo>
                  <a:pt x="637006" y="6589581"/>
                </a:lnTo>
                <a:cubicBezTo>
                  <a:pt x="638306" y="6589641"/>
                  <a:pt x="639438" y="6590485"/>
                  <a:pt x="639867" y="6591713"/>
                </a:cubicBezTo>
                <a:lnTo>
                  <a:pt x="652377" y="6633454"/>
                </a:lnTo>
                <a:cubicBezTo>
                  <a:pt x="652806" y="6634683"/>
                  <a:pt x="653938" y="6635527"/>
                  <a:pt x="655238" y="6635587"/>
                </a:cubicBezTo>
                <a:lnTo>
                  <a:pt x="747230" y="6635587"/>
                </a:lnTo>
                <a:cubicBezTo>
                  <a:pt x="748530" y="6635530"/>
                  <a:pt x="749664" y="6634685"/>
                  <a:pt x="750090" y="6633454"/>
                </a:cubicBezTo>
                <a:lnTo>
                  <a:pt x="762600" y="6591713"/>
                </a:lnTo>
                <a:cubicBezTo>
                  <a:pt x="763021" y="6590479"/>
                  <a:pt x="764158" y="6589631"/>
                  <a:pt x="765461" y="6589581"/>
                </a:cubicBezTo>
                <a:lnTo>
                  <a:pt x="860915" y="6589581"/>
                </a:lnTo>
                <a:cubicBezTo>
                  <a:pt x="862215" y="6589641"/>
                  <a:pt x="863347" y="6590485"/>
                  <a:pt x="863776" y="6591713"/>
                </a:cubicBezTo>
                <a:lnTo>
                  <a:pt x="876265" y="6633454"/>
                </a:lnTo>
                <a:cubicBezTo>
                  <a:pt x="876696" y="6634681"/>
                  <a:pt x="877827" y="6635524"/>
                  <a:pt x="879126" y="6635587"/>
                </a:cubicBezTo>
                <a:lnTo>
                  <a:pt x="1011476" y="6635587"/>
                </a:lnTo>
                <a:cubicBezTo>
                  <a:pt x="1012707" y="6635584"/>
                  <a:pt x="1013705" y="6634590"/>
                  <a:pt x="1013714" y="6633359"/>
                </a:cubicBezTo>
                <a:lnTo>
                  <a:pt x="1013714" y="6558121"/>
                </a:lnTo>
                <a:cubicBezTo>
                  <a:pt x="1013784" y="6556706"/>
                  <a:pt x="1014331" y="6555355"/>
                  <a:pt x="1015266" y="6554289"/>
                </a:cubicBezTo>
                <a:lnTo>
                  <a:pt x="1044498" y="6524182"/>
                </a:lnTo>
                <a:cubicBezTo>
                  <a:pt x="1045094" y="6523478"/>
                  <a:pt x="1046148" y="6523390"/>
                  <a:pt x="1046852" y="6523986"/>
                </a:cubicBezTo>
                <a:cubicBezTo>
                  <a:pt x="1047011" y="6524121"/>
                  <a:pt x="1047143" y="6524284"/>
                  <a:pt x="1047242" y="6524467"/>
                </a:cubicBezTo>
                <a:lnTo>
                  <a:pt x="1115629" y="6633698"/>
                </a:lnTo>
                <a:cubicBezTo>
                  <a:pt x="1116385" y="6634897"/>
                  <a:pt x="1117713" y="6635613"/>
                  <a:pt x="1119130" y="6635587"/>
                </a:cubicBezTo>
                <a:lnTo>
                  <a:pt x="1216415" y="6635587"/>
                </a:lnTo>
                <a:cubicBezTo>
                  <a:pt x="1217650" y="6635587"/>
                  <a:pt x="1218104" y="6634743"/>
                  <a:pt x="1217428" y="6633718"/>
                </a:cubicBezTo>
                <a:lnTo>
                  <a:pt x="1108430" y="6465760"/>
                </a:lnTo>
                <a:cubicBezTo>
                  <a:pt x="1107760" y="6464657"/>
                  <a:pt x="1107884" y="6463247"/>
                  <a:pt x="1108736" y="6462277"/>
                </a:cubicBezTo>
                <a:lnTo>
                  <a:pt x="1209120" y="6354102"/>
                </a:lnTo>
                <a:cubicBezTo>
                  <a:pt x="1209954" y="6353204"/>
                  <a:pt x="1209637" y="6352465"/>
                  <a:pt x="1208413" y="6352465"/>
                </a:cubicBezTo>
                <a:lnTo>
                  <a:pt x="1111354" y="6352465"/>
                </a:lnTo>
                <a:cubicBezTo>
                  <a:pt x="1109958" y="6352546"/>
                  <a:pt x="1108645" y="6353153"/>
                  <a:pt x="1107680" y="6354165"/>
                </a:cubicBezTo>
                <a:lnTo>
                  <a:pt x="1015161" y="6461812"/>
                </a:lnTo>
                <a:cubicBezTo>
                  <a:pt x="1014358" y="6462741"/>
                  <a:pt x="1013714" y="6462488"/>
                  <a:pt x="1013714" y="6461263"/>
                </a:cubicBezTo>
                <a:lnTo>
                  <a:pt x="1013714" y="6354693"/>
                </a:lnTo>
                <a:cubicBezTo>
                  <a:pt x="1013705" y="6353462"/>
                  <a:pt x="1012707" y="6352468"/>
                  <a:pt x="1011476" y="6352465"/>
                </a:cubicBezTo>
                <a:lnTo>
                  <a:pt x="939722" y="6352465"/>
                </a:lnTo>
                <a:cubicBezTo>
                  <a:pt x="938499" y="6352478"/>
                  <a:pt x="937511" y="6353469"/>
                  <a:pt x="937505" y="6354693"/>
                </a:cubicBezTo>
                <a:lnTo>
                  <a:pt x="937505" y="6531687"/>
                </a:lnTo>
                <a:cubicBezTo>
                  <a:pt x="937114" y="6564445"/>
                  <a:pt x="944441" y="6560317"/>
                  <a:pt x="956169" y="6580597"/>
                </a:cubicBezTo>
                <a:cubicBezTo>
                  <a:pt x="965786" y="6597192"/>
                  <a:pt x="957584" y="6620596"/>
                  <a:pt x="933757" y="6622233"/>
                </a:cubicBezTo>
                <a:cubicBezTo>
                  <a:pt x="913879" y="6623605"/>
                  <a:pt x="896386" y="6600940"/>
                  <a:pt x="911229" y="6578211"/>
                </a:cubicBezTo>
                <a:cubicBezTo>
                  <a:pt x="926906" y="6554247"/>
                  <a:pt x="933483" y="6565342"/>
                  <a:pt x="911229" y="6499616"/>
                </a:cubicBezTo>
                <a:lnTo>
                  <a:pt x="860979" y="6354587"/>
                </a:lnTo>
                <a:cubicBezTo>
                  <a:pt x="860500" y="6353357"/>
                  <a:pt x="859341" y="6352525"/>
                  <a:pt x="858023" y="6352465"/>
                </a:cubicBezTo>
                <a:lnTo>
                  <a:pt x="769304" y="6352465"/>
                </a:lnTo>
                <a:cubicBezTo>
                  <a:pt x="767988" y="6352525"/>
                  <a:pt x="766831" y="6353352"/>
                  <a:pt x="766348" y="6354577"/>
                </a:cubicBezTo>
                <a:lnTo>
                  <a:pt x="702131" y="6537684"/>
                </a:lnTo>
                <a:cubicBezTo>
                  <a:pt x="701719" y="6538845"/>
                  <a:pt x="701065" y="6538845"/>
                  <a:pt x="700674" y="6537684"/>
                </a:cubicBezTo>
                <a:lnTo>
                  <a:pt x="637070" y="6354587"/>
                </a:lnTo>
                <a:cubicBezTo>
                  <a:pt x="636591" y="6353357"/>
                  <a:pt x="635432" y="6352525"/>
                  <a:pt x="634114" y="6352465"/>
                </a:cubicBezTo>
                <a:close/>
                <a:moveTo>
                  <a:pt x="0" y="0"/>
                </a:moveTo>
                <a:lnTo>
                  <a:pt x="3674155" y="0"/>
                </a:lnTo>
                <a:cubicBezTo>
                  <a:pt x="3883902" y="438150"/>
                  <a:pt x="4417803" y="1833563"/>
                  <a:pt x="3712291" y="3409950"/>
                </a:cubicBezTo>
                <a:cubicBezTo>
                  <a:pt x="2963875" y="5086350"/>
                  <a:pt x="2968642" y="6186488"/>
                  <a:pt x="3145020" y="6858000"/>
                </a:cubicBezTo>
                <a:cubicBezTo>
                  <a:pt x="1482835" y="6858000"/>
                  <a:pt x="547856" y="6858000"/>
                  <a:pt x="21930" y="6858000"/>
                </a:cubicBezTo>
                <a:lnTo>
                  <a:pt x="0" y="6858000"/>
                </a:ln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75162" y="1219200"/>
            <a:ext cx="7273925" cy="4910138"/>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30CB508B-8AC0-4766-B3AB-334A68857A6A}"/>
              </a:ext>
            </a:extLst>
          </p:cNvPr>
          <p:cNvSpPr>
            <a:spLocks noGrp="1"/>
          </p:cNvSpPr>
          <p:nvPr>
            <p:ph type="title"/>
          </p:nvPr>
        </p:nvSpPr>
        <p:spPr>
          <a:xfrm>
            <a:off x="4475163" y="221456"/>
            <a:ext cx="7273925" cy="775597"/>
          </a:xfrm>
        </p:spPr>
        <p:txBody>
          <a:bodyPr/>
          <a:lstStyle/>
          <a:p>
            <a:r>
              <a:rPr lang="en-US"/>
              <a:t>Click to edit Master title style</a:t>
            </a:r>
            <a:endParaRPr lang="en-US" dirty="0"/>
          </a:p>
        </p:txBody>
      </p:sp>
      <p:sp>
        <p:nvSpPr>
          <p:cNvPr id="2" name="Date Placeholder 19">
            <a:extLst>
              <a:ext uri="{FF2B5EF4-FFF2-40B4-BE49-F238E27FC236}">
                <a16:creationId xmlns:a16="http://schemas.microsoft.com/office/drawing/2014/main" id="{DD2197B6-F9EA-A4F4-DF4E-8AC0F9BA8C45}"/>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E30E702F-6D85-FDE7-9EB4-AD1FBFB6A899}"/>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 name="Footer Placeholder 4">
            <a:extLst>
              <a:ext uri="{FF2B5EF4-FFF2-40B4-BE49-F238E27FC236}">
                <a16:creationId xmlns:a16="http://schemas.microsoft.com/office/drawing/2014/main" id="{1D0E51F7-C54E-6AA9-794F-2BF8C17947CC}"/>
              </a:ext>
            </a:extLst>
          </p:cNvPr>
          <p:cNvSpPr>
            <a:spLocks noGrp="1"/>
          </p:cNvSpPr>
          <p:nvPr>
            <p:ph type="ftr" sz="quarter" idx="16"/>
          </p:nvPr>
        </p:nvSpPr>
        <p:spPr/>
        <p:txBody>
          <a:bodyPr/>
          <a:lstStyle/>
          <a:p>
            <a:endParaRPr lang="en-GB"/>
          </a:p>
        </p:txBody>
      </p:sp>
    </p:spTree>
    <p:extLst>
      <p:ext uri="{BB962C8B-B14F-4D97-AF65-F5344CB8AC3E}">
        <p14:creationId xmlns:p14="http://schemas.microsoft.com/office/powerpoint/2010/main" val="4239086806"/>
      </p:ext>
    </p:extLst>
  </p:cSld>
  <p:clrMapOvr>
    <a:masterClrMapping/>
  </p:clrMapOvr>
  <p:extLst>
    <p:ext uri="{DCECCB84-F9BA-43D5-87BE-67443E8EF086}">
      <p15:sldGuideLst xmlns:p15="http://schemas.microsoft.com/office/powerpoint/2012/main">
        <p15:guide id="1" pos="281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Picture left_Blue logo">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80B2781-0CC3-4F92-B815-8D4328F13D4C}"/>
              </a:ext>
            </a:extLst>
          </p:cNvPr>
          <p:cNvSpPr/>
          <p:nvPr userDrawn="1"/>
        </p:nvSpPr>
        <p:spPr>
          <a:xfrm>
            <a:off x="0" y="6308725"/>
            <a:ext cx="1279525" cy="549275"/>
          </a:xfrm>
          <a:prstGeom prst="rect">
            <a:avLst/>
          </a:prstGeom>
          <a:solidFill>
            <a:srgbClr val="2067CA"/>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13" name="Picture Placeholder 12">
            <a:extLst>
              <a:ext uri="{FF2B5EF4-FFF2-40B4-BE49-F238E27FC236}">
                <a16:creationId xmlns:a16="http://schemas.microsoft.com/office/drawing/2014/main" id="{B4EE9AD7-9511-4781-98BB-BCB9D935E939}"/>
              </a:ext>
            </a:extLst>
          </p:cNvPr>
          <p:cNvSpPr>
            <a:spLocks noGrp="1"/>
          </p:cNvSpPr>
          <p:nvPr>
            <p:ph type="pic" sz="quarter" idx="18"/>
          </p:nvPr>
        </p:nvSpPr>
        <p:spPr>
          <a:xfrm>
            <a:off x="-1588" y="0"/>
            <a:ext cx="4065588" cy="6858000"/>
          </a:xfrm>
          <a:custGeom>
            <a:avLst/>
            <a:gdLst>
              <a:gd name="connsiteX0" fmla="*/ 813178 w 4065588"/>
              <a:gd name="connsiteY0" fmla="*/ 6423839 h 6858000"/>
              <a:gd name="connsiteX1" fmla="*/ 814139 w 4065588"/>
              <a:gd name="connsiteY1" fmla="*/ 6425983 h 6858000"/>
              <a:gd name="connsiteX2" fmla="*/ 844574 w 4065588"/>
              <a:gd name="connsiteY2" fmla="*/ 6528784 h 6858000"/>
              <a:gd name="connsiteX3" fmla="*/ 843672 w 4065588"/>
              <a:gd name="connsiteY3" fmla="*/ 6530809 h 6858000"/>
              <a:gd name="connsiteX4" fmla="*/ 842969 w 4065588"/>
              <a:gd name="connsiteY4" fmla="*/ 6530906 h 6858000"/>
              <a:gd name="connsiteX5" fmla="*/ 783397 w 4065588"/>
              <a:gd name="connsiteY5" fmla="*/ 6530906 h 6858000"/>
              <a:gd name="connsiteX6" fmla="*/ 781698 w 4065588"/>
              <a:gd name="connsiteY6" fmla="*/ 6529469 h 6858000"/>
              <a:gd name="connsiteX7" fmla="*/ 781792 w 4065588"/>
              <a:gd name="connsiteY7" fmla="*/ 6528784 h 6858000"/>
              <a:gd name="connsiteX8" fmla="*/ 812228 w 4065588"/>
              <a:gd name="connsiteY8" fmla="*/ 6425983 h 6858000"/>
              <a:gd name="connsiteX9" fmla="*/ 813178 w 4065588"/>
              <a:gd name="connsiteY9" fmla="*/ 6423839 h 6858000"/>
              <a:gd name="connsiteX10" fmla="*/ 589279 w 4065588"/>
              <a:gd name="connsiteY10" fmla="*/ 6423839 h 6858000"/>
              <a:gd name="connsiteX11" fmla="*/ 590229 w 4065588"/>
              <a:gd name="connsiteY11" fmla="*/ 6425983 h 6858000"/>
              <a:gd name="connsiteX12" fmla="*/ 620665 w 4065588"/>
              <a:gd name="connsiteY12" fmla="*/ 6528784 h 6858000"/>
              <a:gd name="connsiteX13" fmla="*/ 619786 w 4065588"/>
              <a:gd name="connsiteY13" fmla="*/ 6530804 h 6858000"/>
              <a:gd name="connsiteX14" fmla="*/ 619071 w 4065588"/>
              <a:gd name="connsiteY14" fmla="*/ 6530906 h 6858000"/>
              <a:gd name="connsiteX15" fmla="*/ 559499 w 4065588"/>
              <a:gd name="connsiteY15" fmla="*/ 6530906 h 6858000"/>
              <a:gd name="connsiteX16" fmla="*/ 557798 w 4065588"/>
              <a:gd name="connsiteY16" fmla="*/ 6529478 h 6858000"/>
              <a:gd name="connsiteX17" fmla="*/ 557894 w 4065588"/>
              <a:gd name="connsiteY17" fmla="*/ 6528784 h 6858000"/>
              <a:gd name="connsiteX18" fmla="*/ 588340 w 4065588"/>
              <a:gd name="connsiteY18" fmla="*/ 6425983 h 6858000"/>
              <a:gd name="connsiteX19" fmla="*/ 589279 w 4065588"/>
              <a:gd name="connsiteY19" fmla="*/ 6423839 h 6858000"/>
              <a:gd name="connsiteX20" fmla="*/ 545405 w 4065588"/>
              <a:gd name="connsiteY20" fmla="*/ 6352465 h 6858000"/>
              <a:gd name="connsiteX21" fmla="*/ 542449 w 4065588"/>
              <a:gd name="connsiteY21" fmla="*/ 6354577 h 6858000"/>
              <a:gd name="connsiteX22" fmla="*/ 444641 w 4065588"/>
              <a:gd name="connsiteY22" fmla="*/ 6633486 h 6858000"/>
              <a:gd name="connsiteX23" fmla="*/ 445355 w 4065588"/>
              <a:gd name="connsiteY23" fmla="*/ 6635455 h 6858000"/>
              <a:gd name="connsiteX24" fmla="*/ 446130 w 4065588"/>
              <a:gd name="connsiteY24" fmla="*/ 6635587 h 6858000"/>
              <a:gd name="connsiteX25" fmla="*/ 523331 w 4065588"/>
              <a:gd name="connsiteY25" fmla="*/ 6635587 h 6858000"/>
              <a:gd name="connsiteX26" fmla="*/ 526192 w 4065588"/>
              <a:gd name="connsiteY26" fmla="*/ 6633454 h 6858000"/>
              <a:gd name="connsiteX27" fmla="*/ 538691 w 4065588"/>
              <a:gd name="connsiteY27" fmla="*/ 6591713 h 6858000"/>
              <a:gd name="connsiteX28" fmla="*/ 541563 w 4065588"/>
              <a:gd name="connsiteY28" fmla="*/ 6589581 h 6858000"/>
              <a:gd name="connsiteX29" fmla="*/ 637006 w 4065588"/>
              <a:gd name="connsiteY29" fmla="*/ 6589581 h 6858000"/>
              <a:gd name="connsiteX30" fmla="*/ 639867 w 4065588"/>
              <a:gd name="connsiteY30" fmla="*/ 6591713 h 6858000"/>
              <a:gd name="connsiteX31" fmla="*/ 652377 w 4065588"/>
              <a:gd name="connsiteY31" fmla="*/ 6633454 h 6858000"/>
              <a:gd name="connsiteX32" fmla="*/ 655238 w 4065588"/>
              <a:gd name="connsiteY32" fmla="*/ 6635587 h 6858000"/>
              <a:gd name="connsiteX33" fmla="*/ 747230 w 4065588"/>
              <a:gd name="connsiteY33" fmla="*/ 6635587 h 6858000"/>
              <a:gd name="connsiteX34" fmla="*/ 750090 w 4065588"/>
              <a:gd name="connsiteY34" fmla="*/ 6633454 h 6858000"/>
              <a:gd name="connsiteX35" fmla="*/ 762600 w 4065588"/>
              <a:gd name="connsiteY35" fmla="*/ 6591713 h 6858000"/>
              <a:gd name="connsiteX36" fmla="*/ 765461 w 4065588"/>
              <a:gd name="connsiteY36" fmla="*/ 6589581 h 6858000"/>
              <a:gd name="connsiteX37" fmla="*/ 860915 w 4065588"/>
              <a:gd name="connsiteY37" fmla="*/ 6589581 h 6858000"/>
              <a:gd name="connsiteX38" fmla="*/ 863776 w 4065588"/>
              <a:gd name="connsiteY38" fmla="*/ 6591713 h 6858000"/>
              <a:gd name="connsiteX39" fmla="*/ 876265 w 4065588"/>
              <a:gd name="connsiteY39" fmla="*/ 6633454 h 6858000"/>
              <a:gd name="connsiteX40" fmla="*/ 879126 w 4065588"/>
              <a:gd name="connsiteY40" fmla="*/ 6635587 h 6858000"/>
              <a:gd name="connsiteX41" fmla="*/ 1011476 w 4065588"/>
              <a:gd name="connsiteY41" fmla="*/ 6635587 h 6858000"/>
              <a:gd name="connsiteX42" fmla="*/ 1013714 w 4065588"/>
              <a:gd name="connsiteY42" fmla="*/ 6633359 h 6858000"/>
              <a:gd name="connsiteX43" fmla="*/ 1013714 w 4065588"/>
              <a:gd name="connsiteY43" fmla="*/ 6558121 h 6858000"/>
              <a:gd name="connsiteX44" fmla="*/ 1015266 w 4065588"/>
              <a:gd name="connsiteY44" fmla="*/ 6554289 h 6858000"/>
              <a:gd name="connsiteX45" fmla="*/ 1044498 w 4065588"/>
              <a:gd name="connsiteY45" fmla="*/ 6524182 h 6858000"/>
              <a:gd name="connsiteX46" fmla="*/ 1046852 w 4065588"/>
              <a:gd name="connsiteY46" fmla="*/ 6523986 h 6858000"/>
              <a:gd name="connsiteX47" fmla="*/ 1047242 w 4065588"/>
              <a:gd name="connsiteY47" fmla="*/ 6524467 h 6858000"/>
              <a:gd name="connsiteX48" fmla="*/ 1115629 w 4065588"/>
              <a:gd name="connsiteY48" fmla="*/ 6633698 h 6858000"/>
              <a:gd name="connsiteX49" fmla="*/ 1119130 w 4065588"/>
              <a:gd name="connsiteY49" fmla="*/ 6635587 h 6858000"/>
              <a:gd name="connsiteX50" fmla="*/ 1216415 w 4065588"/>
              <a:gd name="connsiteY50" fmla="*/ 6635587 h 6858000"/>
              <a:gd name="connsiteX51" fmla="*/ 1217428 w 4065588"/>
              <a:gd name="connsiteY51" fmla="*/ 6633718 h 6858000"/>
              <a:gd name="connsiteX52" fmla="*/ 1108430 w 4065588"/>
              <a:gd name="connsiteY52" fmla="*/ 6465760 h 6858000"/>
              <a:gd name="connsiteX53" fmla="*/ 1108736 w 4065588"/>
              <a:gd name="connsiteY53" fmla="*/ 6462277 h 6858000"/>
              <a:gd name="connsiteX54" fmla="*/ 1209120 w 4065588"/>
              <a:gd name="connsiteY54" fmla="*/ 6354102 h 6858000"/>
              <a:gd name="connsiteX55" fmla="*/ 1208413 w 4065588"/>
              <a:gd name="connsiteY55" fmla="*/ 6352465 h 6858000"/>
              <a:gd name="connsiteX56" fmla="*/ 1111354 w 4065588"/>
              <a:gd name="connsiteY56" fmla="*/ 6352465 h 6858000"/>
              <a:gd name="connsiteX57" fmla="*/ 1107680 w 4065588"/>
              <a:gd name="connsiteY57" fmla="*/ 6354165 h 6858000"/>
              <a:gd name="connsiteX58" fmla="*/ 1015161 w 4065588"/>
              <a:gd name="connsiteY58" fmla="*/ 6461812 h 6858000"/>
              <a:gd name="connsiteX59" fmla="*/ 1013714 w 4065588"/>
              <a:gd name="connsiteY59" fmla="*/ 6461263 h 6858000"/>
              <a:gd name="connsiteX60" fmla="*/ 1013714 w 4065588"/>
              <a:gd name="connsiteY60" fmla="*/ 6354693 h 6858000"/>
              <a:gd name="connsiteX61" fmla="*/ 1011476 w 4065588"/>
              <a:gd name="connsiteY61" fmla="*/ 6352465 h 6858000"/>
              <a:gd name="connsiteX62" fmla="*/ 939722 w 4065588"/>
              <a:gd name="connsiteY62" fmla="*/ 6352465 h 6858000"/>
              <a:gd name="connsiteX63" fmla="*/ 937505 w 4065588"/>
              <a:gd name="connsiteY63" fmla="*/ 6354693 h 6858000"/>
              <a:gd name="connsiteX64" fmla="*/ 937505 w 4065588"/>
              <a:gd name="connsiteY64" fmla="*/ 6531687 h 6858000"/>
              <a:gd name="connsiteX65" fmla="*/ 956169 w 4065588"/>
              <a:gd name="connsiteY65" fmla="*/ 6580597 h 6858000"/>
              <a:gd name="connsiteX66" fmla="*/ 933757 w 4065588"/>
              <a:gd name="connsiteY66" fmla="*/ 6622233 h 6858000"/>
              <a:gd name="connsiteX67" fmla="*/ 911229 w 4065588"/>
              <a:gd name="connsiteY67" fmla="*/ 6578211 h 6858000"/>
              <a:gd name="connsiteX68" fmla="*/ 911229 w 4065588"/>
              <a:gd name="connsiteY68" fmla="*/ 6499616 h 6858000"/>
              <a:gd name="connsiteX69" fmla="*/ 860979 w 4065588"/>
              <a:gd name="connsiteY69" fmla="*/ 6354587 h 6858000"/>
              <a:gd name="connsiteX70" fmla="*/ 858023 w 4065588"/>
              <a:gd name="connsiteY70" fmla="*/ 6352465 h 6858000"/>
              <a:gd name="connsiteX71" fmla="*/ 769304 w 4065588"/>
              <a:gd name="connsiteY71" fmla="*/ 6352465 h 6858000"/>
              <a:gd name="connsiteX72" fmla="*/ 766348 w 4065588"/>
              <a:gd name="connsiteY72" fmla="*/ 6354577 h 6858000"/>
              <a:gd name="connsiteX73" fmla="*/ 702131 w 4065588"/>
              <a:gd name="connsiteY73" fmla="*/ 6537684 h 6858000"/>
              <a:gd name="connsiteX74" fmla="*/ 700674 w 4065588"/>
              <a:gd name="connsiteY74" fmla="*/ 6537684 h 6858000"/>
              <a:gd name="connsiteX75" fmla="*/ 637070 w 4065588"/>
              <a:gd name="connsiteY75" fmla="*/ 6354587 h 6858000"/>
              <a:gd name="connsiteX76" fmla="*/ 634114 w 4065588"/>
              <a:gd name="connsiteY76" fmla="*/ 6352465 h 6858000"/>
              <a:gd name="connsiteX77" fmla="*/ 0 w 4065588"/>
              <a:gd name="connsiteY77" fmla="*/ 0 h 6858000"/>
              <a:gd name="connsiteX78" fmla="*/ 3674155 w 4065588"/>
              <a:gd name="connsiteY78" fmla="*/ 0 h 6858000"/>
              <a:gd name="connsiteX79" fmla="*/ 3712291 w 4065588"/>
              <a:gd name="connsiteY79" fmla="*/ 3409950 h 6858000"/>
              <a:gd name="connsiteX80" fmla="*/ 3145020 w 4065588"/>
              <a:gd name="connsiteY80" fmla="*/ 6858000 h 6858000"/>
              <a:gd name="connsiteX81" fmla="*/ 21930 w 4065588"/>
              <a:gd name="connsiteY81" fmla="*/ 6858000 h 6858000"/>
              <a:gd name="connsiteX82" fmla="*/ 0 w 4065588"/>
              <a:gd name="connsiteY8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065588" h="6858000">
                <a:moveTo>
                  <a:pt x="813178" y="6423839"/>
                </a:moveTo>
                <a:cubicBezTo>
                  <a:pt x="813368" y="6423840"/>
                  <a:pt x="813800" y="6424811"/>
                  <a:pt x="814139" y="6425983"/>
                </a:cubicBezTo>
                <a:lnTo>
                  <a:pt x="844574" y="6528784"/>
                </a:lnTo>
                <a:cubicBezTo>
                  <a:pt x="844884" y="6529592"/>
                  <a:pt x="844480" y="6530499"/>
                  <a:pt x="843672" y="6530809"/>
                </a:cubicBezTo>
                <a:cubicBezTo>
                  <a:pt x="843448" y="6530894"/>
                  <a:pt x="843208" y="6530928"/>
                  <a:pt x="842969" y="6530906"/>
                </a:cubicBezTo>
                <a:lnTo>
                  <a:pt x="783397" y="6530906"/>
                </a:lnTo>
                <a:cubicBezTo>
                  <a:pt x="782531" y="6530979"/>
                  <a:pt x="781770" y="6530335"/>
                  <a:pt x="781698" y="6529469"/>
                </a:cubicBezTo>
                <a:cubicBezTo>
                  <a:pt x="781678" y="6529236"/>
                  <a:pt x="781711" y="6529003"/>
                  <a:pt x="781792" y="6528784"/>
                </a:cubicBezTo>
                <a:lnTo>
                  <a:pt x="812228" y="6425983"/>
                </a:lnTo>
                <a:cubicBezTo>
                  <a:pt x="812371" y="6425203"/>
                  <a:pt x="812697" y="6424469"/>
                  <a:pt x="813178" y="6423839"/>
                </a:cubicBezTo>
                <a:close/>
                <a:moveTo>
                  <a:pt x="589279" y="6423839"/>
                </a:moveTo>
                <a:cubicBezTo>
                  <a:pt x="589760" y="6424469"/>
                  <a:pt x="590086" y="6425203"/>
                  <a:pt x="590229" y="6425983"/>
                </a:cubicBezTo>
                <a:lnTo>
                  <a:pt x="620665" y="6528784"/>
                </a:lnTo>
                <a:cubicBezTo>
                  <a:pt x="620980" y="6529585"/>
                  <a:pt x="620587" y="6530489"/>
                  <a:pt x="619786" y="6530804"/>
                </a:cubicBezTo>
                <a:cubicBezTo>
                  <a:pt x="619559" y="6530894"/>
                  <a:pt x="619314" y="6530929"/>
                  <a:pt x="619071" y="6530906"/>
                </a:cubicBezTo>
                <a:lnTo>
                  <a:pt x="559499" y="6530906"/>
                </a:lnTo>
                <a:cubicBezTo>
                  <a:pt x="558635" y="6530981"/>
                  <a:pt x="557873" y="6530342"/>
                  <a:pt x="557798" y="6529478"/>
                </a:cubicBezTo>
                <a:cubicBezTo>
                  <a:pt x="557777" y="6529243"/>
                  <a:pt x="557810" y="6529005"/>
                  <a:pt x="557894" y="6528784"/>
                </a:cubicBezTo>
                <a:lnTo>
                  <a:pt x="588340" y="6425983"/>
                </a:lnTo>
                <a:cubicBezTo>
                  <a:pt x="588487" y="6425207"/>
                  <a:pt x="588808" y="6424474"/>
                  <a:pt x="589279" y="6423839"/>
                </a:cubicBezTo>
                <a:close/>
                <a:moveTo>
                  <a:pt x="545405" y="6352465"/>
                </a:moveTo>
                <a:cubicBezTo>
                  <a:pt x="544090" y="6352525"/>
                  <a:pt x="542932" y="6353352"/>
                  <a:pt x="542449" y="6354577"/>
                </a:cubicBezTo>
                <a:lnTo>
                  <a:pt x="444641" y="6633486"/>
                </a:lnTo>
                <a:cubicBezTo>
                  <a:pt x="444294" y="6634227"/>
                  <a:pt x="444614" y="6635108"/>
                  <a:pt x="445355" y="6635455"/>
                </a:cubicBezTo>
                <a:cubicBezTo>
                  <a:pt x="445596" y="6635568"/>
                  <a:pt x="445864" y="6635614"/>
                  <a:pt x="446130" y="6635587"/>
                </a:cubicBezTo>
                <a:lnTo>
                  <a:pt x="523331" y="6635587"/>
                </a:lnTo>
                <a:cubicBezTo>
                  <a:pt x="524632" y="6635530"/>
                  <a:pt x="525766" y="6634685"/>
                  <a:pt x="526192" y="6633454"/>
                </a:cubicBezTo>
                <a:lnTo>
                  <a:pt x="538691" y="6591713"/>
                </a:lnTo>
                <a:cubicBezTo>
                  <a:pt x="539119" y="6590480"/>
                  <a:pt x="540258" y="6589634"/>
                  <a:pt x="541563" y="6589581"/>
                </a:cubicBezTo>
                <a:lnTo>
                  <a:pt x="637006" y="6589581"/>
                </a:lnTo>
                <a:cubicBezTo>
                  <a:pt x="638306" y="6589641"/>
                  <a:pt x="639438" y="6590485"/>
                  <a:pt x="639867" y="6591713"/>
                </a:cubicBezTo>
                <a:lnTo>
                  <a:pt x="652377" y="6633454"/>
                </a:lnTo>
                <a:cubicBezTo>
                  <a:pt x="652806" y="6634683"/>
                  <a:pt x="653938" y="6635527"/>
                  <a:pt x="655238" y="6635587"/>
                </a:cubicBezTo>
                <a:lnTo>
                  <a:pt x="747230" y="6635587"/>
                </a:lnTo>
                <a:cubicBezTo>
                  <a:pt x="748530" y="6635530"/>
                  <a:pt x="749664" y="6634685"/>
                  <a:pt x="750090" y="6633454"/>
                </a:cubicBezTo>
                <a:lnTo>
                  <a:pt x="762600" y="6591713"/>
                </a:lnTo>
                <a:cubicBezTo>
                  <a:pt x="763021" y="6590479"/>
                  <a:pt x="764158" y="6589631"/>
                  <a:pt x="765461" y="6589581"/>
                </a:cubicBezTo>
                <a:lnTo>
                  <a:pt x="860915" y="6589581"/>
                </a:lnTo>
                <a:cubicBezTo>
                  <a:pt x="862215" y="6589641"/>
                  <a:pt x="863347" y="6590485"/>
                  <a:pt x="863776" y="6591713"/>
                </a:cubicBezTo>
                <a:lnTo>
                  <a:pt x="876265" y="6633454"/>
                </a:lnTo>
                <a:cubicBezTo>
                  <a:pt x="876696" y="6634681"/>
                  <a:pt x="877827" y="6635524"/>
                  <a:pt x="879126" y="6635587"/>
                </a:cubicBezTo>
                <a:lnTo>
                  <a:pt x="1011476" y="6635587"/>
                </a:lnTo>
                <a:cubicBezTo>
                  <a:pt x="1012707" y="6635584"/>
                  <a:pt x="1013705" y="6634590"/>
                  <a:pt x="1013714" y="6633359"/>
                </a:cubicBezTo>
                <a:lnTo>
                  <a:pt x="1013714" y="6558121"/>
                </a:lnTo>
                <a:cubicBezTo>
                  <a:pt x="1013784" y="6556706"/>
                  <a:pt x="1014331" y="6555355"/>
                  <a:pt x="1015266" y="6554289"/>
                </a:cubicBezTo>
                <a:lnTo>
                  <a:pt x="1044498" y="6524182"/>
                </a:lnTo>
                <a:cubicBezTo>
                  <a:pt x="1045094" y="6523478"/>
                  <a:pt x="1046148" y="6523390"/>
                  <a:pt x="1046852" y="6523986"/>
                </a:cubicBezTo>
                <a:cubicBezTo>
                  <a:pt x="1047011" y="6524121"/>
                  <a:pt x="1047143" y="6524284"/>
                  <a:pt x="1047242" y="6524467"/>
                </a:cubicBezTo>
                <a:lnTo>
                  <a:pt x="1115629" y="6633698"/>
                </a:lnTo>
                <a:cubicBezTo>
                  <a:pt x="1116385" y="6634897"/>
                  <a:pt x="1117713" y="6635613"/>
                  <a:pt x="1119130" y="6635587"/>
                </a:cubicBezTo>
                <a:lnTo>
                  <a:pt x="1216415" y="6635587"/>
                </a:lnTo>
                <a:cubicBezTo>
                  <a:pt x="1217650" y="6635587"/>
                  <a:pt x="1218104" y="6634743"/>
                  <a:pt x="1217428" y="6633718"/>
                </a:cubicBezTo>
                <a:lnTo>
                  <a:pt x="1108430" y="6465760"/>
                </a:lnTo>
                <a:cubicBezTo>
                  <a:pt x="1107760" y="6464657"/>
                  <a:pt x="1107884" y="6463247"/>
                  <a:pt x="1108736" y="6462277"/>
                </a:cubicBezTo>
                <a:lnTo>
                  <a:pt x="1209120" y="6354102"/>
                </a:lnTo>
                <a:cubicBezTo>
                  <a:pt x="1209954" y="6353204"/>
                  <a:pt x="1209637" y="6352465"/>
                  <a:pt x="1208413" y="6352465"/>
                </a:cubicBezTo>
                <a:lnTo>
                  <a:pt x="1111354" y="6352465"/>
                </a:lnTo>
                <a:cubicBezTo>
                  <a:pt x="1109958" y="6352546"/>
                  <a:pt x="1108645" y="6353153"/>
                  <a:pt x="1107680" y="6354165"/>
                </a:cubicBezTo>
                <a:lnTo>
                  <a:pt x="1015161" y="6461812"/>
                </a:lnTo>
                <a:cubicBezTo>
                  <a:pt x="1014358" y="6462741"/>
                  <a:pt x="1013714" y="6462488"/>
                  <a:pt x="1013714" y="6461263"/>
                </a:cubicBezTo>
                <a:lnTo>
                  <a:pt x="1013714" y="6354693"/>
                </a:lnTo>
                <a:cubicBezTo>
                  <a:pt x="1013705" y="6353462"/>
                  <a:pt x="1012707" y="6352468"/>
                  <a:pt x="1011476" y="6352465"/>
                </a:cubicBezTo>
                <a:lnTo>
                  <a:pt x="939722" y="6352465"/>
                </a:lnTo>
                <a:cubicBezTo>
                  <a:pt x="938499" y="6352478"/>
                  <a:pt x="937511" y="6353469"/>
                  <a:pt x="937505" y="6354693"/>
                </a:cubicBezTo>
                <a:lnTo>
                  <a:pt x="937505" y="6531687"/>
                </a:lnTo>
                <a:cubicBezTo>
                  <a:pt x="937114" y="6564445"/>
                  <a:pt x="944441" y="6560317"/>
                  <a:pt x="956169" y="6580597"/>
                </a:cubicBezTo>
                <a:cubicBezTo>
                  <a:pt x="965786" y="6597192"/>
                  <a:pt x="957584" y="6620596"/>
                  <a:pt x="933757" y="6622233"/>
                </a:cubicBezTo>
                <a:cubicBezTo>
                  <a:pt x="913879" y="6623605"/>
                  <a:pt x="896386" y="6600940"/>
                  <a:pt x="911229" y="6578211"/>
                </a:cubicBezTo>
                <a:cubicBezTo>
                  <a:pt x="926906" y="6554247"/>
                  <a:pt x="933483" y="6565342"/>
                  <a:pt x="911229" y="6499616"/>
                </a:cubicBezTo>
                <a:lnTo>
                  <a:pt x="860979" y="6354587"/>
                </a:lnTo>
                <a:cubicBezTo>
                  <a:pt x="860500" y="6353357"/>
                  <a:pt x="859341" y="6352525"/>
                  <a:pt x="858023" y="6352465"/>
                </a:cubicBezTo>
                <a:lnTo>
                  <a:pt x="769304" y="6352465"/>
                </a:lnTo>
                <a:cubicBezTo>
                  <a:pt x="767988" y="6352525"/>
                  <a:pt x="766831" y="6353352"/>
                  <a:pt x="766348" y="6354577"/>
                </a:cubicBezTo>
                <a:lnTo>
                  <a:pt x="702131" y="6537684"/>
                </a:lnTo>
                <a:cubicBezTo>
                  <a:pt x="701719" y="6538845"/>
                  <a:pt x="701065" y="6538845"/>
                  <a:pt x="700674" y="6537684"/>
                </a:cubicBezTo>
                <a:lnTo>
                  <a:pt x="637070" y="6354587"/>
                </a:lnTo>
                <a:cubicBezTo>
                  <a:pt x="636591" y="6353357"/>
                  <a:pt x="635432" y="6352525"/>
                  <a:pt x="634114" y="6352465"/>
                </a:cubicBezTo>
                <a:close/>
                <a:moveTo>
                  <a:pt x="0" y="0"/>
                </a:moveTo>
                <a:lnTo>
                  <a:pt x="3674155" y="0"/>
                </a:lnTo>
                <a:cubicBezTo>
                  <a:pt x="3883902" y="438150"/>
                  <a:pt x="4417803" y="1833563"/>
                  <a:pt x="3712291" y="3409950"/>
                </a:cubicBezTo>
                <a:cubicBezTo>
                  <a:pt x="2963875" y="5086350"/>
                  <a:pt x="2968642" y="6186488"/>
                  <a:pt x="3145020" y="6858000"/>
                </a:cubicBezTo>
                <a:cubicBezTo>
                  <a:pt x="1482835" y="6858000"/>
                  <a:pt x="547856" y="6858000"/>
                  <a:pt x="21930" y="6858000"/>
                </a:cubicBezTo>
                <a:lnTo>
                  <a:pt x="0" y="6858000"/>
                </a:ln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75162" y="1219200"/>
            <a:ext cx="7273925" cy="4910138"/>
          </a:xfrm>
        </p:spPr>
        <p:txBody>
          <a:bodyPr/>
          <a:lstStyle>
            <a:lvl3pPr>
              <a:lnSpc>
                <a:spcPct val="90000"/>
              </a:lnSpc>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CF30406A-F6DC-4711-8E52-5214C1D51CA5}"/>
              </a:ext>
            </a:extLst>
          </p:cNvPr>
          <p:cNvSpPr>
            <a:spLocks noGrp="1"/>
          </p:cNvSpPr>
          <p:nvPr>
            <p:ph type="title"/>
          </p:nvPr>
        </p:nvSpPr>
        <p:spPr>
          <a:xfrm>
            <a:off x="4475163" y="221456"/>
            <a:ext cx="7273925" cy="775597"/>
          </a:xfrm>
        </p:spPr>
        <p:txBody>
          <a:bodyPr/>
          <a:lstStyle/>
          <a:p>
            <a:r>
              <a:rPr lang="en-US"/>
              <a:t>Click to edit Master title style</a:t>
            </a:r>
            <a:endParaRPr lang="en-US" dirty="0"/>
          </a:p>
        </p:txBody>
      </p:sp>
      <p:sp>
        <p:nvSpPr>
          <p:cNvPr id="2" name="Date Placeholder 19">
            <a:extLst>
              <a:ext uri="{FF2B5EF4-FFF2-40B4-BE49-F238E27FC236}">
                <a16:creationId xmlns:a16="http://schemas.microsoft.com/office/drawing/2014/main" id="{57D07CFA-1164-AE67-3550-9619462EC9D5}"/>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AAF81A32-374E-83B1-28CC-7A550C050C69}"/>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 name="Footer Placeholder 4">
            <a:extLst>
              <a:ext uri="{FF2B5EF4-FFF2-40B4-BE49-F238E27FC236}">
                <a16:creationId xmlns:a16="http://schemas.microsoft.com/office/drawing/2014/main" id="{7E66447E-E571-AEBF-6F95-057C104BC3E6}"/>
              </a:ext>
            </a:extLst>
          </p:cNvPr>
          <p:cNvSpPr>
            <a:spLocks noGrp="1"/>
          </p:cNvSpPr>
          <p:nvPr>
            <p:ph type="ftr" sz="quarter" idx="19"/>
          </p:nvPr>
        </p:nvSpPr>
        <p:spPr/>
        <p:txBody>
          <a:bodyPr/>
          <a:lstStyle/>
          <a:p>
            <a:endParaRPr lang="en-GB"/>
          </a:p>
        </p:txBody>
      </p:sp>
    </p:spTree>
    <p:extLst>
      <p:ext uri="{BB962C8B-B14F-4D97-AF65-F5344CB8AC3E}">
        <p14:creationId xmlns:p14="http://schemas.microsoft.com/office/powerpoint/2010/main" val="2548639126"/>
      </p:ext>
    </p:extLst>
  </p:cSld>
  <p:clrMapOvr>
    <a:masterClrMapping/>
  </p:clrMapOvr>
  <p:extLst>
    <p:ext uri="{DCECCB84-F9BA-43D5-87BE-67443E8EF086}">
      <p15:sldGuideLst xmlns:p15="http://schemas.microsoft.com/office/powerpoint/2012/main">
        <p15:guide id="1" pos="281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_Illustrated_White logo">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90A70F0-0D66-E30E-ABE2-832F4257DB3C}"/>
              </a:ext>
            </a:extLst>
          </p:cNvPr>
          <p:cNvGraphicFramePr>
            <a:graphicFrameLocks noChangeAspect="1"/>
          </p:cNvGraphicFramePr>
          <p:nvPr userDrawn="1">
            <p:custDataLst>
              <p:tags r:id="rId1"/>
            </p:custDataLst>
            <p:extLst>
              <p:ext uri="{D42A27DB-BD31-4B8C-83A1-F6EECF244321}">
                <p14:modId xmlns:p14="http://schemas.microsoft.com/office/powerpoint/2010/main" val="2822138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think-cell data - do not delete" hidden="1">
                        <a:extLst>
                          <a:ext uri="{FF2B5EF4-FFF2-40B4-BE49-F238E27FC236}">
                            <a16:creationId xmlns:a16="http://schemas.microsoft.com/office/drawing/2014/main" id="{290A70F0-0D66-E30E-ABE2-832F4257DB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83" descr="A group of yellow flowers&#10;&#10;Description automatically generated with medium confidence">
            <a:extLst>
              <a:ext uri="{FF2B5EF4-FFF2-40B4-BE49-F238E27FC236}">
                <a16:creationId xmlns:a16="http://schemas.microsoft.com/office/drawing/2014/main" id="{FB1D1476-7AF5-2553-80DF-13AF14CAC8B7}"/>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3071982" y="4861912"/>
            <a:ext cx="2155129" cy="1393961"/>
          </a:xfrm>
          <a:prstGeom prst="rect">
            <a:avLst/>
          </a:prstGeom>
        </p:spPr>
      </p:pic>
      <p:pic>
        <p:nvPicPr>
          <p:cNvPr id="5" name="Picture 83" descr="A group of yellow flowers&#10;&#10;Description automatically generated with medium confidence">
            <a:extLst>
              <a:ext uri="{FF2B5EF4-FFF2-40B4-BE49-F238E27FC236}">
                <a16:creationId xmlns:a16="http://schemas.microsoft.com/office/drawing/2014/main" id="{5C3B8887-EDFE-A774-F1E7-2C7303E9663E}"/>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flipH="1">
            <a:off x="312689" y="5002122"/>
            <a:ext cx="2155129" cy="1393961"/>
          </a:xfrm>
          <a:prstGeom prst="rect">
            <a:avLst/>
          </a:prstGeom>
        </p:spPr>
      </p:pic>
      <p:pic>
        <p:nvPicPr>
          <p:cNvPr id="6" name="Picture 156" descr="A group of yellow flowers&#10;&#10;Description automatically generated with medium confidence">
            <a:extLst>
              <a:ext uri="{FF2B5EF4-FFF2-40B4-BE49-F238E27FC236}">
                <a16:creationId xmlns:a16="http://schemas.microsoft.com/office/drawing/2014/main" id="{D4DC7A26-8D51-9A51-BDBE-CE9BBED7ADFF}"/>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l="72279"/>
          <a:stretch/>
        </p:blipFill>
        <p:spPr>
          <a:xfrm>
            <a:off x="2467818" y="5065497"/>
            <a:ext cx="597434" cy="1393962"/>
          </a:xfrm>
          <a:prstGeom prst="rect">
            <a:avLst/>
          </a:prstGeom>
        </p:spPr>
      </p:pic>
      <p:pic>
        <p:nvPicPr>
          <p:cNvPr id="7" name="Bildobjekt 8">
            <a:extLst>
              <a:ext uri="{FF2B5EF4-FFF2-40B4-BE49-F238E27FC236}">
                <a16:creationId xmlns:a16="http://schemas.microsoft.com/office/drawing/2014/main" id="{6E7903CB-ECDD-7DDD-1FAD-3824BD672A15}"/>
              </a:ext>
            </a:extLst>
          </p:cNvPr>
          <p:cNvPicPr>
            <a:picLocks noChangeAspect="1"/>
          </p:cNvPicPr>
          <p:nvPr userDrawn="1"/>
        </p:nvPicPr>
        <p:blipFill>
          <a:blip r:embed="rId6"/>
          <a:stretch>
            <a:fillRect/>
          </a:stretch>
        </p:blipFill>
        <p:spPr>
          <a:xfrm>
            <a:off x="9997268" y="4230459"/>
            <a:ext cx="1732871" cy="1412836"/>
          </a:xfrm>
          <a:prstGeom prst="rect">
            <a:avLst/>
          </a:prstGeom>
        </p:spPr>
      </p:pic>
      <p:pic>
        <p:nvPicPr>
          <p:cNvPr id="11" name="Bildobjekt 9">
            <a:extLst>
              <a:ext uri="{FF2B5EF4-FFF2-40B4-BE49-F238E27FC236}">
                <a16:creationId xmlns:a16="http://schemas.microsoft.com/office/drawing/2014/main" id="{20321F56-FABE-1225-413A-C4FBEC5C7A81}"/>
              </a:ext>
            </a:extLst>
          </p:cNvPr>
          <p:cNvPicPr>
            <a:picLocks noChangeAspect="1"/>
          </p:cNvPicPr>
          <p:nvPr userDrawn="1"/>
        </p:nvPicPr>
        <p:blipFill>
          <a:blip r:embed="rId7"/>
          <a:srcRect r="330" b="83895"/>
          <a:stretch/>
        </p:blipFill>
        <p:spPr>
          <a:xfrm flipH="1">
            <a:off x="0" y="5121494"/>
            <a:ext cx="12192000" cy="1736506"/>
          </a:xfrm>
          <a:prstGeom prst="rect">
            <a:avLst/>
          </a:prstGeom>
        </p:spPr>
      </p:pic>
      <p:sp>
        <p:nvSpPr>
          <p:cNvPr id="13" name="Title 1">
            <a:extLst>
              <a:ext uri="{FF2B5EF4-FFF2-40B4-BE49-F238E27FC236}">
                <a16:creationId xmlns:a16="http://schemas.microsoft.com/office/drawing/2014/main" id="{D174F43C-BA0E-F9F8-9C98-332FA94D435E}"/>
              </a:ext>
            </a:extLst>
          </p:cNvPr>
          <p:cNvSpPr>
            <a:spLocks noGrp="1"/>
          </p:cNvSpPr>
          <p:nvPr>
            <p:ph type="ctrTitle" hasCustomPrompt="1"/>
          </p:nvPr>
        </p:nvSpPr>
        <p:spPr>
          <a:xfrm>
            <a:off x="457200" y="2321312"/>
            <a:ext cx="10637838" cy="1661993"/>
          </a:xfrm>
        </p:spPr>
        <p:txBody>
          <a:bodyPr vert="horz" anchor="b">
            <a:noAutofit/>
          </a:bodyPr>
          <a:lstStyle>
            <a:lvl1pPr algn="l">
              <a:defRPr sz="6000">
                <a:solidFill>
                  <a:srgbClr val="00264E"/>
                </a:solidFill>
                <a:latin typeface="Playfair Display Black" pitchFamily="2" charset="0"/>
              </a:defRPr>
            </a:lvl1pPr>
          </a:lstStyle>
          <a:p>
            <a:r>
              <a:rPr lang="en-US" noProof="0" dirty="0"/>
              <a:t>Click to add slide title</a:t>
            </a:r>
          </a:p>
        </p:txBody>
      </p:sp>
      <p:pic>
        <p:nvPicPr>
          <p:cNvPr id="19" name="Picture 87" descr="A picture containing diagram&#10;&#10;Description automatically generated">
            <a:extLst>
              <a:ext uri="{FF2B5EF4-FFF2-40B4-BE49-F238E27FC236}">
                <a16:creationId xmlns:a16="http://schemas.microsoft.com/office/drawing/2014/main" id="{D8425EA0-54D2-1509-3122-DB653E9AFEF6}"/>
              </a:ext>
            </a:extLst>
          </p:cNvPr>
          <p:cNvPicPr>
            <a:picLocks noChangeAspect="1"/>
          </p:cNvPicPr>
          <p:nvPr userDrawn="1"/>
        </p:nvPicPr>
        <p:blipFill>
          <a:blip r:embed="rId8" cstate="hqprint">
            <a:extLst>
              <a:ext uri="{28A0092B-C50C-407E-A947-70E740481C1C}">
                <a14:useLocalDpi xmlns:a14="http://schemas.microsoft.com/office/drawing/2010/main"/>
              </a:ext>
            </a:extLst>
          </a:blip>
          <a:srcRect l="61642" r="27580" b="86470"/>
          <a:stretch/>
        </p:blipFill>
        <p:spPr>
          <a:xfrm>
            <a:off x="8686705" y="786248"/>
            <a:ext cx="1487188" cy="1188776"/>
          </a:xfrm>
          <a:prstGeom prst="rect">
            <a:avLst/>
          </a:prstGeom>
        </p:spPr>
      </p:pic>
      <p:pic>
        <p:nvPicPr>
          <p:cNvPr id="20" name="Picture 87" descr="A picture containing diagram&#10;&#10;Description automatically generated">
            <a:extLst>
              <a:ext uri="{FF2B5EF4-FFF2-40B4-BE49-F238E27FC236}">
                <a16:creationId xmlns:a16="http://schemas.microsoft.com/office/drawing/2014/main" id="{8CFD19F5-FBD8-D38A-6B27-CEC20465CA80}"/>
              </a:ext>
            </a:extLst>
          </p:cNvPr>
          <p:cNvPicPr>
            <a:picLocks noChangeAspect="1"/>
          </p:cNvPicPr>
          <p:nvPr userDrawn="1"/>
        </p:nvPicPr>
        <p:blipFill>
          <a:blip r:embed="rId8" cstate="hqprint">
            <a:extLst>
              <a:ext uri="{28A0092B-C50C-407E-A947-70E740481C1C}">
                <a14:useLocalDpi xmlns:a14="http://schemas.microsoft.com/office/drawing/2010/main"/>
              </a:ext>
            </a:extLst>
          </a:blip>
          <a:srcRect l="68451" t="12540" r="17334" b="79103"/>
          <a:stretch/>
        </p:blipFill>
        <p:spPr>
          <a:xfrm rot="502737">
            <a:off x="2696373" y="1511250"/>
            <a:ext cx="1843204" cy="689953"/>
          </a:xfrm>
          <a:prstGeom prst="rect">
            <a:avLst/>
          </a:prstGeom>
        </p:spPr>
      </p:pic>
      <p:sp>
        <p:nvSpPr>
          <p:cNvPr id="2" name="Date Placeholder 19">
            <a:extLst>
              <a:ext uri="{FF2B5EF4-FFF2-40B4-BE49-F238E27FC236}">
                <a16:creationId xmlns:a16="http://schemas.microsoft.com/office/drawing/2014/main" id="{832AC3E4-AD64-AC61-E584-5D301D22228F}"/>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3" name="Slide Number Placeholder 20">
            <a:extLst>
              <a:ext uri="{FF2B5EF4-FFF2-40B4-BE49-F238E27FC236}">
                <a16:creationId xmlns:a16="http://schemas.microsoft.com/office/drawing/2014/main" id="{88C587D2-4810-F7A1-1D61-8A42DA87EF24}"/>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9" name="Graphic 21">
            <a:extLst>
              <a:ext uri="{FF2B5EF4-FFF2-40B4-BE49-F238E27FC236}">
                <a16:creationId xmlns:a16="http://schemas.microsoft.com/office/drawing/2014/main" id="{63FCBB46-36FA-5963-BF0C-3812A79A8EEA}"/>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Work Sans Light"/>
              <a:ea typeface="+mn-ea"/>
              <a:cs typeface="+mn-cs"/>
            </a:endParaRPr>
          </a:p>
        </p:txBody>
      </p:sp>
      <p:sp>
        <p:nvSpPr>
          <p:cNvPr id="12" name="Text Placeholder 4">
            <a:extLst>
              <a:ext uri="{FF2B5EF4-FFF2-40B4-BE49-F238E27FC236}">
                <a16:creationId xmlns:a16="http://schemas.microsoft.com/office/drawing/2014/main" id="{B13471D3-D5AE-4E40-D66D-AB5BAE3D25D4}"/>
              </a:ext>
            </a:extLst>
          </p:cNvPr>
          <p:cNvSpPr>
            <a:spLocks noGrp="1"/>
          </p:cNvSpPr>
          <p:nvPr>
            <p:ph type="body" sz="quarter" idx="14" hasCustomPrompt="1"/>
          </p:nvPr>
        </p:nvSpPr>
        <p:spPr>
          <a:xfrm>
            <a:off x="457200" y="4097474"/>
            <a:ext cx="10652125" cy="360000"/>
          </a:xfrm>
        </p:spPr>
        <p:txBody>
          <a:bodyPr/>
          <a:lstStyle>
            <a:lvl1pPr marL="0" indent="0">
              <a:buNone/>
              <a:defRPr sz="2800">
                <a:solidFill>
                  <a:srgbClr val="00264E"/>
                </a:solidFill>
              </a:defRPr>
            </a:lvl1pPr>
          </a:lstStyle>
          <a:p>
            <a:pPr lvl="0"/>
            <a:r>
              <a:rPr lang="en-US" dirty="0"/>
              <a:t>Click to add presentation title sub-text</a:t>
            </a:r>
            <a:endParaRPr lang="en-GB" dirty="0"/>
          </a:p>
        </p:txBody>
      </p:sp>
      <p:sp>
        <p:nvSpPr>
          <p:cNvPr id="10" name="Footer Placeholder 9">
            <a:extLst>
              <a:ext uri="{FF2B5EF4-FFF2-40B4-BE49-F238E27FC236}">
                <a16:creationId xmlns:a16="http://schemas.microsoft.com/office/drawing/2014/main" id="{D5DEB9C7-7A83-09C7-57A2-E7E361E7C1F3}"/>
              </a:ext>
            </a:extLst>
          </p:cNvPr>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1093663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cture right_Blue footer">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1219200"/>
            <a:ext cx="7273925" cy="4910138"/>
          </a:xfrm>
        </p:spPr>
        <p:txBody>
          <a:bodyPr/>
          <a:lstStyle>
            <a:lvl4pPr>
              <a:lnSpc>
                <a:spcPct val="90000"/>
              </a:lnSpc>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CC509639-F8F2-4A3B-8E77-BF2B3C0FB070}"/>
              </a:ext>
            </a:extLst>
          </p:cNvPr>
          <p:cNvSpPr>
            <a:spLocks noGrp="1"/>
          </p:cNvSpPr>
          <p:nvPr>
            <p:ph type="title"/>
          </p:nvPr>
        </p:nvSpPr>
        <p:spPr>
          <a:xfrm>
            <a:off x="442913" y="221456"/>
            <a:ext cx="7273925" cy="775597"/>
          </a:xfrm>
        </p:spPr>
        <p:txBody>
          <a:bodyPr/>
          <a:lstStyle/>
          <a:p>
            <a:r>
              <a:rPr lang="en-US"/>
              <a:t>Click to edit Master title style</a:t>
            </a:r>
            <a:endParaRPr lang="en-US" dirty="0"/>
          </a:p>
        </p:txBody>
      </p:sp>
      <p:sp>
        <p:nvSpPr>
          <p:cNvPr id="13" name="Picture Placeholder 12">
            <a:extLst>
              <a:ext uri="{FF2B5EF4-FFF2-40B4-BE49-F238E27FC236}">
                <a16:creationId xmlns:a16="http://schemas.microsoft.com/office/drawing/2014/main" id="{6E3AD4FA-B85C-4165-BD3B-78778C0EA996}"/>
              </a:ext>
            </a:extLst>
          </p:cNvPr>
          <p:cNvSpPr>
            <a:spLocks noGrp="1"/>
          </p:cNvSpPr>
          <p:nvPr>
            <p:ph type="pic" sz="quarter" idx="15"/>
          </p:nvPr>
        </p:nvSpPr>
        <p:spPr>
          <a:xfrm>
            <a:off x="8126413" y="0"/>
            <a:ext cx="4065587" cy="6858000"/>
          </a:xfrm>
          <a:custGeom>
            <a:avLst/>
            <a:gdLst>
              <a:gd name="connsiteX0" fmla="*/ 920567 w 4065587"/>
              <a:gd name="connsiteY0" fmla="*/ 0 h 6858000"/>
              <a:gd name="connsiteX1" fmla="*/ 4043657 w 4065587"/>
              <a:gd name="connsiteY1" fmla="*/ 0 h 6858000"/>
              <a:gd name="connsiteX2" fmla="*/ 4065587 w 4065587"/>
              <a:gd name="connsiteY2" fmla="*/ 0 h 6858000"/>
              <a:gd name="connsiteX3" fmla="*/ 4065587 w 4065587"/>
              <a:gd name="connsiteY3" fmla="*/ 6858000 h 6858000"/>
              <a:gd name="connsiteX4" fmla="*/ 391433 w 4065587"/>
              <a:gd name="connsiteY4" fmla="*/ 6858000 h 6858000"/>
              <a:gd name="connsiteX5" fmla="*/ 353297 w 4065587"/>
              <a:gd name="connsiteY5" fmla="*/ 3448050 h 6858000"/>
              <a:gd name="connsiteX6" fmla="*/ 920567 w 406558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5587" h="6858000">
                <a:moveTo>
                  <a:pt x="920567" y="0"/>
                </a:moveTo>
                <a:cubicBezTo>
                  <a:pt x="2582752" y="0"/>
                  <a:pt x="3517731" y="0"/>
                  <a:pt x="4043657" y="0"/>
                </a:cubicBezTo>
                <a:lnTo>
                  <a:pt x="4065587" y="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endParaRPr lang="en-US" dirty="0"/>
          </a:p>
        </p:txBody>
      </p:sp>
      <p:sp>
        <p:nvSpPr>
          <p:cNvPr id="2" name="Date Placeholder 19">
            <a:extLst>
              <a:ext uri="{FF2B5EF4-FFF2-40B4-BE49-F238E27FC236}">
                <a16:creationId xmlns:a16="http://schemas.microsoft.com/office/drawing/2014/main" id="{46DA812E-DD77-C0EF-7463-9018160242A8}"/>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919ED543-58B0-045B-7694-382FCF0CAAD2}"/>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 name="Footer Placeholder 4">
            <a:extLst>
              <a:ext uri="{FF2B5EF4-FFF2-40B4-BE49-F238E27FC236}">
                <a16:creationId xmlns:a16="http://schemas.microsoft.com/office/drawing/2014/main" id="{4DA199FB-74BF-A5D0-7E30-EC947531C6FA}"/>
              </a:ext>
            </a:extLst>
          </p:cNvPr>
          <p:cNvSpPr>
            <a:spLocks noGrp="1"/>
          </p:cNvSpPr>
          <p:nvPr>
            <p:ph type="ftr" sz="quarter" idx="16"/>
          </p:nvPr>
        </p:nvSpPr>
        <p:spPr/>
        <p:txBody>
          <a:bodyPr/>
          <a:lstStyle/>
          <a:p>
            <a:endParaRPr lang="en-GB"/>
          </a:p>
        </p:txBody>
      </p:sp>
    </p:spTree>
    <p:extLst>
      <p:ext uri="{BB962C8B-B14F-4D97-AF65-F5344CB8AC3E}">
        <p14:creationId xmlns:p14="http://schemas.microsoft.com/office/powerpoint/2010/main" val="2654438318"/>
      </p:ext>
    </p:extLst>
  </p:cSld>
  <p:clrMapOvr>
    <a:masterClrMapping/>
  </p:clrMapOvr>
  <p:extLst>
    <p:ext uri="{DCECCB84-F9BA-43D5-87BE-67443E8EF086}">
      <p15:sldGuideLst xmlns:p15="http://schemas.microsoft.com/office/powerpoint/2012/main">
        <p15:guide id="1" pos="486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ig picture left_White logo">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AFBBB2-26EC-4B92-8CD3-8297E108AEAD}"/>
              </a:ext>
            </a:extLst>
          </p:cNvPr>
          <p:cNvSpPr/>
          <p:nvPr userDrawn="1"/>
        </p:nvSpPr>
        <p:spPr>
          <a:xfrm>
            <a:off x="0" y="6308725"/>
            <a:ext cx="1279525" cy="549275"/>
          </a:xfrm>
          <a:prstGeom prst="rect">
            <a:avLst/>
          </a:pr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8526463" y="1219200"/>
            <a:ext cx="3222624" cy="4910138"/>
          </a:xfrm>
        </p:spPr>
        <p:txBody>
          <a:bodyPr/>
          <a:lstStyle>
            <a:lvl3pPr>
              <a:lnSpc>
                <a:spcPct val="90000"/>
              </a:lnSpc>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B7462A84-DAC6-4BEC-8599-CFCC54B90947}"/>
              </a:ext>
            </a:extLst>
          </p:cNvPr>
          <p:cNvSpPr>
            <a:spLocks noGrp="1"/>
          </p:cNvSpPr>
          <p:nvPr>
            <p:ph type="title"/>
          </p:nvPr>
        </p:nvSpPr>
        <p:spPr>
          <a:xfrm>
            <a:off x="8509000" y="221456"/>
            <a:ext cx="3240088" cy="775597"/>
          </a:xfrm>
        </p:spPr>
        <p:txBody>
          <a:bodyPr/>
          <a:lstStyle/>
          <a:p>
            <a:r>
              <a:rPr lang="en-US"/>
              <a:t>Click to edit Master title style</a:t>
            </a:r>
            <a:endParaRPr lang="en-US" dirty="0"/>
          </a:p>
        </p:txBody>
      </p:sp>
      <p:sp>
        <p:nvSpPr>
          <p:cNvPr id="14" name="Picture Placeholder 13">
            <a:extLst>
              <a:ext uri="{FF2B5EF4-FFF2-40B4-BE49-F238E27FC236}">
                <a16:creationId xmlns:a16="http://schemas.microsoft.com/office/drawing/2014/main" id="{F32589BB-007C-4263-AE9A-45A07A831DD1}"/>
              </a:ext>
            </a:extLst>
          </p:cNvPr>
          <p:cNvSpPr>
            <a:spLocks noGrp="1"/>
          </p:cNvSpPr>
          <p:nvPr>
            <p:ph type="pic" sz="quarter" idx="14"/>
          </p:nvPr>
        </p:nvSpPr>
        <p:spPr>
          <a:xfrm>
            <a:off x="0" y="0"/>
            <a:ext cx="8112124" cy="6858000"/>
          </a:xfrm>
          <a:custGeom>
            <a:avLst/>
            <a:gdLst>
              <a:gd name="connsiteX0" fmla="*/ 811590 w 8112124"/>
              <a:gd name="connsiteY0" fmla="*/ 6423839 h 6858000"/>
              <a:gd name="connsiteX1" fmla="*/ 812551 w 8112124"/>
              <a:gd name="connsiteY1" fmla="*/ 6425983 h 6858000"/>
              <a:gd name="connsiteX2" fmla="*/ 842986 w 8112124"/>
              <a:gd name="connsiteY2" fmla="*/ 6528784 h 6858000"/>
              <a:gd name="connsiteX3" fmla="*/ 842084 w 8112124"/>
              <a:gd name="connsiteY3" fmla="*/ 6530809 h 6858000"/>
              <a:gd name="connsiteX4" fmla="*/ 841381 w 8112124"/>
              <a:gd name="connsiteY4" fmla="*/ 6530906 h 6858000"/>
              <a:gd name="connsiteX5" fmla="*/ 781809 w 8112124"/>
              <a:gd name="connsiteY5" fmla="*/ 6530906 h 6858000"/>
              <a:gd name="connsiteX6" fmla="*/ 780110 w 8112124"/>
              <a:gd name="connsiteY6" fmla="*/ 6529469 h 6858000"/>
              <a:gd name="connsiteX7" fmla="*/ 780204 w 8112124"/>
              <a:gd name="connsiteY7" fmla="*/ 6528784 h 6858000"/>
              <a:gd name="connsiteX8" fmla="*/ 810640 w 8112124"/>
              <a:gd name="connsiteY8" fmla="*/ 6425983 h 6858000"/>
              <a:gd name="connsiteX9" fmla="*/ 811590 w 8112124"/>
              <a:gd name="connsiteY9" fmla="*/ 6423839 h 6858000"/>
              <a:gd name="connsiteX10" fmla="*/ 587692 w 8112124"/>
              <a:gd name="connsiteY10" fmla="*/ 6423839 h 6858000"/>
              <a:gd name="connsiteX11" fmla="*/ 588641 w 8112124"/>
              <a:gd name="connsiteY11" fmla="*/ 6425983 h 6858000"/>
              <a:gd name="connsiteX12" fmla="*/ 619077 w 8112124"/>
              <a:gd name="connsiteY12" fmla="*/ 6528784 h 6858000"/>
              <a:gd name="connsiteX13" fmla="*/ 618198 w 8112124"/>
              <a:gd name="connsiteY13" fmla="*/ 6530804 h 6858000"/>
              <a:gd name="connsiteX14" fmla="*/ 617483 w 8112124"/>
              <a:gd name="connsiteY14" fmla="*/ 6530906 h 6858000"/>
              <a:gd name="connsiteX15" fmla="*/ 557911 w 8112124"/>
              <a:gd name="connsiteY15" fmla="*/ 6530906 h 6858000"/>
              <a:gd name="connsiteX16" fmla="*/ 556210 w 8112124"/>
              <a:gd name="connsiteY16" fmla="*/ 6529478 h 6858000"/>
              <a:gd name="connsiteX17" fmla="*/ 556306 w 8112124"/>
              <a:gd name="connsiteY17" fmla="*/ 6528784 h 6858000"/>
              <a:gd name="connsiteX18" fmla="*/ 586752 w 8112124"/>
              <a:gd name="connsiteY18" fmla="*/ 6425983 h 6858000"/>
              <a:gd name="connsiteX19" fmla="*/ 587692 w 8112124"/>
              <a:gd name="connsiteY19" fmla="*/ 6423839 h 6858000"/>
              <a:gd name="connsiteX20" fmla="*/ 543817 w 8112124"/>
              <a:gd name="connsiteY20" fmla="*/ 6352465 h 6858000"/>
              <a:gd name="connsiteX21" fmla="*/ 540861 w 8112124"/>
              <a:gd name="connsiteY21" fmla="*/ 6354577 h 6858000"/>
              <a:gd name="connsiteX22" fmla="*/ 443053 w 8112124"/>
              <a:gd name="connsiteY22" fmla="*/ 6633486 h 6858000"/>
              <a:gd name="connsiteX23" fmla="*/ 443767 w 8112124"/>
              <a:gd name="connsiteY23" fmla="*/ 6635455 h 6858000"/>
              <a:gd name="connsiteX24" fmla="*/ 444542 w 8112124"/>
              <a:gd name="connsiteY24" fmla="*/ 6635587 h 6858000"/>
              <a:gd name="connsiteX25" fmla="*/ 521743 w 8112124"/>
              <a:gd name="connsiteY25" fmla="*/ 6635587 h 6858000"/>
              <a:gd name="connsiteX26" fmla="*/ 524604 w 8112124"/>
              <a:gd name="connsiteY26" fmla="*/ 6633454 h 6858000"/>
              <a:gd name="connsiteX27" fmla="*/ 537103 w 8112124"/>
              <a:gd name="connsiteY27" fmla="*/ 6591713 h 6858000"/>
              <a:gd name="connsiteX28" fmla="*/ 539975 w 8112124"/>
              <a:gd name="connsiteY28" fmla="*/ 6589581 h 6858000"/>
              <a:gd name="connsiteX29" fmla="*/ 635418 w 8112124"/>
              <a:gd name="connsiteY29" fmla="*/ 6589581 h 6858000"/>
              <a:gd name="connsiteX30" fmla="*/ 638279 w 8112124"/>
              <a:gd name="connsiteY30" fmla="*/ 6591713 h 6858000"/>
              <a:gd name="connsiteX31" fmla="*/ 650789 w 8112124"/>
              <a:gd name="connsiteY31" fmla="*/ 6633454 h 6858000"/>
              <a:gd name="connsiteX32" fmla="*/ 653650 w 8112124"/>
              <a:gd name="connsiteY32" fmla="*/ 6635587 h 6858000"/>
              <a:gd name="connsiteX33" fmla="*/ 745642 w 8112124"/>
              <a:gd name="connsiteY33" fmla="*/ 6635587 h 6858000"/>
              <a:gd name="connsiteX34" fmla="*/ 748502 w 8112124"/>
              <a:gd name="connsiteY34" fmla="*/ 6633454 h 6858000"/>
              <a:gd name="connsiteX35" fmla="*/ 761012 w 8112124"/>
              <a:gd name="connsiteY35" fmla="*/ 6591713 h 6858000"/>
              <a:gd name="connsiteX36" fmla="*/ 763873 w 8112124"/>
              <a:gd name="connsiteY36" fmla="*/ 6589581 h 6858000"/>
              <a:gd name="connsiteX37" fmla="*/ 859328 w 8112124"/>
              <a:gd name="connsiteY37" fmla="*/ 6589581 h 6858000"/>
              <a:gd name="connsiteX38" fmla="*/ 862188 w 8112124"/>
              <a:gd name="connsiteY38" fmla="*/ 6591713 h 6858000"/>
              <a:gd name="connsiteX39" fmla="*/ 874677 w 8112124"/>
              <a:gd name="connsiteY39" fmla="*/ 6633454 h 6858000"/>
              <a:gd name="connsiteX40" fmla="*/ 877538 w 8112124"/>
              <a:gd name="connsiteY40" fmla="*/ 6635587 h 6858000"/>
              <a:gd name="connsiteX41" fmla="*/ 1009888 w 8112124"/>
              <a:gd name="connsiteY41" fmla="*/ 6635587 h 6858000"/>
              <a:gd name="connsiteX42" fmla="*/ 1012126 w 8112124"/>
              <a:gd name="connsiteY42" fmla="*/ 6633359 h 6858000"/>
              <a:gd name="connsiteX43" fmla="*/ 1012126 w 8112124"/>
              <a:gd name="connsiteY43" fmla="*/ 6558121 h 6858000"/>
              <a:gd name="connsiteX44" fmla="*/ 1013678 w 8112124"/>
              <a:gd name="connsiteY44" fmla="*/ 6554289 h 6858000"/>
              <a:gd name="connsiteX45" fmla="*/ 1042910 w 8112124"/>
              <a:gd name="connsiteY45" fmla="*/ 6524182 h 6858000"/>
              <a:gd name="connsiteX46" fmla="*/ 1045264 w 8112124"/>
              <a:gd name="connsiteY46" fmla="*/ 6523986 h 6858000"/>
              <a:gd name="connsiteX47" fmla="*/ 1045655 w 8112124"/>
              <a:gd name="connsiteY47" fmla="*/ 6524467 h 6858000"/>
              <a:gd name="connsiteX48" fmla="*/ 1114041 w 8112124"/>
              <a:gd name="connsiteY48" fmla="*/ 6633698 h 6858000"/>
              <a:gd name="connsiteX49" fmla="*/ 1117542 w 8112124"/>
              <a:gd name="connsiteY49" fmla="*/ 6635587 h 6858000"/>
              <a:gd name="connsiteX50" fmla="*/ 1214827 w 8112124"/>
              <a:gd name="connsiteY50" fmla="*/ 6635587 h 6858000"/>
              <a:gd name="connsiteX51" fmla="*/ 1215840 w 8112124"/>
              <a:gd name="connsiteY51" fmla="*/ 6633718 h 6858000"/>
              <a:gd name="connsiteX52" fmla="*/ 1106842 w 8112124"/>
              <a:gd name="connsiteY52" fmla="*/ 6465760 h 6858000"/>
              <a:gd name="connsiteX53" fmla="*/ 1107148 w 8112124"/>
              <a:gd name="connsiteY53" fmla="*/ 6462277 h 6858000"/>
              <a:gd name="connsiteX54" fmla="*/ 1207532 w 8112124"/>
              <a:gd name="connsiteY54" fmla="*/ 6354102 h 6858000"/>
              <a:gd name="connsiteX55" fmla="*/ 1206825 w 8112124"/>
              <a:gd name="connsiteY55" fmla="*/ 6352465 h 6858000"/>
              <a:gd name="connsiteX56" fmla="*/ 1109766 w 8112124"/>
              <a:gd name="connsiteY56" fmla="*/ 6352465 h 6858000"/>
              <a:gd name="connsiteX57" fmla="*/ 1106092 w 8112124"/>
              <a:gd name="connsiteY57" fmla="*/ 6354165 h 6858000"/>
              <a:gd name="connsiteX58" fmla="*/ 1013573 w 8112124"/>
              <a:gd name="connsiteY58" fmla="*/ 6461812 h 6858000"/>
              <a:gd name="connsiteX59" fmla="*/ 1012126 w 8112124"/>
              <a:gd name="connsiteY59" fmla="*/ 6461263 h 6858000"/>
              <a:gd name="connsiteX60" fmla="*/ 1012126 w 8112124"/>
              <a:gd name="connsiteY60" fmla="*/ 6354693 h 6858000"/>
              <a:gd name="connsiteX61" fmla="*/ 1009888 w 8112124"/>
              <a:gd name="connsiteY61" fmla="*/ 6352465 h 6858000"/>
              <a:gd name="connsiteX62" fmla="*/ 938134 w 8112124"/>
              <a:gd name="connsiteY62" fmla="*/ 6352465 h 6858000"/>
              <a:gd name="connsiteX63" fmla="*/ 935917 w 8112124"/>
              <a:gd name="connsiteY63" fmla="*/ 6354693 h 6858000"/>
              <a:gd name="connsiteX64" fmla="*/ 935917 w 8112124"/>
              <a:gd name="connsiteY64" fmla="*/ 6531687 h 6858000"/>
              <a:gd name="connsiteX65" fmla="*/ 954581 w 8112124"/>
              <a:gd name="connsiteY65" fmla="*/ 6580597 h 6858000"/>
              <a:gd name="connsiteX66" fmla="*/ 932169 w 8112124"/>
              <a:gd name="connsiteY66" fmla="*/ 6622233 h 6858000"/>
              <a:gd name="connsiteX67" fmla="*/ 909641 w 8112124"/>
              <a:gd name="connsiteY67" fmla="*/ 6578211 h 6858000"/>
              <a:gd name="connsiteX68" fmla="*/ 909641 w 8112124"/>
              <a:gd name="connsiteY68" fmla="*/ 6499616 h 6858000"/>
              <a:gd name="connsiteX69" fmla="*/ 859391 w 8112124"/>
              <a:gd name="connsiteY69" fmla="*/ 6354587 h 6858000"/>
              <a:gd name="connsiteX70" fmla="*/ 856435 w 8112124"/>
              <a:gd name="connsiteY70" fmla="*/ 6352465 h 6858000"/>
              <a:gd name="connsiteX71" fmla="*/ 767716 w 8112124"/>
              <a:gd name="connsiteY71" fmla="*/ 6352465 h 6858000"/>
              <a:gd name="connsiteX72" fmla="*/ 764760 w 8112124"/>
              <a:gd name="connsiteY72" fmla="*/ 6354577 h 6858000"/>
              <a:gd name="connsiteX73" fmla="*/ 700543 w 8112124"/>
              <a:gd name="connsiteY73" fmla="*/ 6537684 h 6858000"/>
              <a:gd name="connsiteX74" fmla="*/ 699087 w 8112124"/>
              <a:gd name="connsiteY74" fmla="*/ 6537684 h 6858000"/>
              <a:gd name="connsiteX75" fmla="*/ 635482 w 8112124"/>
              <a:gd name="connsiteY75" fmla="*/ 6354587 h 6858000"/>
              <a:gd name="connsiteX76" fmla="*/ 632526 w 8112124"/>
              <a:gd name="connsiteY76" fmla="*/ 6352465 h 6858000"/>
              <a:gd name="connsiteX77" fmla="*/ 0 w 8112124"/>
              <a:gd name="connsiteY77" fmla="*/ 0 h 6858000"/>
              <a:gd name="connsiteX78" fmla="*/ 14393 w 8112124"/>
              <a:gd name="connsiteY78" fmla="*/ 0 h 6858000"/>
              <a:gd name="connsiteX79" fmla="*/ 7188731 w 8112124"/>
              <a:gd name="connsiteY79" fmla="*/ 0 h 6858000"/>
              <a:gd name="connsiteX80" fmla="*/ 7760334 w 8112124"/>
              <a:gd name="connsiteY80" fmla="*/ 3448050 h 6858000"/>
              <a:gd name="connsiteX81" fmla="*/ 7722227 w 8112124"/>
              <a:gd name="connsiteY81" fmla="*/ 6858000 h 6858000"/>
              <a:gd name="connsiteX82" fmla="*/ 0 w 8112124"/>
              <a:gd name="connsiteY8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8112124" h="6858000">
                <a:moveTo>
                  <a:pt x="811590" y="6423839"/>
                </a:moveTo>
                <a:cubicBezTo>
                  <a:pt x="811780" y="6423840"/>
                  <a:pt x="812212" y="6424811"/>
                  <a:pt x="812551" y="6425983"/>
                </a:cubicBezTo>
                <a:lnTo>
                  <a:pt x="842986" y="6528784"/>
                </a:lnTo>
                <a:cubicBezTo>
                  <a:pt x="843296" y="6529592"/>
                  <a:pt x="842892" y="6530499"/>
                  <a:pt x="842084" y="6530809"/>
                </a:cubicBezTo>
                <a:cubicBezTo>
                  <a:pt x="841860" y="6530894"/>
                  <a:pt x="841620" y="6530928"/>
                  <a:pt x="841381" y="6530906"/>
                </a:cubicBezTo>
                <a:lnTo>
                  <a:pt x="781809" y="6530906"/>
                </a:lnTo>
                <a:cubicBezTo>
                  <a:pt x="780943" y="6530979"/>
                  <a:pt x="780182" y="6530335"/>
                  <a:pt x="780110" y="6529469"/>
                </a:cubicBezTo>
                <a:cubicBezTo>
                  <a:pt x="780090" y="6529236"/>
                  <a:pt x="780123" y="6529003"/>
                  <a:pt x="780204" y="6528784"/>
                </a:cubicBezTo>
                <a:lnTo>
                  <a:pt x="810640" y="6425983"/>
                </a:lnTo>
                <a:cubicBezTo>
                  <a:pt x="810784" y="6425203"/>
                  <a:pt x="811109" y="6424469"/>
                  <a:pt x="811590" y="6423839"/>
                </a:cubicBezTo>
                <a:close/>
                <a:moveTo>
                  <a:pt x="587692" y="6423839"/>
                </a:moveTo>
                <a:cubicBezTo>
                  <a:pt x="588172" y="6424469"/>
                  <a:pt x="588498" y="6425203"/>
                  <a:pt x="588641" y="6425983"/>
                </a:cubicBezTo>
                <a:lnTo>
                  <a:pt x="619077" y="6528784"/>
                </a:lnTo>
                <a:cubicBezTo>
                  <a:pt x="619392" y="6529585"/>
                  <a:pt x="618999" y="6530489"/>
                  <a:pt x="618198" y="6530804"/>
                </a:cubicBezTo>
                <a:cubicBezTo>
                  <a:pt x="617971" y="6530894"/>
                  <a:pt x="617726" y="6530929"/>
                  <a:pt x="617483" y="6530906"/>
                </a:cubicBezTo>
                <a:lnTo>
                  <a:pt x="557911" y="6530906"/>
                </a:lnTo>
                <a:cubicBezTo>
                  <a:pt x="557047" y="6530981"/>
                  <a:pt x="556285" y="6530342"/>
                  <a:pt x="556210" y="6529478"/>
                </a:cubicBezTo>
                <a:cubicBezTo>
                  <a:pt x="556189" y="6529243"/>
                  <a:pt x="556222" y="6529005"/>
                  <a:pt x="556306" y="6528784"/>
                </a:cubicBezTo>
                <a:lnTo>
                  <a:pt x="586752" y="6425983"/>
                </a:lnTo>
                <a:cubicBezTo>
                  <a:pt x="586899" y="6425207"/>
                  <a:pt x="587220" y="6424474"/>
                  <a:pt x="587692" y="6423839"/>
                </a:cubicBezTo>
                <a:close/>
                <a:moveTo>
                  <a:pt x="543817" y="6352465"/>
                </a:moveTo>
                <a:cubicBezTo>
                  <a:pt x="542502" y="6352525"/>
                  <a:pt x="541345" y="6353352"/>
                  <a:pt x="540861" y="6354577"/>
                </a:cubicBezTo>
                <a:lnTo>
                  <a:pt x="443053" y="6633486"/>
                </a:lnTo>
                <a:cubicBezTo>
                  <a:pt x="442706" y="6634227"/>
                  <a:pt x="443026" y="6635108"/>
                  <a:pt x="443767" y="6635455"/>
                </a:cubicBezTo>
                <a:cubicBezTo>
                  <a:pt x="444008" y="6635568"/>
                  <a:pt x="444276" y="6635614"/>
                  <a:pt x="444542" y="6635587"/>
                </a:cubicBezTo>
                <a:lnTo>
                  <a:pt x="521743" y="6635587"/>
                </a:lnTo>
                <a:cubicBezTo>
                  <a:pt x="523044" y="6635530"/>
                  <a:pt x="524178" y="6634685"/>
                  <a:pt x="524604" y="6633454"/>
                </a:cubicBezTo>
                <a:lnTo>
                  <a:pt x="537103" y="6591713"/>
                </a:lnTo>
                <a:cubicBezTo>
                  <a:pt x="537531" y="6590480"/>
                  <a:pt x="538670" y="6589634"/>
                  <a:pt x="539975" y="6589581"/>
                </a:cubicBezTo>
                <a:lnTo>
                  <a:pt x="635418" y="6589581"/>
                </a:lnTo>
                <a:cubicBezTo>
                  <a:pt x="636718" y="6589641"/>
                  <a:pt x="637850" y="6590485"/>
                  <a:pt x="638279" y="6591713"/>
                </a:cubicBezTo>
                <a:lnTo>
                  <a:pt x="650789" y="6633454"/>
                </a:lnTo>
                <a:cubicBezTo>
                  <a:pt x="651218" y="6634683"/>
                  <a:pt x="652351" y="6635527"/>
                  <a:pt x="653650" y="6635587"/>
                </a:cubicBezTo>
                <a:lnTo>
                  <a:pt x="745642" y="6635587"/>
                </a:lnTo>
                <a:cubicBezTo>
                  <a:pt x="746942" y="6635530"/>
                  <a:pt x="748076" y="6634685"/>
                  <a:pt x="748502" y="6633454"/>
                </a:cubicBezTo>
                <a:lnTo>
                  <a:pt x="761012" y="6591713"/>
                </a:lnTo>
                <a:cubicBezTo>
                  <a:pt x="761433" y="6590479"/>
                  <a:pt x="762570" y="6589631"/>
                  <a:pt x="763873" y="6589581"/>
                </a:cubicBezTo>
                <a:lnTo>
                  <a:pt x="859328" y="6589581"/>
                </a:lnTo>
                <a:cubicBezTo>
                  <a:pt x="860627" y="6589641"/>
                  <a:pt x="861759" y="6590485"/>
                  <a:pt x="862188" y="6591713"/>
                </a:cubicBezTo>
                <a:lnTo>
                  <a:pt x="874677" y="6633454"/>
                </a:lnTo>
                <a:cubicBezTo>
                  <a:pt x="875109" y="6634681"/>
                  <a:pt x="876240" y="6635524"/>
                  <a:pt x="877538" y="6635587"/>
                </a:cubicBezTo>
                <a:lnTo>
                  <a:pt x="1009888" y="6635587"/>
                </a:lnTo>
                <a:cubicBezTo>
                  <a:pt x="1011119" y="6635584"/>
                  <a:pt x="1012117" y="6634590"/>
                  <a:pt x="1012126" y="6633359"/>
                </a:cubicBezTo>
                <a:lnTo>
                  <a:pt x="1012126" y="6558121"/>
                </a:lnTo>
                <a:cubicBezTo>
                  <a:pt x="1012196" y="6556706"/>
                  <a:pt x="1012743" y="6555355"/>
                  <a:pt x="1013678" y="6554289"/>
                </a:cubicBezTo>
                <a:lnTo>
                  <a:pt x="1042910" y="6524182"/>
                </a:lnTo>
                <a:cubicBezTo>
                  <a:pt x="1043506" y="6523478"/>
                  <a:pt x="1044560" y="6523390"/>
                  <a:pt x="1045264" y="6523986"/>
                </a:cubicBezTo>
                <a:cubicBezTo>
                  <a:pt x="1045423" y="6524121"/>
                  <a:pt x="1045555" y="6524284"/>
                  <a:pt x="1045655" y="6524467"/>
                </a:cubicBezTo>
                <a:lnTo>
                  <a:pt x="1114041" y="6633698"/>
                </a:lnTo>
                <a:cubicBezTo>
                  <a:pt x="1114797" y="6634897"/>
                  <a:pt x="1116125" y="6635613"/>
                  <a:pt x="1117542" y="6635587"/>
                </a:cubicBezTo>
                <a:lnTo>
                  <a:pt x="1214827" y="6635587"/>
                </a:lnTo>
                <a:cubicBezTo>
                  <a:pt x="1216062" y="6635587"/>
                  <a:pt x="1216516" y="6634743"/>
                  <a:pt x="1215840" y="6633718"/>
                </a:cubicBezTo>
                <a:lnTo>
                  <a:pt x="1106842" y="6465760"/>
                </a:lnTo>
                <a:cubicBezTo>
                  <a:pt x="1106172" y="6464657"/>
                  <a:pt x="1106296" y="6463247"/>
                  <a:pt x="1107148" y="6462277"/>
                </a:cubicBezTo>
                <a:lnTo>
                  <a:pt x="1207532" y="6354102"/>
                </a:lnTo>
                <a:cubicBezTo>
                  <a:pt x="1208366" y="6353204"/>
                  <a:pt x="1208049" y="6352465"/>
                  <a:pt x="1206825" y="6352465"/>
                </a:cubicBezTo>
                <a:lnTo>
                  <a:pt x="1109766" y="6352465"/>
                </a:lnTo>
                <a:cubicBezTo>
                  <a:pt x="1108370" y="6352546"/>
                  <a:pt x="1107057" y="6353153"/>
                  <a:pt x="1106092" y="6354165"/>
                </a:cubicBezTo>
                <a:lnTo>
                  <a:pt x="1013573" y="6461812"/>
                </a:lnTo>
                <a:cubicBezTo>
                  <a:pt x="1012770" y="6462741"/>
                  <a:pt x="1012126" y="6462488"/>
                  <a:pt x="1012126" y="6461263"/>
                </a:cubicBezTo>
                <a:lnTo>
                  <a:pt x="1012126" y="6354693"/>
                </a:lnTo>
                <a:cubicBezTo>
                  <a:pt x="1012117" y="6353462"/>
                  <a:pt x="1011119" y="6352468"/>
                  <a:pt x="1009888" y="6352465"/>
                </a:cubicBezTo>
                <a:lnTo>
                  <a:pt x="938134" y="6352465"/>
                </a:lnTo>
                <a:cubicBezTo>
                  <a:pt x="936911" y="6352478"/>
                  <a:pt x="935923" y="6353469"/>
                  <a:pt x="935917" y="6354693"/>
                </a:cubicBezTo>
                <a:lnTo>
                  <a:pt x="935917" y="6531687"/>
                </a:lnTo>
                <a:cubicBezTo>
                  <a:pt x="935526" y="6564445"/>
                  <a:pt x="942853" y="6560317"/>
                  <a:pt x="954581" y="6580597"/>
                </a:cubicBezTo>
                <a:cubicBezTo>
                  <a:pt x="964198" y="6597192"/>
                  <a:pt x="955996" y="6620596"/>
                  <a:pt x="932169" y="6622233"/>
                </a:cubicBezTo>
                <a:cubicBezTo>
                  <a:pt x="912291" y="6623605"/>
                  <a:pt x="894798" y="6600940"/>
                  <a:pt x="909641" y="6578211"/>
                </a:cubicBezTo>
                <a:cubicBezTo>
                  <a:pt x="925318" y="6554247"/>
                  <a:pt x="931895" y="6565342"/>
                  <a:pt x="909641" y="6499616"/>
                </a:cubicBezTo>
                <a:lnTo>
                  <a:pt x="859391" y="6354587"/>
                </a:lnTo>
                <a:cubicBezTo>
                  <a:pt x="858913" y="6353357"/>
                  <a:pt x="857754" y="6352525"/>
                  <a:pt x="856435" y="6352465"/>
                </a:cubicBezTo>
                <a:lnTo>
                  <a:pt x="767716" y="6352465"/>
                </a:lnTo>
                <a:cubicBezTo>
                  <a:pt x="766401" y="6352525"/>
                  <a:pt x="765243" y="6353352"/>
                  <a:pt x="764760" y="6354577"/>
                </a:cubicBezTo>
                <a:lnTo>
                  <a:pt x="700543" y="6537684"/>
                </a:lnTo>
                <a:cubicBezTo>
                  <a:pt x="700132" y="6538845"/>
                  <a:pt x="699477" y="6538845"/>
                  <a:pt x="699087" y="6537684"/>
                </a:cubicBezTo>
                <a:lnTo>
                  <a:pt x="635482" y="6354587"/>
                </a:lnTo>
                <a:cubicBezTo>
                  <a:pt x="635004" y="6353357"/>
                  <a:pt x="633844" y="6352525"/>
                  <a:pt x="632526" y="6352465"/>
                </a:cubicBezTo>
                <a:close/>
                <a:moveTo>
                  <a:pt x="0" y="0"/>
                </a:moveTo>
                <a:lnTo>
                  <a:pt x="14393" y="0"/>
                </a:lnTo>
                <a:cubicBezTo>
                  <a:pt x="680054" y="0"/>
                  <a:pt x="2455148" y="0"/>
                  <a:pt x="7188731" y="0"/>
                </a:cubicBezTo>
                <a:cubicBezTo>
                  <a:pt x="7017250" y="671513"/>
                  <a:pt x="7007724" y="1771650"/>
                  <a:pt x="7760334" y="3448050"/>
                </a:cubicBezTo>
                <a:cubicBezTo>
                  <a:pt x="8465310" y="5024438"/>
                  <a:pt x="7927051" y="6419850"/>
                  <a:pt x="7722227" y="6858000"/>
                </a:cubicBezTo>
                <a:lnTo>
                  <a:pt x="0" y="6858000"/>
                </a:ln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endParaRPr lang="en-US" dirty="0"/>
          </a:p>
        </p:txBody>
      </p:sp>
      <p:sp>
        <p:nvSpPr>
          <p:cNvPr id="2" name="Date Placeholder 19">
            <a:extLst>
              <a:ext uri="{FF2B5EF4-FFF2-40B4-BE49-F238E27FC236}">
                <a16:creationId xmlns:a16="http://schemas.microsoft.com/office/drawing/2014/main" id="{84DDF498-B58A-9316-237B-1F504E18932C}"/>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5" name="Slide Number Placeholder 20">
            <a:extLst>
              <a:ext uri="{FF2B5EF4-FFF2-40B4-BE49-F238E27FC236}">
                <a16:creationId xmlns:a16="http://schemas.microsoft.com/office/drawing/2014/main" id="{3DC4ECD2-BB7D-B6B3-42AB-889011985EB2}"/>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C85671F2-411E-2EB4-7E74-6188CA9DA054}"/>
              </a:ext>
            </a:extLst>
          </p:cNvPr>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892002844"/>
      </p:ext>
    </p:extLst>
  </p:cSld>
  <p:clrMapOvr>
    <a:masterClrMapping/>
  </p:clrMapOvr>
  <p:extLst>
    <p:ext uri="{DCECCB84-F9BA-43D5-87BE-67443E8EF086}">
      <p15:sldGuideLst xmlns:p15="http://schemas.microsoft.com/office/powerpoint/2012/main">
        <p15:guide id="1" pos="53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ig picture left_Blue logo">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7F1509F-92B9-45AD-971F-5B782C8B2183}"/>
              </a:ext>
            </a:extLst>
          </p:cNvPr>
          <p:cNvSpPr/>
          <p:nvPr userDrawn="1"/>
        </p:nvSpPr>
        <p:spPr>
          <a:xfrm>
            <a:off x="0" y="6308725"/>
            <a:ext cx="1279525" cy="549275"/>
          </a:xfrm>
          <a:prstGeom prst="rect">
            <a:avLst/>
          </a:prstGeom>
          <a:solidFill>
            <a:srgbClr val="2067CA"/>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10" name="Picture Placeholder 9">
            <a:extLst>
              <a:ext uri="{FF2B5EF4-FFF2-40B4-BE49-F238E27FC236}">
                <a16:creationId xmlns:a16="http://schemas.microsoft.com/office/drawing/2014/main" id="{0695726F-C554-4189-8B3E-40D9DBA4BD90}"/>
              </a:ext>
            </a:extLst>
          </p:cNvPr>
          <p:cNvSpPr>
            <a:spLocks noGrp="1"/>
          </p:cNvSpPr>
          <p:nvPr>
            <p:ph type="pic" sz="quarter" idx="14"/>
          </p:nvPr>
        </p:nvSpPr>
        <p:spPr>
          <a:xfrm>
            <a:off x="0" y="0"/>
            <a:ext cx="8112124" cy="6858000"/>
          </a:xfrm>
          <a:custGeom>
            <a:avLst/>
            <a:gdLst>
              <a:gd name="connsiteX0" fmla="*/ 811590 w 8112124"/>
              <a:gd name="connsiteY0" fmla="*/ 6423839 h 6858000"/>
              <a:gd name="connsiteX1" fmla="*/ 812551 w 8112124"/>
              <a:gd name="connsiteY1" fmla="*/ 6425983 h 6858000"/>
              <a:gd name="connsiteX2" fmla="*/ 842986 w 8112124"/>
              <a:gd name="connsiteY2" fmla="*/ 6528784 h 6858000"/>
              <a:gd name="connsiteX3" fmla="*/ 842084 w 8112124"/>
              <a:gd name="connsiteY3" fmla="*/ 6530809 h 6858000"/>
              <a:gd name="connsiteX4" fmla="*/ 841381 w 8112124"/>
              <a:gd name="connsiteY4" fmla="*/ 6530906 h 6858000"/>
              <a:gd name="connsiteX5" fmla="*/ 781809 w 8112124"/>
              <a:gd name="connsiteY5" fmla="*/ 6530906 h 6858000"/>
              <a:gd name="connsiteX6" fmla="*/ 780110 w 8112124"/>
              <a:gd name="connsiteY6" fmla="*/ 6529469 h 6858000"/>
              <a:gd name="connsiteX7" fmla="*/ 780204 w 8112124"/>
              <a:gd name="connsiteY7" fmla="*/ 6528784 h 6858000"/>
              <a:gd name="connsiteX8" fmla="*/ 810640 w 8112124"/>
              <a:gd name="connsiteY8" fmla="*/ 6425983 h 6858000"/>
              <a:gd name="connsiteX9" fmla="*/ 811590 w 8112124"/>
              <a:gd name="connsiteY9" fmla="*/ 6423839 h 6858000"/>
              <a:gd name="connsiteX10" fmla="*/ 587692 w 8112124"/>
              <a:gd name="connsiteY10" fmla="*/ 6423839 h 6858000"/>
              <a:gd name="connsiteX11" fmla="*/ 588641 w 8112124"/>
              <a:gd name="connsiteY11" fmla="*/ 6425983 h 6858000"/>
              <a:gd name="connsiteX12" fmla="*/ 619077 w 8112124"/>
              <a:gd name="connsiteY12" fmla="*/ 6528784 h 6858000"/>
              <a:gd name="connsiteX13" fmla="*/ 618198 w 8112124"/>
              <a:gd name="connsiteY13" fmla="*/ 6530804 h 6858000"/>
              <a:gd name="connsiteX14" fmla="*/ 617483 w 8112124"/>
              <a:gd name="connsiteY14" fmla="*/ 6530906 h 6858000"/>
              <a:gd name="connsiteX15" fmla="*/ 557911 w 8112124"/>
              <a:gd name="connsiteY15" fmla="*/ 6530906 h 6858000"/>
              <a:gd name="connsiteX16" fmla="*/ 556210 w 8112124"/>
              <a:gd name="connsiteY16" fmla="*/ 6529478 h 6858000"/>
              <a:gd name="connsiteX17" fmla="*/ 556306 w 8112124"/>
              <a:gd name="connsiteY17" fmla="*/ 6528784 h 6858000"/>
              <a:gd name="connsiteX18" fmla="*/ 586752 w 8112124"/>
              <a:gd name="connsiteY18" fmla="*/ 6425983 h 6858000"/>
              <a:gd name="connsiteX19" fmla="*/ 587692 w 8112124"/>
              <a:gd name="connsiteY19" fmla="*/ 6423839 h 6858000"/>
              <a:gd name="connsiteX20" fmla="*/ 543817 w 8112124"/>
              <a:gd name="connsiteY20" fmla="*/ 6352465 h 6858000"/>
              <a:gd name="connsiteX21" fmla="*/ 540861 w 8112124"/>
              <a:gd name="connsiteY21" fmla="*/ 6354577 h 6858000"/>
              <a:gd name="connsiteX22" fmla="*/ 443053 w 8112124"/>
              <a:gd name="connsiteY22" fmla="*/ 6633486 h 6858000"/>
              <a:gd name="connsiteX23" fmla="*/ 443767 w 8112124"/>
              <a:gd name="connsiteY23" fmla="*/ 6635455 h 6858000"/>
              <a:gd name="connsiteX24" fmla="*/ 444542 w 8112124"/>
              <a:gd name="connsiteY24" fmla="*/ 6635587 h 6858000"/>
              <a:gd name="connsiteX25" fmla="*/ 521743 w 8112124"/>
              <a:gd name="connsiteY25" fmla="*/ 6635587 h 6858000"/>
              <a:gd name="connsiteX26" fmla="*/ 524604 w 8112124"/>
              <a:gd name="connsiteY26" fmla="*/ 6633454 h 6858000"/>
              <a:gd name="connsiteX27" fmla="*/ 537103 w 8112124"/>
              <a:gd name="connsiteY27" fmla="*/ 6591713 h 6858000"/>
              <a:gd name="connsiteX28" fmla="*/ 539975 w 8112124"/>
              <a:gd name="connsiteY28" fmla="*/ 6589581 h 6858000"/>
              <a:gd name="connsiteX29" fmla="*/ 635418 w 8112124"/>
              <a:gd name="connsiteY29" fmla="*/ 6589581 h 6858000"/>
              <a:gd name="connsiteX30" fmla="*/ 638279 w 8112124"/>
              <a:gd name="connsiteY30" fmla="*/ 6591713 h 6858000"/>
              <a:gd name="connsiteX31" fmla="*/ 650789 w 8112124"/>
              <a:gd name="connsiteY31" fmla="*/ 6633454 h 6858000"/>
              <a:gd name="connsiteX32" fmla="*/ 653650 w 8112124"/>
              <a:gd name="connsiteY32" fmla="*/ 6635587 h 6858000"/>
              <a:gd name="connsiteX33" fmla="*/ 745642 w 8112124"/>
              <a:gd name="connsiteY33" fmla="*/ 6635587 h 6858000"/>
              <a:gd name="connsiteX34" fmla="*/ 748502 w 8112124"/>
              <a:gd name="connsiteY34" fmla="*/ 6633454 h 6858000"/>
              <a:gd name="connsiteX35" fmla="*/ 761012 w 8112124"/>
              <a:gd name="connsiteY35" fmla="*/ 6591713 h 6858000"/>
              <a:gd name="connsiteX36" fmla="*/ 763873 w 8112124"/>
              <a:gd name="connsiteY36" fmla="*/ 6589581 h 6858000"/>
              <a:gd name="connsiteX37" fmla="*/ 859328 w 8112124"/>
              <a:gd name="connsiteY37" fmla="*/ 6589581 h 6858000"/>
              <a:gd name="connsiteX38" fmla="*/ 862188 w 8112124"/>
              <a:gd name="connsiteY38" fmla="*/ 6591713 h 6858000"/>
              <a:gd name="connsiteX39" fmla="*/ 874677 w 8112124"/>
              <a:gd name="connsiteY39" fmla="*/ 6633454 h 6858000"/>
              <a:gd name="connsiteX40" fmla="*/ 877538 w 8112124"/>
              <a:gd name="connsiteY40" fmla="*/ 6635587 h 6858000"/>
              <a:gd name="connsiteX41" fmla="*/ 1009888 w 8112124"/>
              <a:gd name="connsiteY41" fmla="*/ 6635587 h 6858000"/>
              <a:gd name="connsiteX42" fmla="*/ 1012126 w 8112124"/>
              <a:gd name="connsiteY42" fmla="*/ 6633359 h 6858000"/>
              <a:gd name="connsiteX43" fmla="*/ 1012126 w 8112124"/>
              <a:gd name="connsiteY43" fmla="*/ 6558121 h 6858000"/>
              <a:gd name="connsiteX44" fmla="*/ 1013678 w 8112124"/>
              <a:gd name="connsiteY44" fmla="*/ 6554289 h 6858000"/>
              <a:gd name="connsiteX45" fmla="*/ 1042910 w 8112124"/>
              <a:gd name="connsiteY45" fmla="*/ 6524182 h 6858000"/>
              <a:gd name="connsiteX46" fmla="*/ 1045264 w 8112124"/>
              <a:gd name="connsiteY46" fmla="*/ 6523986 h 6858000"/>
              <a:gd name="connsiteX47" fmla="*/ 1045655 w 8112124"/>
              <a:gd name="connsiteY47" fmla="*/ 6524467 h 6858000"/>
              <a:gd name="connsiteX48" fmla="*/ 1114041 w 8112124"/>
              <a:gd name="connsiteY48" fmla="*/ 6633698 h 6858000"/>
              <a:gd name="connsiteX49" fmla="*/ 1117542 w 8112124"/>
              <a:gd name="connsiteY49" fmla="*/ 6635587 h 6858000"/>
              <a:gd name="connsiteX50" fmla="*/ 1214827 w 8112124"/>
              <a:gd name="connsiteY50" fmla="*/ 6635587 h 6858000"/>
              <a:gd name="connsiteX51" fmla="*/ 1215840 w 8112124"/>
              <a:gd name="connsiteY51" fmla="*/ 6633718 h 6858000"/>
              <a:gd name="connsiteX52" fmla="*/ 1106842 w 8112124"/>
              <a:gd name="connsiteY52" fmla="*/ 6465760 h 6858000"/>
              <a:gd name="connsiteX53" fmla="*/ 1107148 w 8112124"/>
              <a:gd name="connsiteY53" fmla="*/ 6462277 h 6858000"/>
              <a:gd name="connsiteX54" fmla="*/ 1207532 w 8112124"/>
              <a:gd name="connsiteY54" fmla="*/ 6354102 h 6858000"/>
              <a:gd name="connsiteX55" fmla="*/ 1206825 w 8112124"/>
              <a:gd name="connsiteY55" fmla="*/ 6352465 h 6858000"/>
              <a:gd name="connsiteX56" fmla="*/ 1109766 w 8112124"/>
              <a:gd name="connsiteY56" fmla="*/ 6352465 h 6858000"/>
              <a:gd name="connsiteX57" fmla="*/ 1106092 w 8112124"/>
              <a:gd name="connsiteY57" fmla="*/ 6354165 h 6858000"/>
              <a:gd name="connsiteX58" fmla="*/ 1013573 w 8112124"/>
              <a:gd name="connsiteY58" fmla="*/ 6461812 h 6858000"/>
              <a:gd name="connsiteX59" fmla="*/ 1012126 w 8112124"/>
              <a:gd name="connsiteY59" fmla="*/ 6461263 h 6858000"/>
              <a:gd name="connsiteX60" fmla="*/ 1012126 w 8112124"/>
              <a:gd name="connsiteY60" fmla="*/ 6354693 h 6858000"/>
              <a:gd name="connsiteX61" fmla="*/ 1009888 w 8112124"/>
              <a:gd name="connsiteY61" fmla="*/ 6352465 h 6858000"/>
              <a:gd name="connsiteX62" fmla="*/ 938134 w 8112124"/>
              <a:gd name="connsiteY62" fmla="*/ 6352465 h 6858000"/>
              <a:gd name="connsiteX63" fmla="*/ 935917 w 8112124"/>
              <a:gd name="connsiteY63" fmla="*/ 6354693 h 6858000"/>
              <a:gd name="connsiteX64" fmla="*/ 935917 w 8112124"/>
              <a:gd name="connsiteY64" fmla="*/ 6531687 h 6858000"/>
              <a:gd name="connsiteX65" fmla="*/ 954581 w 8112124"/>
              <a:gd name="connsiteY65" fmla="*/ 6580597 h 6858000"/>
              <a:gd name="connsiteX66" fmla="*/ 932169 w 8112124"/>
              <a:gd name="connsiteY66" fmla="*/ 6622233 h 6858000"/>
              <a:gd name="connsiteX67" fmla="*/ 909641 w 8112124"/>
              <a:gd name="connsiteY67" fmla="*/ 6578211 h 6858000"/>
              <a:gd name="connsiteX68" fmla="*/ 909641 w 8112124"/>
              <a:gd name="connsiteY68" fmla="*/ 6499616 h 6858000"/>
              <a:gd name="connsiteX69" fmla="*/ 859391 w 8112124"/>
              <a:gd name="connsiteY69" fmla="*/ 6354587 h 6858000"/>
              <a:gd name="connsiteX70" fmla="*/ 856435 w 8112124"/>
              <a:gd name="connsiteY70" fmla="*/ 6352465 h 6858000"/>
              <a:gd name="connsiteX71" fmla="*/ 767716 w 8112124"/>
              <a:gd name="connsiteY71" fmla="*/ 6352465 h 6858000"/>
              <a:gd name="connsiteX72" fmla="*/ 764760 w 8112124"/>
              <a:gd name="connsiteY72" fmla="*/ 6354577 h 6858000"/>
              <a:gd name="connsiteX73" fmla="*/ 700543 w 8112124"/>
              <a:gd name="connsiteY73" fmla="*/ 6537684 h 6858000"/>
              <a:gd name="connsiteX74" fmla="*/ 699087 w 8112124"/>
              <a:gd name="connsiteY74" fmla="*/ 6537684 h 6858000"/>
              <a:gd name="connsiteX75" fmla="*/ 635482 w 8112124"/>
              <a:gd name="connsiteY75" fmla="*/ 6354587 h 6858000"/>
              <a:gd name="connsiteX76" fmla="*/ 632526 w 8112124"/>
              <a:gd name="connsiteY76" fmla="*/ 6352465 h 6858000"/>
              <a:gd name="connsiteX77" fmla="*/ 0 w 8112124"/>
              <a:gd name="connsiteY77" fmla="*/ 0 h 6858000"/>
              <a:gd name="connsiteX78" fmla="*/ 14393 w 8112124"/>
              <a:gd name="connsiteY78" fmla="*/ 0 h 6858000"/>
              <a:gd name="connsiteX79" fmla="*/ 7188731 w 8112124"/>
              <a:gd name="connsiteY79" fmla="*/ 0 h 6858000"/>
              <a:gd name="connsiteX80" fmla="*/ 7760334 w 8112124"/>
              <a:gd name="connsiteY80" fmla="*/ 3448050 h 6858000"/>
              <a:gd name="connsiteX81" fmla="*/ 7722227 w 8112124"/>
              <a:gd name="connsiteY81" fmla="*/ 6858000 h 6858000"/>
              <a:gd name="connsiteX82" fmla="*/ 0 w 8112124"/>
              <a:gd name="connsiteY8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8112124" h="6858000">
                <a:moveTo>
                  <a:pt x="811590" y="6423839"/>
                </a:moveTo>
                <a:cubicBezTo>
                  <a:pt x="811780" y="6423840"/>
                  <a:pt x="812212" y="6424811"/>
                  <a:pt x="812551" y="6425983"/>
                </a:cubicBezTo>
                <a:lnTo>
                  <a:pt x="842986" y="6528784"/>
                </a:lnTo>
                <a:cubicBezTo>
                  <a:pt x="843296" y="6529592"/>
                  <a:pt x="842892" y="6530499"/>
                  <a:pt x="842084" y="6530809"/>
                </a:cubicBezTo>
                <a:cubicBezTo>
                  <a:pt x="841860" y="6530894"/>
                  <a:pt x="841620" y="6530928"/>
                  <a:pt x="841381" y="6530906"/>
                </a:cubicBezTo>
                <a:lnTo>
                  <a:pt x="781809" y="6530906"/>
                </a:lnTo>
                <a:cubicBezTo>
                  <a:pt x="780943" y="6530979"/>
                  <a:pt x="780182" y="6530335"/>
                  <a:pt x="780110" y="6529469"/>
                </a:cubicBezTo>
                <a:cubicBezTo>
                  <a:pt x="780090" y="6529236"/>
                  <a:pt x="780123" y="6529003"/>
                  <a:pt x="780204" y="6528784"/>
                </a:cubicBezTo>
                <a:lnTo>
                  <a:pt x="810640" y="6425983"/>
                </a:lnTo>
                <a:cubicBezTo>
                  <a:pt x="810784" y="6425203"/>
                  <a:pt x="811109" y="6424469"/>
                  <a:pt x="811590" y="6423839"/>
                </a:cubicBezTo>
                <a:close/>
                <a:moveTo>
                  <a:pt x="587692" y="6423839"/>
                </a:moveTo>
                <a:cubicBezTo>
                  <a:pt x="588172" y="6424469"/>
                  <a:pt x="588498" y="6425203"/>
                  <a:pt x="588641" y="6425983"/>
                </a:cubicBezTo>
                <a:lnTo>
                  <a:pt x="619077" y="6528784"/>
                </a:lnTo>
                <a:cubicBezTo>
                  <a:pt x="619392" y="6529585"/>
                  <a:pt x="618999" y="6530489"/>
                  <a:pt x="618198" y="6530804"/>
                </a:cubicBezTo>
                <a:cubicBezTo>
                  <a:pt x="617971" y="6530894"/>
                  <a:pt x="617726" y="6530929"/>
                  <a:pt x="617483" y="6530906"/>
                </a:cubicBezTo>
                <a:lnTo>
                  <a:pt x="557911" y="6530906"/>
                </a:lnTo>
                <a:cubicBezTo>
                  <a:pt x="557047" y="6530981"/>
                  <a:pt x="556285" y="6530342"/>
                  <a:pt x="556210" y="6529478"/>
                </a:cubicBezTo>
                <a:cubicBezTo>
                  <a:pt x="556189" y="6529243"/>
                  <a:pt x="556222" y="6529005"/>
                  <a:pt x="556306" y="6528784"/>
                </a:cubicBezTo>
                <a:lnTo>
                  <a:pt x="586752" y="6425983"/>
                </a:lnTo>
                <a:cubicBezTo>
                  <a:pt x="586899" y="6425207"/>
                  <a:pt x="587220" y="6424474"/>
                  <a:pt x="587692" y="6423839"/>
                </a:cubicBezTo>
                <a:close/>
                <a:moveTo>
                  <a:pt x="543817" y="6352465"/>
                </a:moveTo>
                <a:cubicBezTo>
                  <a:pt x="542502" y="6352525"/>
                  <a:pt x="541345" y="6353352"/>
                  <a:pt x="540861" y="6354577"/>
                </a:cubicBezTo>
                <a:lnTo>
                  <a:pt x="443053" y="6633486"/>
                </a:lnTo>
                <a:cubicBezTo>
                  <a:pt x="442706" y="6634227"/>
                  <a:pt x="443026" y="6635108"/>
                  <a:pt x="443767" y="6635455"/>
                </a:cubicBezTo>
                <a:cubicBezTo>
                  <a:pt x="444008" y="6635568"/>
                  <a:pt x="444276" y="6635614"/>
                  <a:pt x="444542" y="6635587"/>
                </a:cubicBezTo>
                <a:lnTo>
                  <a:pt x="521743" y="6635587"/>
                </a:lnTo>
                <a:cubicBezTo>
                  <a:pt x="523044" y="6635530"/>
                  <a:pt x="524178" y="6634685"/>
                  <a:pt x="524604" y="6633454"/>
                </a:cubicBezTo>
                <a:lnTo>
                  <a:pt x="537103" y="6591713"/>
                </a:lnTo>
                <a:cubicBezTo>
                  <a:pt x="537531" y="6590480"/>
                  <a:pt x="538670" y="6589634"/>
                  <a:pt x="539975" y="6589581"/>
                </a:cubicBezTo>
                <a:lnTo>
                  <a:pt x="635418" y="6589581"/>
                </a:lnTo>
                <a:cubicBezTo>
                  <a:pt x="636718" y="6589641"/>
                  <a:pt x="637850" y="6590485"/>
                  <a:pt x="638279" y="6591713"/>
                </a:cubicBezTo>
                <a:lnTo>
                  <a:pt x="650789" y="6633454"/>
                </a:lnTo>
                <a:cubicBezTo>
                  <a:pt x="651218" y="6634683"/>
                  <a:pt x="652351" y="6635527"/>
                  <a:pt x="653650" y="6635587"/>
                </a:cubicBezTo>
                <a:lnTo>
                  <a:pt x="745642" y="6635587"/>
                </a:lnTo>
                <a:cubicBezTo>
                  <a:pt x="746942" y="6635530"/>
                  <a:pt x="748076" y="6634685"/>
                  <a:pt x="748502" y="6633454"/>
                </a:cubicBezTo>
                <a:lnTo>
                  <a:pt x="761012" y="6591713"/>
                </a:lnTo>
                <a:cubicBezTo>
                  <a:pt x="761433" y="6590479"/>
                  <a:pt x="762570" y="6589631"/>
                  <a:pt x="763873" y="6589581"/>
                </a:cubicBezTo>
                <a:lnTo>
                  <a:pt x="859328" y="6589581"/>
                </a:lnTo>
                <a:cubicBezTo>
                  <a:pt x="860627" y="6589641"/>
                  <a:pt x="861759" y="6590485"/>
                  <a:pt x="862188" y="6591713"/>
                </a:cubicBezTo>
                <a:lnTo>
                  <a:pt x="874677" y="6633454"/>
                </a:lnTo>
                <a:cubicBezTo>
                  <a:pt x="875109" y="6634681"/>
                  <a:pt x="876240" y="6635524"/>
                  <a:pt x="877538" y="6635587"/>
                </a:cubicBezTo>
                <a:lnTo>
                  <a:pt x="1009888" y="6635587"/>
                </a:lnTo>
                <a:cubicBezTo>
                  <a:pt x="1011119" y="6635584"/>
                  <a:pt x="1012117" y="6634590"/>
                  <a:pt x="1012126" y="6633359"/>
                </a:cubicBezTo>
                <a:lnTo>
                  <a:pt x="1012126" y="6558121"/>
                </a:lnTo>
                <a:cubicBezTo>
                  <a:pt x="1012196" y="6556706"/>
                  <a:pt x="1012743" y="6555355"/>
                  <a:pt x="1013678" y="6554289"/>
                </a:cubicBezTo>
                <a:lnTo>
                  <a:pt x="1042910" y="6524182"/>
                </a:lnTo>
                <a:cubicBezTo>
                  <a:pt x="1043506" y="6523478"/>
                  <a:pt x="1044560" y="6523390"/>
                  <a:pt x="1045264" y="6523986"/>
                </a:cubicBezTo>
                <a:cubicBezTo>
                  <a:pt x="1045423" y="6524121"/>
                  <a:pt x="1045555" y="6524284"/>
                  <a:pt x="1045655" y="6524467"/>
                </a:cubicBezTo>
                <a:lnTo>
                  <a:pt x="1114041" y="6633698"/>
                </a:lnTo>
                <a:cubicBezTo>
                  <a:pt x="1114797" y="6634897"/>
                  <a:pt x="1116125" y="6635613"/>
                  <a:pt x="1117542" y="6635587"/>
                </a:cubicBezTo>
                <a:lnTo>
                  <a:pt x="1214827" y="6635587"/>
                </a:lnTo>
                <a:cubicBezTo>
                  <a:pt x="1216062" y="6635587"/>
                  <a:pt x="1216516" y="6634743"/>
                  <a:pt x="1215840" y="6633718"/>
                </a:cubicBezTo>
                <a:lnTo>
                  <a:pt x="1106842" y="6465760"/>
                </a:lnTo>
                <a:cubicBezTo>
                  <a:pt x="1106172" y="6464657"/>
                  <a:pt x="1106296" y="6463247"/>
                  <a:pt x="1107148" y="6462277"/>
                </a:cubicBezTo>
                <a:lnTo>
                  <a:pt x="1207532" y="6354102"/>
                </a:lnTo>
                <a:cubicBezTo>
                  <a:pt x="1208366" y="6353204"/>
                  <a:pt x="1208049" y="6352465"/>
                  <a:pt x="1206825" y="6352465"/>
                </a:cubicBezTo>
                <a:lnTo>
                  <a:pt x="1109766" y="6352465"/>
                </a:lnTo>
                <a:cubicBezTo>
                  <a:pt x="1108370" y="6352546"/>
                  <a:pt x="1107057" y="6353153"/>
                  <a:pt x="1106092" y="6354165"/>
                </a:cubicBezTo>
                <a:lnTo>
                  <a:pt x="1013573" y="6461812"/>
                </a:lnTo>
                <a:cubicBezTo>
                  <a:pt x="1012770" y="6462741"/>
                  <a:pt x="1012126" y="6462488"/>
                  <a:pt x="1012126" y="6461263"/>
                </a:cubicBezTo>
                <a:lnTo>
                  <a:pt x="1012126" y="6354693"/>
                </a:lnTo>
                <a:cubicBezTo>
                  <a:pt x="1012117" y="6353462"/>
                  <a:pt x="1011119" y="6352468"/>
                  <a:pt x="1009888" y="6352465"/>
                </a:cubicBezTo>
                <a:lnTo>
                  <a:pt x="938134" y="6352465"/>
                </a:lnTo>
                <a:cubicBezTo>
                  <a:pt x="936911" y="6352478"/>
                  <a:pt x="935923" y="6353469"/>
                  <a:pt x="935917" y="6354693"/>
                </a:cubicBezTo>
                <a:lnTo>
                  <a:pt x="935917" y="6531687"/>
                </a:lnTo>
                <a:cubicBezTo>
                  <a:pt x="935526" y="6564445"/>
                  <a:pt x="942853" y="6560317"/>
                  <a:pt x="954581" y="6580597"/>
                </a:cubicBezTo>
                <a:cubicBezTo>
                  <a:pt x="964198" y="6597192"/>
                  <a:pt x="955996" y="6620596"/>
                  <a:pt x="932169" y="6622233"/>
                </a:cubicBezTo>
                <a:cubicBezTo>
                  <a:pt x="912291" y="6623605"/>
                  <a:pt x="894798" y="6600940"/>
                  <a:pt x="909641" y="6578211"/>
                </a:cubicBezTo>
                <a:cubicBezTo>
                  <a:pt x="925318" y="6554247"/>
                  <a:pt x="931895" y="6565342"/>
                  <a:pt x="909641" y="6499616"/>
                </a:cubicBezTo>
                <a:lnTo>
                  <a:pt x="859391" y="6354587"/>
                </a:lnTo>
                <a:cubicBezTo>
                  <a:pt x="858913" y="6353357"/>
                  <a:pt x="857754" y="6352525"/>
                  <a:pt x="856435" y="6352465"/>
                </a:cubicBezTo>
                <a:lnTo>
                  <a:pt x="767716" y="6352465"/>
                </a:lnTo>
                <a:cubicBezTo>
                  <a:pt x="766401" y="6352525"/>
                  <a:pt x="765243" y="6353352"/>
                  <a:pt x="764760" y="6354577"/>
                </a:cubicBezTo>
                <a:lnTo>
                  <a:pt x="700543" y="6537684"/>
                </a:lnTo>
                <a:cubicBezTo>
                  <a:pt x="700132" y="6538845"/>
                  <a:pt x="699477" y="6538845"/>
                  <a:pt x="699087" y="6537684"/>
                </a:cubicBezTo>
                <a:lnTo>
                  <a:pt x="635482" y="6354587"/>
                </a:lnTo>
                <a:cubicBezTo>
                  <a:pt x="635004" y="6353357"/>
                  <a:pt x="633844" y="6352525"/>
                  <a:pt x="632526" y="6352465"/>
                </a:cubicBezTo>
                <a:close/>
                <a:moveTo>
                  <a:pt x="0" y="0"/>
                </a:moveTo>
                <a:lnTo>
                  <a:pt x="14393" y="0"/>
                </a:lnTo>
                <a:cubicBezTo>
                  <a:pt x="680054" y="0"/>
                  <a:pt x="2455148" y="0"/>
                  <a:pt x="7188731" y="0"/>
                </a:cubicBezTo>
                <a:cubicBezTo>
                  <a:pt x="7017250" y="671513"/>
                  <a:pt x="7007724" y="1771650"/>
                  <a:pt x="7760334" y="3448050"/>
                </a:cubicBezTo>
                <a:cubicBezTo>
                  <a:pt x="8465310" y="5024438"/>
                  <a:pt x="7927051" y="6419850"/>
                  <a:pt x="7722227" y="6858000"/>
                </a:cubicBezTo>
                <a:lnTo>
                  <a:pt x="0" y="6858000"/>
                </a:ln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8526463" y="1219200"/>
            <a:ext cx="3222624" cy="4910138"/>
          </a:xfrm>
        </p:spPr>
        <p:txBody>
          <a:bodyPr/>
          <a:lstStyle>
            <a:lvl3pPr>
              <a:lnSpc>
                <a:spcPct val="90000"/>
              </a:lnSpc>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A8A231-4A77-4CD1-8796-424BFE328F1F}"/>
              </a:ext>
            </a:extLst>
          </p:cNvPr>
          <p:cNvSpPr>
            <a:spLocks noGrp="1"/>
          </p:cNvSpPr>
          <p:nvPr>
            <p:ph type="title"/>
          </p:nvPr>
        </p:nvSpPr>
        <p:spPr>
          <a:xfrm>
            <a:off x="8509000" y="221456"/>
            <a:ext cx="3240088" cy="775597"/>
          </a:xfrm>
        </p:spPr>
        <p:txBody>
          <a:bodyPr/>
          <a:lstStyle/>
          <a:p>
            <a:r>
              <a:rPr lang="en-US"/>
              <a:t>Click to edit Master title style</a:t>
            </a:r>
            <a:endParaRPr lang="en-US" dirty="0"/>
          </a:p>
        </p:txBody>
      </p:sp>
      <p:sp>
        <p:nvSpPr>
          <p:cNvPr id="2" name="Date Placeholder 19">
            <a:extLst>
              <a:ext uri="{FF2B5EF4-FFF2-40B4-BE49-F238E27FC236}">
                <a16:creationId xmlns:a16="http://schemas.microsoft.com/office/drawing/2014/main" id="{37B37464-CBBF-92D8-EE1F-2369C01BC959}"/>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5" name="Slide Number Placeholder 20">
            <a:extLst>
              <a:ext uri="{FF2B5EF4-FFF2-40B4-BE49-F238E27FC236}">
                <a16:creationId xmlns:a16="http://schemas.microsoft.com/office/drawing/2014/main" id="{66E29106-EE8D-C2D1-B4A8-68197A7A4578}"/>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2F7BC54A-5E6E-7773-E5E6-6F4D8D6D71FD}"/>
              </a:ext>
            </a:extLst>
          </p:cNvPr>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2161173503"/>
      </p:ext>
    </p:extLst>
  </p:cSld>
  <p:clrMapOvr>
    <a:masterClrMapping/>
  </p:clrMapOvr>
  <p:extLst>
    <p:ext uri="{DCECCB84-F9BA-43D5-87BE-67443E8EF086}">
      <p15:sldGuideLst xmlns:p15="http://schemas.microsoft.com/office/powerpoint/2012/main">
        <p15:guide id="1" pos="53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ig picture right_Blue footer">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EF8D621-2565-4951-A9F9-874D9D49B001}"/>
              </a:ext>
            </a:extLst>
          </p:cNvPr>
          <p:cNvSpPr>
            <a:spLocks noGrp="1"/>
          </p:cNvSpPr>
          <p:nvPr>
            <p:ph type="pic" sz="quarter" idx="16"/>
          </p:nvPr>
        </p:nvSpPr>
        <p:spPr>
          <a:xfrm>
            <a:off x="4475163" y="0"/>
            <a:ext cx="7716837" cy="6858000"/>
          </a:xfrm>
          <a:custGeom>
            <a:avLst/>
            <a:gdLst>
              <a:gd name="connsiteX0" fmla="*/ 920567 w 7716837"/>
              <a:gd name="connsiteY0" fmla="*/ 0 h 6858000"/>
              <a:gd name="connsiteX1" fmla="*/ 4043657 w 7716837"/>
              <a:gd name="connsiteY1" fmla="*/ 0 h 6858000"/>
              <a:gd name="connsiteX2" fmla="*/ 4065587 w 7716837"/>
              <a:gd name="connsiteY2" fmla="*/ 0 h 6858000"/>
              <a:gd name="connsiteX3" fmla="*/ 7716837 w 7716837"/>
              <a:gd name="connsiteY3" fmla="*/ 0 h 6858000"/>
              <a:gd name="connsiteX4" fmla="*/ 7716837 w 7716837"/>
              <a:gd name="connsiteY4" fmla="*/ 6858000 h 6858000"/>
              <a:gd name="connsiteX5" fmla="*/ 4065587 w 7716837"/>
              <a:gd name="connsiteY5" fmla="*/ 6858000 h 6858000"/>
              <a:gd name="connsiteX6" fmla="*/ 391433 w 7716837"/>
              <a:gd name="connsiteY6" fmla="*/ 6858000 h 6858000"/>
              <a:gd name="connsiteX7" fmla="*/ 353297 w 7716837"/>
              <a:gd name="connsiteY7" fmla="*/ 3448050 h 6858000"/>
              <a:gd name="connsiteX8" fmla="*/ 920567 w 7716837"/>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6837" h="6858000">
                <a:moveTo>
                  <a:pt x="920567" y="0"/>
                </a:moveTo>
                <a:cubicBezTo>
                  <a:pt x="2582752" y="0"/>
                  <a:pt x="3517731" y="0"/>
                  <a:pt x="4043657" y="0"/>
                </a:cubicBezTo>
                <a:lnTo>
                  <a:pt x="4065587" y="0"/>
                </a:lnTo>
                <a:lnTo>
                  <a:pt x="7716837" y="0"/>
                </a:lnTo>
                <a:lnTo>
                  <a:pt x="7716837" y="685800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1219200"/>
            <a:ext cx="3608385" cy="4910137"/>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09AB31A-494F-4409-9C8A-3C88DED7B81F}"/>
              </a:ext>
            </a:extLst>
          </p:cNvPr>
          <p:cNvSpPr>
            <a:spLocks noGrp="1"/>
          </p:cNvSpPr>
          <p:nvPr>
            <p:ph type="title"/>
          </p:nvPr>
        </p:nvSpPr>
        <p:spPr>
          <a:xfrm>
            <a:off x="442914" y="221456"/>
            <a:ext cx="3636962" cy="775597"/>
          </a:xfrm>
        </p:spPr>
        <p:txBody>
          <a:bodyPr/>
          <a:lstStyle/>
          <a:p>
            <a:r>
              <a:rPr lang="en-US"/>
              <a:t>Click to edit Master title style</a:t>
            </a:r>
            <a:endParaRPr lang="en-US" dirty="0"/>
          </a:p>
        </p:txBody>
      </p:sp>
      <p:sp>
        <p:nvSpPr>
          <p:cNvPr id="2" name="Date Placeholder 19">
            <a:extLst>
              <a:ext uri="{FF2B5EF4-FFF2-40B4-BE49-F238E27FC236}">
                <a16:creationId xmlns:a16="http://schemas.microsoft.com/office/drawing/2014/main" id="{C3FC1214-62C6-DDA2-C126-88262F752763}"/>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5" name="Slide Number Placeholder 20">
            <a:extLst>
              <a:ext uri="{FF2B5EF4-FFF2-40B4-BE49-F238E27FC236}">
                <a16:creationId xmlns:a16="http://schemas.microsoft.com/office/drawing/2014/main" id="{A6748A15-BC98-9975-44D5-F92A3B53913B}"/>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94E55E97-2B4D-9F73-0974-0B7FA1D57CEA}"/>
              </a:ext>
            </a:extLst>
          </p:cNvPr>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828729196"/>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Narrow colored S-curve_White logo">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9D71849-3080-90B6-B9D1-12CF5D906512}"/>
              </a:ext>
            </a:extLst>
          </p:cNvPr>
          <p:cNvGraphicFramePr>
            <a:graphicFrameLocks noChangeAspect="1"/>
          </p:cNvGraphicFramePr>
          <p:nvPr userDrawn="1">
            <p:custDataLst>
              <p:tags r:id="rId1"/>
            </p:custDataLst>
            <p:extLst>
              <p:ext uri="{D42A27DB-BD31-4B8C-83A1-F6EECF244321}">
                <p14:modId xmlns:p14="http://schemas.microsoft.com/office/powerpoint/2010/main" val="1544451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79D71849-3080-90B6-B9D1-12CF5D9065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Text Placeholder 19">
            <a:extLst>
              <a:ext uri="{FF2B5EF4-FFF2-40B4-BE49-F238E27FC236}">
                <a16:creationId xmlns:a16="http://schemas.microsoft.com/office/drawing/2014/main" id="{BCE12F71-1910-4CB5-AE52-00E58C7ADAFF}"/>
              </a:ext>
            </a:extLst>
          </p:cNvPr>
          <p:cNvSpPr>
            <a:spLocks noGrp="1"/>
          </p:cNvSpPr>
          <p:nvPr>
            <p:ph type="body" sz="quarter" idx="13" hasCustomPrompt="1"/>
          </p:nvPr>
        </p:nvSpPr>
        <p:spPr>
          <a:xfrm>
            <a:off x="0" y="0"/>
            <a:ext cx="4064000" cy="6858000"/>
          </a:xfrm>
          <a:custGeom>
            <a:avLst/>
            <a:gdLst>
              <a:gd name="connsiteX0" fmla="*/ 811590 w 4064000"/>
              <a:gd name="connsiteY0" fmla="*/ 6423839 h 6858000"/>
              <a:gd name="connsiteX1" fmla="*/ 812551 w 4064000"/>
              <a:gd name="connsiteY1" fmla="*/ 6425983 h 6858000"/>
              <a:gd name="connsiteX2" fmla="*/ 842986 w 4064000"/>
              <a:gd name="connsiteY2" fmla="*/ 6528784 h 6858000"/>
              <a:gd name="connsiteX3" fmla="*/ 842084 w 4064000"/>
              <a:gd name="connsiteY3" fmla="*/ 6530809 h 6858000"/>
              <a:gd name="connsiteX4" fmla="*/ 841381 w 4064000"/>
              <a:gd name="connsiteY4" fmla="*/ 6530906 h 6858000"/>
              <a:gd name="connsiteX5" fmla="*/ 781809 w 4064000"/>
              <a:gd name="connsiteY5" fmla="*/ 6530906 h 6858000"/>
              <a:gd name="connsiteX6" fmla="*/ 780110 w 4064000"/>
              <a:gd name="connsiteY6" fmla="*/ 6529469 h 6858000"/>
              <a:gd name="connsiteX7" fmla="*/ 780204 w 4064000"/>
              <a:gd name="connsiteY7" fmla="*/ 6528784 h 6858000"/>
              <a:gd name="connsiteX8" fmla="*/ 810640 w 4064000"/>
              <a:gd name="connsiteY8" fmla="*/ 6425983 h 6858000"/>
              <a:gd name="connsiteX9" fmla="*/ 811590 w 4064000"/>
              <a:gd name="connsiteY9" fmla="*/ 6423839 h 6858000"/>
              <a:gd name="connsiteX10" fmla="*/ 587691 w 4064000"/>
              <a:gd name="connsiteY10" fmla="*/ 6423839 h 6858000"/>
              <a:gd name="connsiteX11" fmla="*/ 588641 w 4064000"/>
              <a:gd name="connsiteY11" fmla="*/ 6425983 h 6858000"/>
              <a:gd name="connsiteX12" fmla="*/ 619077 w 4064000"/>
              <a:gd name="connsiteY12" fmla="*/ 6528784 h 6858000"/>
              <a:gd name="connsiteX13" fmla="*/ 618198 w 4064000"/>
              <a:gd name="connsiteY13" fmla="*/ 6530804 h 6858000"/>
              <a:gd name="connsiteX14" fmla="*/ 617483 w 4064000"/>
              <a:gd name="connsiteY14" fmla="*/ 6530906 h 6858000"/>
              <a:gd name="connsiteX15" fmla="*/ 557911 w 4064000"/>
              <a:gd name="connsiteY15" fmla="*/ 6530906 h 6858000"/>
              <a:gd name="connsiteX16" fmla="*/ 556210 w 4064000"/>
              <a:gd name="connsiteY16" fmla="*/ 6529478 h 6858000"/>
              <a:gd name="connsiteX17" fmla="*/ 556306 w 4064000"/>
              <a:gd name="connsiteY17" fmla="*/ 6528784 h 6858000"/>
              <a:gd name="connsiteX18" fmla="*/ 586752 w 4064000"/>
              <a:gd name="connsiteY18" fmla="*/ 6425983 h 6858000"/>
              <a:gd name="connsiteX19" fmla="*/ 587691 w 4064000"/>
              <a:gd name="connsiteY19" fmla="*/ 6423839 h 6858000"/>
              <a:gd name="connsiteX20" fmla="*/ 543817 w 4064000"/>
              <a:gd name="connsiteY20" fmla="*/ 6352465 h 6858000"/>
              <a:gd name="connsiteX21" fmla="*/ 540861 w 4064000"/>
              <a:gd name="connsiteY21" fmla="*/ 6354577 h 6858000"/>
              <a:gd name="connsiteX22" fmla="*/ 443053 w 4064000"/>
              <a:gd name="connsiteY22" fmla="*/ 6633486 h 6858000"/>
              <a:gd name="connsiteX23" fmla="*/ 443767 w 4064000"/>
              <a:gd name="connsiteY23" fmla="*/ 6635455 h 6858000"/>
              <a:gd name="connsiteX24" fmla="*/ 444542 w 4064000"/>
              <a:gd name="connsiteY24" fmla="*/ 6635587 h 6858000"/>
              <a:gd name="connsiteX25" fmla="*/ 521743 w 4064000"/>
              <a:gd name="connsiteY25" fmla="*/ 6635587 h 6858000"/>
              <a:gd name="connsiteX26" fmla="*/ 524604 w 4064000"/>
              <a:gd name="connsiteY26" fmla="*/ 6633454 h 6858000"/>
              <a:gd name="connsiteX27" fmla="*/ 537103 w 4064000"/>
              <a:gd name="connsiteY27" fmla="*/ 6591713 h 6858000"/>
              <a:gd name="connsiteX28" fmla="*/ 539975 w 4064000"/>
              <a:gd name="connsiteY28" fmla="*/ 6589581 h 6858000"/>
              <a:gd name="connsiteX29" fmla="*/ 635418 w 4064000"/>
              <a:gd name="connsiteY29" fmla="*/ 6589581 h 6858000"/>
              <a:gd name="connsiteX30" fmla="*/ 638279 w 4064000"/>
              <a:gd name="connsiteY30" fmla="*/ 6591713 h 6858000"/>
              <a:gd name="connsiteX31" fmla="*/ 650789 w 4064000"/>
              <a:gd name="connsiteY31" fmla="*/ 6633454 h 6858000"/>
              <a:gd name="connsiteX32" fmla="*/ 653650 w 4064000"/>
              <a:gd name="connsiteY32" fmla="*/ 6635587 h 6858000"/>
              <a:gd name="connsiteX33" fmla="*/ 745642 w 4064000"/>
              <a:gd name="connsiteY33" fmla="*/ 6635587 h 6858000"/>
              <a:gd name="connsiteX34" fmla="*/ 748502 w 4064000"/>
              <a:gd name="connsiteY34" fmla="*/ 6633454 h 6858000"/>
              <a:gd name="connsiteX35" fmla="*/ 761012 w 4064000"/>
              <a:gd name="connsiteY35" fmla="*/ 6591713 h 6858000"/>
              <a:gd name="connsiteX36" fmla="*/ 763873 w 4064000"/>
              <a:gd name="connsiteY36" fmla="*/ 6589581 h 6858000"/>
              <a:gd name="connsiteX37" fmla="*/ 859327 w 4064000"/>
              <a:gd name="connsiteY37" fmla="*/ 6589581 h 6858000"/>
              <a:gd name="connsiteX38" fmla="*/ 862188 w 4064000"/>
              <a:gd name="connsiteY38" fmla="*/ 6591713 h 6858000"/>
              <a:gd name="connsiteX39" fmla="*/ 874677 w 4064000"/>
              <a:gd name="connsiteY39" fmla="*/ 6633454 h 6858000"/>
              <a:gd name="connsiteX40" fmla="*/ 877538 w 4064000"/>
              <a:gd name="connsiteY40" fmla="*/ 6635587 h 6858000"/>
              <a:gd name="connsiteX41" fmla="*/ 1009888 w 4064000"/>
              <a:gd name="connsiteY41" fmla="*/ 6635587 h 6858000"/>
              <a:gd name="connsiteX42" fmla="*/ 1012126 w 4064000"/>
              <a:gd name="connsiteY42" fmla="*/ 6633359 h 6858000"/>
              <a:gd name="connsiteX43" fmla="*/ 1012126 w 4064000"/>
              <a:gd name="connsiteY43" fmla="*/ 6558121 h 6858000"/>
              <a:gd name="connsiteX44" fmla="*/ 1013678 w 4064000"/>
              <a:gd name="connsiteY44" fmla="*/ 6554289 h 6858000"/>
              <a:gd name="connsiteX45" fmla="*/ 1042910 w 4064000"/>
              <a:gd name="connsiteY45" fmla="*/ 6524182 h 6858000"/>
              <a:gd name="connsiteX46" fmla="*/ 1045264 w 4064000"/>
              <a:gd name="connsiteY46" fmla="*/ 6523986 h 6858000"/>
              <a:gd name="connsiteX47" fmla="*/ 1045654 w 4064000"/>
              <a:gd name="connsiteY47" fmla="*/ 6524467 h 6858000"/>
              <a:gd name="connsiteX48" fmla="*/ 1114041 w 4064000"/>
              <a:gd name="connsiteY48" fmla="*/ 6633698 h 6858000"/>
              <a:gd name="connsiteX49" fmla="*/ 1117542 w 4064000"/>
              <a:gd name="connsiteY49" fmla="*/ 6635587 h 6858000"/>
              <a:gd name="connsiteX50" fmla="*/ 1214827 w 4064000"/>
              <a:gd name="connsiteY50" fmla="*/ 6635587 h 6858000"/>
              <a:gd name="connsiteX51" fmla="*/ 1215840 w 4064000"/>
              <a:gd name="connsiteY51" fmla="*/ 6633718 h 6858000"/>
              <a:gd name="connsiteX52" fmla="*/ 1106842 w 4064000"/>
              <a:gd name="connsiteY52" fmla="*/ 6465760 h 6858000"/>
              <a:gd name="connsiteX53" fmla="*/ 1107148 w 4064000"/>
              <a:gd name="connsiteY53" fmla="*/ 6462277 h 6858000"/>
              <a:gd name="connsiteX54" fmla="*/ 1207532 w 4064000"/>
              <a:gd name="connsiteY54" fmla="*/ 6354102 h 6858000"/>
              <a:gd name="connsiteX55" fmla="*/ 1206825 w 4064000"/>
              <a:gd name="connsiteY55" fmla="*/ 6352465 h 6858000"/>
              <a:gd name="connsiteX56" fmla="*/ 1109766 w 4064000"/>
              <a:gd name="connsiteY56" fmla="*/ 6352465 h 6858000"/>
              <a:gd name="connsiteX57" fmla="*/ 1106092 w 4064000"/>
              <a:gd name="connsiteY57" fmla="*/ 6354165 h 6858000"/>
              <a:gd name="connsiteX58" fmla="*/ 1013573 w 4064000"/>
              <a:gd name="connsiteY58" fmla="*/ 6461812 h 6858000"/>
              <a:gd name="connsiteX59" fmla="*/ 1012126 w 4064000"/>
              <a:gd name="connsiteY59" fmla="*/ 6461263 h 6858000"/>
              <a:gd name="connsiteX60" fmla="*/ 1012126 w 4064000"/>
              <a:gd name="connsiteY60" fmla="*/ 6354693 h 6858000"/>
              <a:gd name="connsiteX61" fmla="*/ 1009888 w 4064000"/>
              <a:gd name="connsiteY61" fmla="*/ 6352465 h 6858000"/>
              <a:gd name="connsiteX62" fmla="*/ 938134 w 4064000"/>
              <a:gd name="connsiteY62" fmla="*/ 6352465 h 6858000"/>
              <a:gd name="connsiteX63" fmla="*/ 935917 w 4064000"/>
              <a:gd name="connsiteY63" fmla="*/ 6354693 h 6858000"/>
              <a:gd name="connsiteX64" fmla="*/ 935917 w 4064000"/>
              <a:gd name="connsiteY64" fmla="*/ 6531687 h 6858000"/>
              <a:gd name="connsiteX65" fmla="*/ 954581 w 4064000"/>
              <a:gd name="connsiteY65" fmla="*/ 6580597 h 6858000"/>
              <a:gd name="connsiteX66" fmla="*/ 932169 w 4064000"/>
              <a:gd name="connsiteY66" fmla="*/ 6622233 h 6858000"/>
              <a:gd name="connsiteX67" fmla="*/ 909641 w 4064000"/>
              <a:gd name="connsiteY67" fmla="*/ 6578211 h 6858000"/>
              <a:gd name="connsiteX68" fmla="*/ 909641 w 4064000"/>
              <a:gd name="connsiteY68" fmla="*/ 6499616 h 6858000"/>
              <a:gd name="connsiteX69" fmla="*/ 859391 w 4064000"/>
              <a:gd name="connsiteY69" fmla="*/ 6354587 h 6858000"/>
              <a:gd name="connsiteX70" fmla="*/ 856435 w 4064000"/>
              <a:gd name="connsiteY70" fmla="*/ 6352465 h 6858000"/>
              <a:gd name="connsiteX71" fmla="*/ 767716 w 4064000"/>
              <a:gd name="connsiteY71" fmla="*/ 6352465 h 6858000"/>
              <a:gd name="connsiteX72" fmla="*/ 764760 w 4064000"/>
              <a:gd name="connsiteY72" fmla="*/ 6354577 h 6858000"/>
              <a:gd name="connsiteX73" fmla="*/ 700543 w 4064000"/>
              <a:gd name="connsiteY73" fmla="*/ 6537684 h 6858000"/>
              <a:gd name="connsiteX74" fmla="*/ 699086 w 4064000"/>
              <a:gd name="connsiteY74" fmla="*/ 6537684 h 6858000"/>
              <a:gd name="connsiteX75" fmla="*/ 635482 w 4064000"/>
              <a:gd name="connsiteY75" fmla="*/ 6354587 h 6858000"/>
              <a:gd name="connsiteX76" fmla="*/ 632526 w 4064000"/>
              <a:gd name="connsiteY76" fmla="*/ 6352465 h 6858000"/>
              <a:gd name="connsiteX77" fmla="*/ 0 w 4064000"/>
              <a:gd name="connsiteY77" fmla="*/ 0 h 6858000"/>
              <a:gd name="connsiteX78" fmla="*/ 3672567 w 4064000"/>
              <a:gd name="connsiteY78" fmla="*/ 0 h 6858000"/>
              <a:gd name="connsiteX79" fmla="*/ 3710703 w 4064000"/>
              <a:gd name="connsiteY79" fmla="*/ 3409950 h 6858000"/>
              <a:gd name="connsiteX80" fmla="*/ 3143432 w 4064000"/>
              <a:gd name="connsiteY80" fmla="*/ 6858000 h 6858000"/>
              <a:gd name="connsiteX81" fmla="*/ 0 w 4064000"/>
              <a:gd name="connsiteY8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064000" h="6858000">
                <a:moveTo>
                  <a:pt x="811590" y="6423839"/>
                </a:moveTo>
                <a:cubicBezTo>
                  <a:pt x="811780" y="6423840"/>
                  <a:pt x="812212" y="6424811"/>
                  <a:pt x="812551" y="6425983"/>
                </a:cubicBezTo>
                <a:lnTo>
                  <a:pt x="842986" y="6528784"/>
                </a:lnTo>
                <a:cubicBezTo>
                  <a:pt x="843296" y="6529592"/>
                  <a:pt x="842892" y="6530499"/>
                  <a:pt x="842084" y="6530809"/>
                </a:cubicBezTo>
                <a:cubicBezTo>
                  <a:pt x="841860" y="6530894"/>
                  <a:pt x="841620" y="6530928"/>
                  <a:pt x="841381" y="6530906"/>
                </a:cubicBezTo>
                <a:lnTo>
                  <a:pt x="781809" y="6530906"/>
                </a:lnTo>
                <a:cubicBezTo>
                  <a:pt x="780943" y="6530979"/>
                  <a:pt x="780182" y="6530335"/>
                  <a:pt x="780110" y="6529469"/>
                </a:cubicBezTo>
                <a:cubicBezTo>
                  <a:pt x="780090" y="6529236"/>
                  <a:pt x="780123" y="6529003"/>
                  <a:pt x="780204" y="6528784"/>
                </a:cubicBezTo>
                <a:lnTo>
                  <a:pt x="810640" y="6425983"/>
                </a:lnTo>
                <a:cubicBezTo>
                  <a:pt x="810783" y="6425203"/>
                  <a:pt x="811109" y="6424469"/>
                  <a:pt x="811590" y="6423839"/>
                </a:cubicBezTo>
                <a:close/>
                <a:moveTo>
                  <a:pt x="587691" y="6423839"/>
                </a:moveTo>
                <a:cubicBezTo>
                  <a:pt x="588172" y="6424469"/>
                  <a:pt x="588498" y="6425203"/>
                  <a:pt x="588641" y="6425983"/>
                </a:cubicBezTo>
                <a:lnTo>
                  <a:pt x="619077" y="6528784"/>
                </a:lnTo>
                <a:cubicBezTo>
                  <a:pt x="619392" y="6529585"/>
                  <a:pt x="618999" y="6530489"/>
                  <a:pt x="618198" y="6530804"/>
                </a:cubicBezTo>
                <a:cubicBezTo>
                  <a:pt x="617971" y="6530894"/>
                  <a:pt x="617726" y="6530929"/>
                  <a:pt x="617483" y="6530906"/>
                </a:cubicBezTo>
                <a:lnTo>
                  <a:pt x="557911" y="6530906"/>
                </a:lnTo>
                <a:cubicBezTo>
                  <a:pt x="557047" y="6530981"/>
                  <a:pt x="556285" y="6530342"/>
                  <a:pt x="556210" y="6529478"/>
                </a:cubicBezTo>
                <a:cubicBezTo>
                  <a:pt x="556189" y="6529243"/>
                  <a:pt x="556222" y="6529005"/>
                  <a:pt x="556306" y="6528784"/>
                </a:cubicBezTo>
                <a:lnTo>
                  <a:pt x="586752" y="6425983"/>
                </a:lnTo>
                <a:cubicBezTo>
                  <a:pt x="586899" y="6425207"/>
                  <a:pt x="587220" y="6424474"/>
                  <a:pt x="587691" y="6423839"/>
                </a:cubicBezTo>
                <a:close/>
                <a:moveTo>
                  <a:pt x="543817" y="6352465"/>
                </a:moveTo>
                <a:cubicBezTo>
                  <a:pt x="542502" y="6352525"/>
                  <a:pt x="541344" y="6353352"/>
                  <a:pt x="540861" y="6354577"/>
                </a:cubicBezTo>
                <a:lnTo>
                  <a:pt x="443053" y="6633486"/>
                </a:lnTo>
                <a:cubicBezTo>
                  <a:pt x="442706" y="6634227"/>
                  <a:pt x="443026" y="6635108"/>
                  <a:pt x="443767" y="6635455"/>
                </a:cubicBezTo>
                <a:cubicBezTo>
                  <a:pt x="444008" y="6635568"/>
                  <a:pt x="444276" y="6635614"/>
                  <a:pt x="444542" y="6635587"/>
                </a:cubicBezTo>
                <a:lnTo>
                  <a:pt x="521743" y="6635587"/>
                </a:lnTo>
                <a:cubicBezTo>
                  <a:pt x="523044" y="6635530"/>
                  <a:pt x="524178" y="6634685"/>
                  <a:pt x="524604" y="6633454"/>
                </a:cubicBezTo>
                <a:lnTo>
                  <a:pt x="537103" y="6591713"/>
                </a:lnTo>
                <a:cubicBezTo>
                  <a:pt x="537531" y="6590480"/>
                  <a:pt x="538670" y="6589634"/>
                  <a:pt x="539975" y="6589581"/>
                </a:cubicBezTo>
                <a:lnTo>
                  <a:pt x="635418" y="6589581"/>
                </a:lnTo>
                <a:cubicBezTo>
                  <a:pt x="636718" y="6589641"/>
                  <a:pt x="637850" y="6590485"/>
                  <a:pt x="638279" y="6591713"/>
                </a:cubicBezTo>
                <a:lnTo>
                  <a:pt x="650789" y="6633454"/>
                </a:lnTo>
                <a:cubicBezTo>
                  <a:pt x="651218" y="6634683"/>
                  <a:pt x="652350" y="6635527"/>
                  <a:pt x="653650" y="6635587"/>
                </a:cubicBezTo>
                <a:lnTo>
                  <a:pt x="745642" y="6635587"/>
                </a:lnTo>
                <a:cubicBezTo>
                  <a:pt x="746942" y="6635530"/>
                  <a:pt x="748076" y="6634685"/>
                  <a:pt x="748502" y="6633454"/>
                </a:cubicBezTo>
                <a:lnTo>
                  <a:pt x="761012" y="6591713"/>
                </a:lnTo>
                <a:cubicBezTo>
                  <a:pt x="761433" y="6590479"/>
                  <a:pt x="762570" y="6589631"/>
                  <a:pt x="763873" y="6589581"/>
                </a:cubicBezTo>
                <a:lnTo>
                  <a:pt x="859327" y="6589581"/>
                </a:lnTo>
                <a:cubicBezTo>
                  <a:pt x="860627" y="6589641"/>
                  <a:pt x="861759" y="6590485"/>
                  <a:pt x="862188" y="6591713"/>
                </a:cubicBezTo>
                <a:lnTo>
                  <a:pt x="874677" y="6633454"/>
                </a:lnTo>
                <a:cubicBezTo>
                  <a:pt x="875108" y="6634681"/>
                  <a:pt x="876239" y="6635524"/>
                  <a:pt x="877538" y="6635587"/>
                </a:cubicBezTo>
                <a:lnTo>
                  <a:pt x="1009888" y="6635587"/>
                </a:lnTo>
                <a:cubicBezTo>
                  <a:pt x="1011119" y="6635584"/>
                  <a:pt x="1012117" y="6634590"/>
                  <a:pt x="1012126" y="6633359"/>
                </a:cubicBezTo>
                <a:lnTo>
                  <a:pt x="1012126" y="6558121"/>
                </a:lnTo>
                <a:cubicBezTo>
                  <a:pt x="1012196" y="6556706"/>
                  <a:pt x="1012743" y="6555355"/>
                  <a:pt x="1013678" y="6554289"/>
                </a:cubicBezTo>
                <a:lnTo>
                  <a:pt x="1042910" y="6524182"/>
                </a:lnTo>
                <a:cubicBezTo>
                  <a:pt x="1043506" y="6523478"/>
                  <a:pt x="1044560" y="6523390"/>
                  <a:pt x="1045264" y="6523986"/>
                </a:cubicBezTo>
                <a:cubicBezTo>
                  <a:pt x="1045423" y="6524121"/>
                  <a:pt x="1045555" y="6524284"/>
                  <a:pt x="1045654" y="6524467"/>
                </a:cubicBezTo>
                <a:lnTo>
                  <a:pt x="1114041" y="6633698"/>
                </a:lnTo>
                <a:cubicBezTo>
                  <a:pt x="1114797" y="6634897"/>
                  <a:pt x="1116125" y="6635613"/>
                  <a:pt x="1117542" y="6635587"/>
                </a:cubicBezTo>
                <a:lnTo>
                  <a:pt x="1214827" y="6635587"/>
                </a:lnTo>
                <a:cubicBezTo>
                  <a:pt x="1216062" y="6635587"/>
                  <a:pt x="1216516" y="6634743"/>
                  <a:pt x="1215840" y="6633718"/>
                </a:cubicBezTo>
                <a:lnTo>
                  <a:pt x="1106842" y="6465760"/>
                </a:lnTo>
                <a:cubicBezTo>
                  <a:pt x="1106172" y="6464657"/>
                  <a:pt x="1106296" y="6463247"/>
                  <a:pt x="1107148" y="6462277"/>
                </a:cubicBezTo>
                <a:lnTo>
                  <a:pt x="1207532" y="6354102"/>
                </a:lnTo>
                <a:cubicBezTo>
                  <a:pt x="1208366" y="6353204"/>
                  <a:pt x="1208049" y="6352465"/>
                  <a:pt x="1206825" y="6352465"/>
                </a:cubicBezTo>
                <a:lnTo>
                  <a:pt x="1109766" y="6352465"/>
                </a:lnTo>
                <a:cubicBezTo>
                  <a:pt x="1108370" y="6352546"/>
                  <a:pt x="1107057" y="6353153"/>
                  <a:pt x="1106092" y="6354165"/>
                </a:cubicBezTo>
                <a:lnTo>
                  <a:pt x="1013573" y="6461812"/>
                </a:lnTo>
                <a:cubicBezTo>
                  <a:pt x="1012770" y="6462741"/>
                  <a:pt x="1012126" y="6462488"/>
                  <a:pt x="1012126" y="6461263"/>
                </a:cubicBezTo>
                <a:lnTo>
                  <a:pt x="1012126" y="6354693"/>
                </a:lnTo>
                <a:cubicBezTo>
                  <a:pt x="1012117" y="6353462"/>
                  <a:pt x="1011118" y="6352468"/>
                  <a:pt x="1009888" y="6352465"/>
                </a:cubicBezTo>
                <a:lnTo>
                  <a:pt x="938134" y="6352465"/>
                </a:lnTo>
                <a:cubicBezTo>
                  <a:pt x="936911" y="6352478"/>
                  <a:pt x="935923" y="6353469"/>
                  <a:pt x="935917" y="6354693"/>
                </a:cubicBezTo>
                <a:lnTo>
                  <a:pt x="935917" y="6531687"/>
                </a:lnTo>
                <a:cubicBezTo>
                  <a:pt x="935526" y="6564445"/>
                  <a:pt x="942853" y="6560317"/>
                  <a:pt x="954581" y="6580597"/>
                </a:cubicBezTo>
                <a:cubicBezTo>
                  <a:pt x="964198" y="6597192"/>
                  <a:pt x="955996" y="6620596"/>
                  <a:pt x="932169" y="6622233"/>
                </a:cubicBezTo>
                <a:cubicBezTo>
                  <a:pt x="912291" y="6623605"/>
                  <a:pt x="894798" y="6600940"/>
                  <a:pt x="909641" y="6578211"/>
                </a:cubicBezTo>
                <a:cubicBezTo>
                  <a:pt x="925318" y="6554247"/>
                  <a:pt x="931895" y="6565342"/>
                  <a:pt x="909641" y="6499616"/>
                </a:cubicBezTo>
                <a:lnTo>
                  <a:pt x="859391" y="6354587"/>
                </a:lnTo>
                <a:cubicBezTo>
                  <a:pt x="858912" y="6353357"/>
                  <a:pt x="857753" y="6352525"/>
                  <a:pt x="856435" y="6352465"/>
                </a:cubicBezTo>
                <a:lnTo>
                  <a:pt x="767716" y="6352465"/>
                </a:lnTo>
                <a:cubicBezTo>
                  <a:pt x="766400" y="6352525"/>
                  <a:pt x="765243" y="6353352"/>
                  <a:pt x="764760" y="6354577"/>
                </a:cubicBezTo>
                <a:lnTo>
                  <a:pt x="700543" y="6537684"/>
                </a:lnTo>
                <a:cubicBezTo>
                  <a:pt x="700131" y="6538845"/>
                  <a:pt x="699477" y="6538845"/>
                  <a:pt x="699086" y="6537684"/>
                </a:cubicBezTo>
                <a:lnTo>
                  <a:pt x="635482" y="6354587"/>
                </a:lnTo>
                <a:cubicBezTo>
                  <a:pt x="635003" y="6353357"/>
                  <a:pt x="633844" y="6352525"/>
                  <a:pt x="632526" y="6352465"/>
                </a:cubicBezTo>
                <a:close/>
                <a:moveTo>
                  <a:pt x="0" y="0"/>
                </a:moveTo>
                <a:lnTo>
                  <a:pt x="3672567" y="0"/>
                </a:lnTo>
                <a:cubicBezTo>
                  <a:pt x="3882314" y="438150"/>
                  <a:pt x="4416215" y="1833563"/>
                  <a:pt x="3710703" y="3409950"/>
                </a:cubicBezTo>
                <a:cubicBezTo>
                  <a:pt x="2962287" y="5086350"/>
                  <a:pt x="2967054" y="6186488"/>
                  <a:pt x="3143432" y="6858000"/>
                </a:cubicBezTo>
                <a:lnTo>
                  <a:pt x="0" y="6858000"/>
                </a:lnTo>
                <a:close/>
              </a:path>
            </a:pathLst>
          </a:custGeom>
          <a:solidFill>
            <a:schemeClr val="accent1"/>
          </a:solidFill>
        </p:spPr>
        <p:txBody>
          <a:bodyPr wrap="square">
            <a:noAutofit/>
          </a:bodyPr>
          <a:lstStyle>
            <a:lvl1pPr marL="0" indent="0">
              <a:buNone/>
              <a:defRPr/>
            </a:lvl1pPr>
          </a:lstStyle>
          <a:p>
            <a:pPr lvl="0"/>
            <a:r>
              <a:rPr lang="en-US"/>
              <a:t> </a:t>
            </a:r>
          </a:p>
        </p:txBody>
      </p:sp>
      <p:sp>
        <p:nvSpPr>
          <p:cNvPr id="18" name="Content Placeholder 7">
            <a:extLst>
              <a:ext uri="{FF2B5EF4-FFF2-40B4-BE49-F238E27FC236}">
                <a16:creationId xmlns:a16="http://schemas.microsoft.com/office/drawing/2014/main" id="{9EBC5E73-30D0-4EC7-824B-D0A082599ADA}"/>
              </a:ext>
            </a:extLst>
          </p:cNvPr>
          <p:cNvSpPr>
            <a:spLocks noGrp="1"/>
          </p:cNvSpPr>
          <p:nvPr>
            <p:ph sz="quarter" idx="14"/>
          </p:nvPr>
        </p:nvSpPr>
        <p:spPr>
          <a:xfrm>
            <a:off x="4475162" y="1219200"/>
            <a:ext cx="7273925" cy="4910138"/>
          </a:xfrm>
        </p:spPr>
        <p:txBody>
          <a:bodyPr/>
          <a:lstStyle>
            <a:lvl3pPr>
              <a:lnSpc>
                <a:spcPct val="90000"/>
              </a:lnSpc>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itle 2">
            <a:extLst>
              <a:ext uri="{FF2B5EF4-FFF2-40B4-BE49-F238E27FC236}">
                <a16:creationId xmlns:a16="http://schemas.microsoft.com/office/drawing/2014/main" id="{572C6B4A-78DE-4C2F-8773-5C71D2B65CDC}"/>
              </a:ext>
            </a:extLst>
          </p:cNvPr>
          <p:cNvSpPr>
            <a:spLocks noGrp="1"/>
          </p:cNvSpPr>
          <p:nvPr>
            <p:ph type="title" hasCustomPrompt="1"/>
          </p:nvPr>
        </p:nvSpPr>
        <p:spPr>
          <a:xfrm>
            <a:off x="442914" y="1219200"/>
            <a:ext cx="2800246" cy="775597"/>
          </a:xfrm>
        </p:spPr>
        <p:txBody>
          <a:bodyPr vert="horz" anchor="t"/>
          <a:lstStyle>
            <a:lvl1pPr>
              <a:defRPr sz="2400">
                <a:solidFill>
                  <a:schemeClr val="bg1"/>
                </a:solidFill>
              </a:defRPr>
            </a:lvl1pPr>
          </a:lstStyle>
          <a:p>
            <a:r>
              <a:rPr lang="en-US" dirty="0"/>
              <a:t>Click to add Title </a:t>
            </a:r>
            <a:br>
              <a:rPr lang="en-US" dirty="0"/>
            </a:br>
            <a:r>
              <a:rPr lang="en-US" dirty="0"/>
              <a:t>or Statement</a:t>
            </a:r>
          </a:p>
        </p:txBody>
      </p:sp>
      <p:sp>
        <p:nvSpPr>
          <p:cNvPr id="2" name="Date Placeholder 19">
            <a:extLst>
              <a:ext uri="{FF2B5EF4-FFF2-40B4-BE49-F238E27FC236}">
                <a16:creationId xmlns:a16="http://schemas.microsoft.com/office/drawing/2014/main" id="{2F9A5833-9C8B-C7B2-67EC-3225681AA3B7}"/>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3" name="Slide Number Placeholder 20">
            <a:extLst>
              <a:ext uri="{FF2B5EF4-FFF2-40B4-BE49-F238E27FC236}">
                <a16:creationId xmlns:a16="http://schemas.microsoft.com/office/drawing/2014/main" id="{ADDAC0C2-281F-0A91-DAD8-6896F49E54FC}"/>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402C9810-B18F-DDC5-CD1C-7A0C093AE1EC}"/>
              </a:ext>
            </a:extLst>
          </p:cNvPr>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421577264"/>
      </p:ext>
    </p:extLst>
  </p:cSld>
  <p:clrMapOvr>
    <a:masterClrMapping/>
  </p:clrMapOvr>
  <p:extLst>
    <p:ext uri="{DCECCB84-F9BA-43D5-87BE-67443E8EF086}">
      <p15:sldGuideLst xmlns:p15="http://schemas.microsoft.com/office/powerpoint/2012/main">
        <p15:guide id="1" pos="281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Wide colored S-curve_White logo">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D701FC4F-D593-4F64-B2F0-87C3FF5F801D}"/>
              </a:ext>
            </a:extLst>
          </p:cNvPr>
          <p:cNvSpPr>
            <a:spLocks noGrp="1"/>
          </p:cNvSpPr>
          <p:nvPr>
            <p:ph type="body" sz="quarter" idx="13" hasCustomPrompt="1"/>
          </p:nvPr>
        </p:nvSpPr>
        <p:spPr>
          <a:xfrm flipV="1">
            <a:off x="0" y="0"/>
            <a:ext cx="8112124" cy="6858000"/>
          </a:xfrm>
          <a:custGeom>
            <a:avLst/>
            <a:gdLst>
              <a:gd name="connsiteX0" fmla="*/ 811590 w 8112124"/>
              <a:gd name="connsiteY0" fmla="*/ 434161 h 6858000"/>
              <a:gd name="connsiteX1" fmla="*/ 812551 w 8112124"/>
              <a:gd name="connsiteY1" fmla="*/ 432018 h 6858000"/>
              <a:gd name="connsiteX2" fmla="*/ 842986 w 8112124"/>
              <a:gd name="connsiteY2" fmla="*/ 329216 h 6858000"/>
              <a:gd name="connsiteX3" fmla="*/ 842084 w 8112124"/>
              <a:gd name="connsiteY3" fmla="*/ 327192 h 6858000"/>
              <a:gd name="connsiteX4" fmla="*/ 841381 w 8112124"/>
              <a:gd name="connsiteY4" fmla="*/ 327094 h 6858000"/>
              <a:gd name="connsiteX5" fmla="*/ 781809 w 8112124"/>
              <a:gd name="connsiteY5" fmla="*/ 327094 h 6858000"/>
              <a:gd name="connsiteX6" fmla="*/ 780110 w 8112124"/>
              <a:gd name="connsiteY6" fmla="*/ 328532 h 6858000"/>
              <a:gd name="connsiteX7" fmla="*/ 780204 w 8112124"/>
              <a:gd name="connsiteY7" fmla="*/ 329216 h 6858000"/>
              <a:gd name="connsiteX8" fmla="*/ 810640 w 8112124"/>
              <a:gd name="connsiteY8" fmla="*/ 432018 h 6858000"/>
              <a:gd name="connsiteX9" fmla="*/ 811590 w 8112124"/>
              <a:gd name="connsiteY9" fmla="*/ 434161 h 6858000"/>
              <a:gd name="connsiteX10" fmla="*/ 587692 w 8112124"/>
              <a:gd name="connsiteY10" fmla="*/ 434161 h 6858000"/>
              <a:gd name="connsiteX11" fmla="*/ 588641 w 8112124"/>
              <a:gd name="connsiteY11" fmla="*/ 432018 h 6858000"/>
              <a:gd name="connsiteX12" fmla="*/ 619077 w 8112124"/>
              <a:gd name="connsiteY12" fmla="*/ 329216 h 6858000"/>
              <a:gd name="connsiteX13" fmla="*/ 618198 w 8112124"/>
              <a:gd name="connsiteY13" fmla="*/ 327196 h 6858000"/>
              <a:gd name="connsiteX14" fmla="*/ 617483 w 8112124"/>
              <a:gd name="connsiteY14" fmla="*/ 327094 h 6858000"/>
              <a:gd name="connsiteX15" fmla="*/ 557911 w 8112124"/>
              <a:gd name="connsiteY15" fmla="*/ 327094 h 6858000"/>
              <a:gd name="connsiteX16" fmla="*/ 556210 w 8112124"/>
              <a:gd name="connsiteY16" fmla="*/ 328522 h 6858000"/>
              <a:gd name="connsiteX17" fmla="*/ 556306 w 8112124"/>
              <a:gd name="connsiteY17" fmla="*/ 329216 h 6858000"/>
              <a:gd name="connsiteX18" fmla="*/ 586752 w 8112124"/>
              <a:gd name="connsiteY18" fmla="*/ 432018 h 6858000"/>
              <a:gd name="connsiteX19" fmla="*/ 587692 w 8112124"/>
              <a:gd name="connsiteY19" fmla="*/ 434161 h 6858000"/>
              <a:gd name="connsiteX20" fmla="*/ 543817 w 8112124"/>
              <a:gd name="connsiteY20" fmla="*/ 505535 h 6858000"/>
              <a:gd name="connsiteX21" fmla="*/ 540861 w 8112124"/>
              <a:gd name="connsiteY21" fmla="*/ 503424 h 6858000"/>
              <a:gd name="connsiteX22" fmla="*/ 443053 w 8112124"/>
              <a:gd name="connsiteY22" fmla="*/ 224514 h 6858000"/>
              <a:gd name="connsiteX23" fmla="*/ 443767 w 8112124"/>
              <a:gd name="connsiteY23" fmla="*/ 222546 h 6858000"/>
              <a:gd name="connsiteX24" fmla="*/ 444542 w 8112124"/>
              <a:gd name="connsiteY24" fmla="*/ 222413 h 6858000"/>
              <a:gd name="connsiteX25" fmla="*/ 521743 w 8112124"/>
              <a:gd name="connsiteY25" fmla="*/ 222413 h 6858000"/>
              <a:gd name="connsiteX26" fmla="*/ 524604 w 8112124"/>
              <a:gd name="connsiteY26" fmla="*/ 224546 h 6858000"/>
              <a:gd name="connsiteX27" fmla="*/ 537103 w 8112124"/>
              <a:gd name="connsiteY27" fmla="*/ 266287 h 6858000"/>
              <a:gd name="connsiteX28" fmla="*/ 539975 w 8112124"/>
              <a:gd name="connsiteY28" fmla="*/ 268420 h 6858000"/>
              <a:gd name="connsiteX29" fmla="*/ 635418 w 8112124"/>
              <a:gd name="connsiteY29" fmla="*/ 268420 h 6858000"/>
              <a:gd name="connsiteX30" fmla="*/ 638279 w 8112124"/>
              <a:gd name="connsiteY30" fmla="*/ 266287 h 6858000"/>
              <a:gd name="connsiteX31" fmla="*/ 650789 w 8112124"/>
              <a:gd name="connsiteY31" fmla="*/ 224546 h 6858000"/>
              <a:gd name="connsiteX32" fmla="*/ 653650 w 8112124"/>
              <a:gd name="connsiteY32" fmla="*/ 222413 h 6858000"/>
              <a:gd name="connsiteX33" fmla="*/ 745642 w 8112124"/>
              <a:gd name="connsiteY33" fmla="*/ 222413 h 6858000"/>
              <a:gd name="connsiteX34" fmla="*/ 748502 w 8112124"/>
              <a:gd name="connsiteY34" fmla="*/ 224546 h 6858000"/>
              <a:gd name="connsiteX35" fmla="*/ 761012 w 8112124"/>
              <a:gd name="connsiteY35" fmla="*/ 266287 h 6858000"/>
              <a:gd name="connsiteX36" fmla="*/ 763873 w 8112124"/>
              <a:gd name="connsiteY36" fmla="*/ 268420 h 6858000"/>
              <a:gd name="connsiteX37" fmla="*/ 859328 w 8112124"/>
              <a:gd name="connsiteY37" fmla="*/ 268420 h 6858000"/>
              <a:gd name="connsiteX38" fmla="*/ 862188 w 8112124"/>
              <a:gd name="connsiteY38" fmla="*/ 266287 h 6858000"/>
              <a:gd name="connsiteX39" fmla="*/ 874677 w 8112124"/>
              <a:gd name="connsiteY39" fmla="*/ 224546 h 6858000"/>
              <a:gd name="connsiteX40" fmla="*/ 877538 w 8112124"/>
              <a:gd name="connsiteY40" fmla="*/ 222413 h 6858000"/>
              <a:gd name="connsiteX41" fmla="*/ 1009888 w 8112124"/>
              <a:gd name="connsiteY41" fmla="*/ 222413 h 6858000"/>
              <a:gd name="connsiteX42" fmla="*/ 1012126 w 8112124"/>
              <a:gd name="connsiteY42" fmla="*/ 224641 h 6858000"/>
              <a:gd name="connsiteX43" fmla="*/ 1012126 w 8112124"/>
              <a:gd name="connsiteY43" fmla="*/ 299879 h 6858000"/>
              <a:gd name="connsiteX44" fmla="*/ 1013678 w 8112124"/>
              <a:gd name="connsiteY44" fmla="*/ 303711 h 6858000"/>
              <a:gd name="connsiteX45" fmla="*/ 1042910 w 8112124"/>
              <a:gd name="connsiteY45" fmla="*/ 333819 h 6858000"/>
              <a:gd name="connsiteX46" fmla="*/ 1045265 w 8112124"/>
              <a:gd name="connsiteY46" fmla="*/ 334014 h 6858000"/>
              <a:gd name="connsiteX47" fmla="*/ 1045654 w 8112124"/>
              <a:gd name="connsiteY47" fmla="*/ 333534 h 6858000"/>
              <a:gd name="connsiteX48" fmla="*/ 1114041 w 8112124"/>
              <a:gd name="connsiteY48" fmla="*/ 224303 h 6858000"/>
              <a:gd name="connsiteX49" fmla="*/ 1117542 w 8112124"/>
              <a:gd name="connsiteY49" fmla="*/ 222413 h 6858000"/>
              <a:gd name="connsiteX50" fmla="*/ 1214827 w 8112124"/>
              <a:gd name="connsiteY50" fmla="*/ 222413 h 6858000"/>
              <a:gd name="connsiteX51" fmla="*/ 1215840 w 8112124"/>
              <a:gd name="connsiteY51" fmla="*/ 224282 h 6858000"/>
              <a:gd name="connsiteX52" fmla="*/ 1106842 w 8112124"/>
              <a:gd name="connsiteY52" fmla="*/ 392240 h 6858000"/>
              <a:gd name="connsiteX53" fmla="*/ 1107148 w 8112124"/>
              <a:gd name="connsiteY53" fmla="*/ 395724 h 6858000"/>
              <a:gd name="connsiteX54" fmla="*/ 1207532 w 8112124"/>
              <a:gd name="connsiteY54" fmla="*/ 503899 h 6858000"/>
              <a:gd name="connsiteX55" fmla="*/ 1206825 w 8112124"/>
              <a:gd name="connsiteY55" fmla="*/ 505535 h 6858000"/>
              <a:gd name="connsiteX56" fmla="*/ 1109766 w 8112124"/>
              <a:gd name="connsiteY56" fmla="*/ 505535 h 6858000"/>
              <a:gd name="connsiteX57" fmla="*/ 1106092 w 8112124"/>
              <a:gd name="connsiteY57" fmla="*/ 503836 h 6858000"/>
              <a:gd name="connsiteX58" fmla="*/ 1013573 w 8112124"/>
              <a:gd name="connsiteY58" fmla="*/ 396188 h 6858000"/>
              <a:gd name="connsiteX59" fmla="*/ 1012126 w 8112124"/>
              <a:gd name="connsiteY59" fmla="*/ 396737 h 6858000"/>
              <a:gd name="connsiteX60" fmla="*/ 1012126 w 8112124"/>
              <a:gd name="connsiteY60" fmla="*/ 503308 h 6858000"/>
              <a:gd name="connsiteX61" fmla="*/ 1009888 w 8112124"/>
              <a:gd name="connsiteY61" fmla="*/ 505535 h 6858000"/>
              <a:gd name="connsiteX62" fmla="*/ 938134 w 8112124"/>
              <a:gd name="connsiteY62" fmla="*/ 505535 h 6858000"/>
              <a:gd name="connsiteX63" fmla="*/ 935917 w 8112124"/>
              <a:gd name="connsiteY63" fmla="*/ 503308 h 6858000"/>
              <a:gd name="connsiteX64" fmla="*/ 935917 w 8112124"/>
              <a:gd name="connsiteY64" fmla="*/ 326313 h 6858000"/>
              <a:gd name="connsiteX65" fmla="*/ 954581 w 8112124"/>
              <a:gd name="connsiteY65" fmla="*/ 277404 h 6858000"/>
              <a:gd name="connsiteX66" fmla="*/ 932169 w 8112124"/>
              <a:gd name="connsiteY66" fmla="*/ 235768 h 6858000"/>
              <a:gd name="connsiteX67" fmla="*/ 909641 w 8112124"/>
              <a:gd name="connsiteY67" fmla="*/ 279790 h 6858000"/>
              <a:gd name="connsiteX68" fmla="*/ 909641 w 8112124"/>
              <a:gd name="connsiteY68" fmla="*/ 358385 h 6858000"/>
              <a:gd name="connsiteX69" fmla="*/ 859391 w 8112124"/>
              <a:gd name="connsiteY69" fmla="*/ 503413 h 6858000"/>
              <a:gd name="connsiteX70" fmla="*/ 856435 w 8112124"/>
              <a:gd name="connsiteY70" fmla="*/ 505535 h 6858000"/>
              <a:gd name="connsiteX71" fmla="*/ 767716 w 8112124"/>
              <a:gd name="connsiteY71" fmla="*/ 505535 h 6858000"/>
              <a:gd name="connsiteX72" fmla="*/ 764760 w 8112124"/>
              <a:gd name="connsiteY72" fmla="*/ 503424 h 6858000"/>
              <a:gd name="connsiteX73" fmla="*/ 700543 w 8112124"/>
              <a:gd name="connsiteY73" fmla="*/ 320317 h 6858000"/>
              <a:gd name="connsiteX74" fmla="*/ 699086 w 8112124"/>
              <a:gd name="connsiteY74" fmla="*/ 320317 h 6858000"/>
              <a:gd name="connsiteX75" fmla="*/ 635482 w 8112124"/>
              <a:gd name="connsiteY75" fmla="*/ 503413 h 6858000"/>
              <a:gd name="connsiteX76" fmla="*/ 632526 w 8112124"/>
              <a:gd name="connsiteY76" fmla="*/ 505535 h 6858000"/>
              <a:gd name="connsiteX77" fmla="*/ 0 w 8112124"/>
              <a:gd name="connsiteY77" fmla="*/ 6858000 h 6858000"/>
              <a:gd name="connsiteX78" fmla="*/ 4048124 w 8112124"/>
              <a:gd name="connsiteY78" fmla="*/ 6858000 h 6858000"/>
              <a:gd name="connsiteX79" fmla="*/ 7191556 w 8112124"/>
              <a:gd name="connsiteY79" fmla="*/ 6858000 h 6858000"/>
              <a:gd name="connsiteX80" fmla="*/ 7758827 w 8112124"/>
              <a:gd name="connsiteY80" fmla="*/ 3409950 h 6858000"/>
              <a:gd name="connsiteX81" fmla="*/ 7720691 w 8112124"/>
              <a:gd name="connsiteY81" fmla="*/ 0 h 6858000"/>
              <a:gd name="connsiteX82" fmla="*/ 4048124 w 8112124"/>
              <a:gd name="connsiteY82" fmla="*/ 0 h 6858000"/>
              <a:gd name="connsiteX83" fmla="*/ 0 w 8112124"/>
              <a:gd name="connsiteY8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8112124" h="6858000">
                <a:moveTo>
                  <a:pt x="811590" y="434161"/>
                </a:moveTo>
                <a:cubicBezTo>
                  <a:pt x="811780" y="434161"/>
                  <a:pt x="812213" y="433190"/>
                  <a:pt x="812551" y="432018"/>
                </a:cubicBezTo>
                <a:lnTo>
                  <a:pt x="842986" y="329216"/>
                </a:lnTo>
                <a:cubicBezTo>
                  <a:pt x="843296" y="328408"/>
                  <a:pt x="842892" y="327502"/>
                  <a:pt x="842084" y="327192"/>
                </a:cubicBezTo>
                <a:cubicBezTo>
                  <a:pt x="841860" y="327106"/>
                  <a:pt x="841620" y="327073"/>
                  <a:pt x="841381" y="327094"/>
                </a:cubicBezTo>
                <a:lnTo>
                  <a:pt x="781809" y="327094"/>
                </a:lnTo>
                <a:cubicBezTo>
                  <a:pt x="780943" y="327022"/>
                  <a:pt x="780182" y="327666"/>
                  <a:pt x="780110" y="328532"/>
                </a:cubicBezTo>
                <a:cubicBezTo>
                  <a:pt x="780090" y="328764"/>
                  <a:pt x="780123" y="328998"/>
                  <a:pt x="780204" y="329216"/>
                </a:cubicBezTo>
                <a:lnTo>
                  <a:pt x="810640" y="432018"/>
                </a:lnTo>
                <a:cubicBezTo>
                  <a:pt x="810784" y="432797"/>
                  <a:pt x="811109" y="433531"/>
                  <a:pt x="811590" y="434161"/>
                </a:cubicBezTo>
                <a:close/>
                <a:moveTo>
                  <a:pt x="587692" y="434161"/>
                </a:moveTo>
                <a:cubicBezTo>
                  <a:pt x="588172" y="433531"/>
                  <a:pt x="588498" y="432797"/>
                  <a:pt x="588641" y="432018"/>
                </a:cubicBezTo>
                <a:lnTo>
                  <a:pt x="619077" y="329216"/>
                </a:lnTo>
                <a:cubicBezTo>
                  <a:pt x="619392" y="328416"/>
                  <a:pt x="618999" y="327511"/>
                  <a:pt x="618198" y="327196"/>
                </a:cubicBezTo>
                <a:cubicBezTo>
                  <a:pt x="617971" y="327106"/>
                  <a:pt x="617726" y="327071"/>
                  <a:pt x="617483" y="327094"/>
                </a:cubicBezTo>
                <a:lnTo>
                  <a:pt x="557911" y="327094"/>
                </a:lnTo>
                <a:cubicBezTo>
                  <a:pt x="557047" y="327019"/>
                  <a:pt x="556285" y="327658"/>
                  <a:pt x="556210" y="328522"/>
                </a:cubicBezTo>
                <a:cubicBezTo>
                  <a:pt x="556189" y="328758"/>
                  <a:pt x="556222" y="328995"/>
                  <a:pt x="556306" y="329216"/>
                </a:cubicBezTo>
                <a:lnTo>
                  <a:pt x="586752" y="432018"/>
                </a:lnTo>
                <a:cubicBezTo>
                  <a:pt x="586899" y="432794"/>
                  <a:pt x="587220" y="433527"/>
                  <a:pt x="587692" y="434161"/>
                </a:cubicBezTo>
                <a:close/>
                <a:moveTo>
                  <a:pt x="543817" y="505535"/>
                </a:moveTo>
                <a:cubicBezTo>
                  <a:pt x="542502" y="505476"/>
                  <a:pt x="541345" y="504649"/>
                  <a:pt x="540861" y="503424"/>
                </a:cubicBezTo>
                <a:lnTo>
                  <a:pt x="443053" y="224514"/>
                </a:lnTo>
                <a:cubicBezTo>
                  <a:pt x="442706" y="223774"/>
                  <a:pt x="443026" y="222892"/>
                  <a:pt x="443767" y="222546"/>
                </a:cubicBezTo>
                <a:cubicBezTo>
                  <a:pt x="444008" y="222433"/>
                  <a:pt x="444276" y="222387"/>
                  <a:pt x="444542" y="222413"/>
                </a:cubicBezTo>
                <a:lnTo>
                  <a:pt x="521743" y="222413"/>
                </a:lnTo>
                <a:cubicBezTo>
                  <a:pt x="523044" y="222470"/>
                  <a:pt x="524178" y="223316"/>
                  <a:pt x="524604" y="224546"/>
                </a:cubicBezTo>
                <a:lnTo>
                  <a:pt x="537103" y="266287"/>
                </a:lnTo>
                <a:cubicBezTo>
                  <a:pt x="537531" y="267521"/>
                  <a:pt x="538670" y="268366"/>
                  <a:pt x="539975" y="268420"/>
                </a:cubicBezTo>
                <a:lnTo>
                  <a:pt x="635418" y="268420"/>
                </a:lnTo>
                <a:cubicBezTo>
                  <a:pt x="636718" y="268360"/>
                  <a:pt x="637850" y="267516"/>
                  <a:pt x="638279" y="266287"/>
                </a:cubicBezTo>
                <a:lnTo>
                  <a:pt x="650789" y="224546"/>
                </a:lnTo>
                <a:cubicBezTo>
                  <a:pt x="651218" y="223318"/>
                  <a:pt x="652350" y="222474"/>
                  <a:pt x="653650" y="222413"/>
                </a:cubicBezTo>
                <a:lnTo>
                  <a:pt x="745642" y="222413"/>
                </a:lnTo>
                <a:cubicBezTo>
                  <a:pt x="746942" y="222470"/>
                  <a:pt x="748076" y="223316"/>
                  <a:pt x="748502" y="224546"/>
                </a:cubicBezTo>
                <a:lnTo>
                  <a:pt x="761012" y="266287"/>
                </a:lnTo>
                <a:cubicBezTo>
                  <a:pt x="761433" y="267521"/>
                  <a:pt x="762570" y="268369"/>
                  <a:pt x="763873" y="268420"/>
                </a:cubicBezTo>
                <a:lnTo>
                  <a:pt x="859328" y="268420"/>
                </a:lnTo>
                <a:cubicBezTo>
                  <a:pt x="860627" y="268360"/>
                  <a:pt x="861759" y="267516"/>
                  <a:pt x="862188" y="266287"/>
                </a:cubicBezTo>
                <a:lnTo>
                  <a:pt x="874677" y="224546"/>
                </a:lnTo>
                <a:cubicBezTo>
                  <a:pt x="875109" y="223320"/>
                  <a:pt x="876239" y="222477"/>
                  <a:pt x="877538" y="222413"/>
                </a:cubicBezTo>
                <a:lnTo>
                  <a:pt x="1009888" y="222413"/>
                </a:lnTo>
                <a:cubicBezTo>
                  <a:pt x="1011119" y="222417"/>
                  <a:pt x="1012118" y="223410"/>
                  <a:pt x="1012126" y="224641"/>
                </a:cubicBezTo>
                <a:lnTo>
                  <a:pt x="1012126" y="299879"/>
                </a:lnTo>
                <a:cubicBezTo>
                  <a:pt x="1012196" y="301295"/>
                  <a:pt x="1012743" y="302646"/>
                  <a:pt x="1013678" y="303711"/>
                </a:cubicBezTo>
                <a:lnTo>
                  <a:pt x="1042910" y="333819"/>
                </a:lnTo>
                <a:cubicBezTo>
                  <a:pt x="1043506" y="334523"/>
                  <a:pt x="1044560" y="334610"/>
                  <a:pt x="1045265" y="334014"/>
                </a:cubicBezTo>
                <a:cubicBezTo>
                  <a:pt x="1045423" y="333879"/>
                  <a:pt x="1045555" y="333717"/>
                  <a:pt x="1045654" y="333534"/>
                </a:cubicBezTo>
                <a:lnTo>
                  <a:pt x="1114041" y="224303"/>
                </a:lnTo>
                <a:cubicBezTo>
                  <a:pt x="1114797" y="223104"/>
                  <a:pt x="1116125" y="222387"/>
                  <a:pt x="1117542" y="222413"/>
                </a:cubicBezTo>
                <a:lnTo>
                  <a:pt x="1214827" y="222413"/>
                </a:lnTo>
                <a:cubicBezTo>
                  <a:pt x="1216062" y="222413"/>
                  <a:pt x="1216516" y="223258"/>
                  <a:pt x="1215840" y="224282"/>
                </a:cubicBezTo>
                <a:lnTo>
                  <a:pt x="1106842" y="392240"/>
                </a:lnTo>
                <a:cubicBezTo>
                  <a:pt x="1106172" y="393344"/>
                  <a:pt x="1106296" y="394754"/>
                  <a:pt x="1107148" y="395724"/>
                </a:cubicBezTo>
                <a:lnTo>
                  <a:pt x="1207532" y="503899"/>
                </a:lnTo>
                <a:cubicBezTo>
                  <a:pt x="1208366" y="504796"/>
                  <a:pt x="1208049" y="505535"/>
                  <a:pt x="1206825" y="505535"/>
                </a:cubicBezTo>
                <a:lnTo>
                  <a:pt x="1109766" y="505535"/>
                </a:lnTo>
                <a:cubicBezTo>
                  <a:pt x="1108370" y="505454"/>
                  <a:pt x="1107057" y="504847"/>
                  <a:pt x="1106092" y="503836"/>
                </a:cubicBezTo>
                <a:lnTo>
                  <a:pt x="1013573" y="396188"/>
                </a:lnTo>
                <a:cubicBezTo>
                  <a:pt x="1012770" y="395259"/>
                  <a:pt x="1012126" y="395513"/>
                  <a:pt x="1012126" y="396737"/>
                </a:cubicBezTo>
                <a:lnTo>
                  <a:pt x="1012126" y="503308"/>
                </a:lnTo>
                <a:cubicBezTo>
                  <a:pt x="1012117" y="504538"/>
                  <a:pt x="1011119" y="505532"/>
                  <a:pt x="1009888" y="505535"/>
                </a:cubicBezTo>
                <a:lnTo>
                  <a:pt x="938134" y="505535"/>
                </a:lnTo>
                <a:cubicBezTo>
                  <a:pt x="936911" y="505523"/>
                  <a:pt x="935923" y="504531"/>
                  <a:pt x="935917" y="503308"/>
                </a:cubicBezTo>
                <a:lnTo>
                  <a:pt x="935917" y="326313"/>
                </a:lnTo>
                <a:cubicBezTo>
                  <a:pt x="935526" y="293556"/>
                  <a:pt x="942853" y="297683"/>
                  <a:pt x="954581" y="277404"/>
                </a:cubicBezTo>
                <a:cubicBezTo>
                  <a:pt x="964198" y="260808"/>
                  <a:pt x="955996" y="237404"/>
                  <a:pt x="932169" y="235768"/>
                </a:cubicBezTo>
                <a:cubicBezTo>
                  <a:pt x="912291" y="234395"/>
                  <a:pt x="894798" y="257061"/>
                  <a:pt x="909641" y="279790"/>
                </a:cubicBezTo>
                <a:cubicBezTo>
                  <a:pt x="925318" y="303753"/>
                  <a:pt x="931895" y="292658"/>
                  <a:pt x="909641" y="358385"/>
                </a:cubicBezTo>
                <a:lnTo>
                  <a:pt x="859391" y="503413"/>
                </a:lnTo>
                <a:cubicBezTo>
                  <a:pt x="858913" y="504643"/>
                  <a:pt x="857754" y="505475"/>
                  <a:pt x="856435" y="505535"/>
                </a:cubicBezTo>
                <a:lnTo>
                  <a:pt x="767716" y="505535"/>
                </a:lnTo>
                <a:cubicBezTo>
                  <a:pt x="766400" y="505476"/>
                  <a:pt x="765243" y="504649"/>
                  <a:pt x="764760" y="503424"/>
                </a:cubicBezTo>
                <a:lnTo>
                  <a:pt x="700543" y="320317"/>
                </a:lnTo>
                <a:cubicBezTo>
                  <a:pt x="700131" y="319156"/>
                  <a:pt x="699477" y="319156"/>
                  <a:pt x="699086" y="320317"/>
                </a:cubicBezTo>
                <a:lnTo>
                  <a:pt x="635482" y="503413"/>
                </a:lnTo>
                <a:cubicBezTo>
                  <a:pt x="635003" y="504643"/>
                  <a:pt x="633844" y="505475"/>
                  <a:pt x="632526" y="505535"/>
                </a:cubicBezTo>
                <a:close/>
                <a:moveTo>
                  <a:pt x="0" y="6858000"/>
                </a:moveTo>
                <a:lnTo>
                  <a:pt x="4048124" y="6858000"/>
                </a:lnTo>
                <a:lnTo>
                  <a:pt x="7191556" y="6858000"/>
                </a:lnTo>
                <a:cubicBezTo>
                  <a:pt x="7015178" y="6186488"/>
                  <a:pt x="7010411" y="5086350"/>
                  <a:pt x="7758827" y="3409950"/>
                </a:cubicBezTo>
                <a:cubicBezTo>
                  <a:pt x="8464339" y="1833563"/>
                  <a:pt x="7930438" y="438150"/>
                  <a:pt x="7720691" y="0"/>
                </a:cubicBezTo>
                <a:lnTo>
                  <a:pt x="4048124" y="0"/>
                </a:lnTo>
                <a:lnTo>
                  <a:pt x="0" y="0"/>
                </a:lnTo>
                <a:close/>
              </a:path>
            </a:pathLst>
          </a:custGeom>
          <a:solidFill>
            <a:schemeClr val="accent1"/>
          </a:solidFill>
        </p:spPr>
        <p:txBody>
          <a:bodyPr wrap="square">
            <a:noAutofit/>
          </a:bodyPr>
          <a:lstStyle>
            <a:lvl1pPr marL="0" indent="0">
              <a:buNone/>
              <a:defRPr/>
            </a:lvl1pPr>
          </a:lstStyle>
          <a:p>
            <a:pPr lvl="0"/>
            <a:r>
              <a:rPr lang="en-US"/>
              <a:t> </a:t>
            </a:r>
          </a:p>
        </p:txBody>
      </p:sp>
      <p:sp>
        <p:nvSpPr>
          <p:cNvPr id="12" name="Content Placeholder 7">
            <a:extLst>
              <a:ext uri="{FF2B5EF4-FFF2-40B4-BE49-F238E27FC236}">
                <a16:creationId xmlns:a16="http://schemas.microsoft.com/office/drawing/2014/main" id="{D5EA6B99-3C9C-4BB1-8DD3-CB6727C126C6}"/>
              </a:ext>
            </a:extLst>
          </p:cNvPr>
          <p:cNvSpPr>
            <a:spLocks noGrp="1"/>
          </p:cNvSpPr>
          <p:nvPr>
            <p:ph sz="quarter" idx="16"/>
          </p:nvPr>
        </p:nvSpPr>
        <p:spPr>
          <a:xfrm>
            <a:off x="8526463" y="1219200"/>
            <a:ext cx="3222624" cy="4910138"/>
          </a:xfrm>
        </p:spPr>
        <p:txBody>
          <a:bodyPr/>
          <a:lstStyle>
            <a:lvl3pPr>
              <a:lnSpc>
                <a:spcPct val="90000"/>
              </a:lnSpc>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2">
            <a:extLst>
              <a:ext uri="{FF2B5EF4-FFF2-40B4-BE49-F238E27FC236}">
                <a16:creationId xmlns:a16="http://schemas.microsoft.com/office/drawing/2014/main" id="{CFB2899E-E2CA-4FE3-B171-DBFAC94CB5D1}"/>
              </a:ext>
            </a:extLst>
          </p:cNvPr>
          <p:cNvSpPr>
            <a:spLocks noGrp="1"/>
          </p:cNvSpPr>
          <p:nvPr>
            <p:ph type="title"/>
          </p:nvPr>
        </p:nvSpPr>
        <p:spPr>
          <a:xfrm>
            <a:off x="8509000" y="221456"/>
            <a:ext cx="3240088" cy="775597"/>
          </a:xfrm>
        </p:spPr>
        <p:txBody>
          <a:bodyPr/>
          <a:lstStyle/>
          <a:p>
            <a:r>
              <a:rPr lang="en-US"/>
              <a:t>Click to edit Master title style</a:t>
            </a:r>
            <a:endParaRPr lang="en-US" dirty="0"/>
          </a:p>
        </p:txBody>
      </p:sp>
      <p:sp>
        <p:nvSpPr>
          <p:cNvPr id="2" name="Date Placeholder 19">
            <a:extLst>
              <a:ext uri="{FF2B5EF4-FFF2-40B4-BE49-F238E27FC236}">
                <a16:creationId xmlns:a16="http://schemas.microsoft.com/office/drawing/2014/main" id="{BF79FE44-75D3-9F3D-CFFD-1EB59F2C4D44}"/>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BFC6E37A-DBDA-9A0B-8994-5DE6807EAB82}"/>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3" name="Footer Placeholder 2">
            <a:extLst>
              <a:ext uri="{FF2B5EF4-FFF2-40B4-BE49-F238E27FC236}">
                <a16:creationId xmlns:a16="http://schemas.microsoft.com/office/drawing/2014/main" id="{C3263759-501E-08BC-12FB-582F743438CA}"/>
              </a:ext>
            </a:extLst>
          </p:cNvPr>
          <p:cNvSpPr>
            <a:spLocks noGrp="1"/>
          </p:cNvSpPr>
          <p:nvPr>
            <p:ph type="ftr" sz="quarter" idx="17"/>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2239910490"/>
      </p:ext>
    </p:extLst>
  </p:cSld>
  <p:clrMapOvr>
    <a:masterClrMapping/>
  </p:clrMapOvr>
  <p:extLst>
    <p:ext uri="{DCECCB84-F9BA-43D5-87BE-67443E8EF086}">
      <p15:sldGuideLst xmlns:p15="http://schemas.microsoft.com/office/powerpoint/2012/main">
        <p15:guide id="1" pos="281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g picture right_Black Olive Navy">
    <p:bg>
      <p:bgPr>
        <a:solidFill>
          <a:srgbClr val="00264E"/>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EF8D621-2565-4951-A9F9-874D9D49B001}"/>
              </a:ext>
            </a:extLst>
          </p:cNvPr>
          <p:cNvSpPr>
            <a:spLocks noGrp="1"/>
          </p:cNvSpPr>
          <p:nvPr>
            <p:ph type="pic" sz="quarter" idx="16"/>
          </p:nvPr>
        </p:nvSpPr>
        <p:spPr>
          <a:xfrm>
            <a:off x="4475163" y="0"/>
            <a:ext cx="7716837" cy="6858000"/>
          </a:xfrm>
          <a:custGeom>
            <a:avLst/>
            <a:gdLst>
              <a:gd name="connsiteX0" fmla="*/ 920567 w 7716837"/>
              <a:gd name="connsiteY0" fmla="*/ 0 h 6858000"/>
              <a:gd name="connsiteX1" fmla="*/ 4043657 w 7716837"/>
              <a:gd name="connsiteY1" fmla="*/ 0 h 6858000"/>
              <a:gd name="connsiteX2" fmla="*/ 4065587 w 7716837"/>
              <a:gd name="connsiteY2" fmla="*/ 0 h 6858000"/>
              <a:gd name="connsiteX3" fmla="*/ 7716837 w 7716837"/>
              <a:gd name="connsiteY3" fmla="*/ 0 h 6858000"/>
              <a:gd name="connsiteX4" fmla="*/ 7716837 w 7716837"/>
              <a:gd name="connsiteY4" fmla="*/ 6858000 h 6858000"/>
              <a:gd name="connsiteX5" fmla="*/ 4065587 w 7716837"/>
              <a:gd name="connsiteY5" fmla="*/ 6858000 h 6858000"/>
              <a:gd name="connsiteX6" fmla="*/ 391433 w 7716837"/>
              <a:gd name="connsiteY6" fmla="*/ 6858000 h 6858000"/>
              <a:gd name="connsiteX7" fmla="*/ 353297 w 7716837"/>
              <a:gd name="connsiteY7" fmla="*/ 3448050 h 6858000"/>
              <a:gd name="connsiteX8" fmla="*/ 920567 w 7716837"/>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6837" h="6858000">
                <a:moveTo>
                  <a:pt x="920567" y="0"/>
                </a:moveTo>
                <a:cubicBezTo>
                  <a:pt x="2582752" y="0"/>
                  <a:pt x="3517731" y="0"/>
                  <a:pt x="4043657" y="0"/>
                </a:cubicBezTo>
                <a:lnTo>
                  <a:pt x="4065587" y="0"/>
                </a:lnTo>
                <a:lnTo>
                  <a:pt x="7716837" y="0"/>
                </a:lnTo>
                <a:lnTo>
                  <a:pt x="7716837" y="685800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1219200"/>
            <a:ext cx="3608385" cy="4910137"/>
          </a:xfrm>
        </p:spPr>
        <p:txBody>
          <a:bodyPr/>
          <a:lstStyle>
            <a:lvl1pPr>
              <a:lnSpc>
                <a:spcPct val="90000"/>
              </a:lnSpc>
              <a:spcBef>
                <a:spcPts val="600"/>
              </a:spcBef>
              <a:spcAft>
                <a:spcPts val="0"/>
              </a:spcAft>
              <a:defRPr>
                <a:solidFill>
                  <a:schemeClr val="bg1"/>
                </a:solidFill>
              </a:defRPr>
            </a:lvl1pPr>
            <a:lvl2pPr>
              <a:lnSpc>
                <a:spcPct val="90000"/>
              </a:lnSpc>
              <a:spcBef>
                <a:spcPts val="600"/>
              </a:spcBef>
              <a:spcAft>
                <a:spcPts val="0"/>
              </a:spcAft>
              <a:defRPr>
                <a:solidFill>
                  <a:schemeClr val="bg1"/>
                </a:solidFill>
              </a:defRPr>
            </a:lvl2pPr>
            <a:lvl3pPr>
              <a:lnSpc>
                <a:spcPct val="90000"/>
              </a:lnSpc>
              <a:spcBef>
                <a:spcPts val="600"/>
              </a:spcBef>
              <a:spcAft>
                <a:spcPts val="0"/>
              </a:spcAft>
              <a:defRPr>
                <a:solidFill>
                  <a:schemeClr val="bg1"/>
                </a:solidFill>
              </a:defRPr>
            </a:lvl3pPr>
            <a:lvl4pPr>
              <a:lnSpc>
                <a:spcPct val="90000"/>
              </a:lnSpc>
              <a:spcBef>
                <a:spcPts val="600"/>
              </a:spcBef>
              <a:spcAft>
                <a:spcPts val="0"/>
              </a:spcAft>
              <a:defRPr>
                <a:solidFill>
                  <a:schemeClr val="bg1"/>
                </a:solidFill>
              </a:defRPr>
            </a:lvl4pPr>
            <a:lvl5pPr>
              <a:lnSpc>
                <a:spcPct val="90000"/>
              </a:lnSpc>
              <a:spcBef>
                <a:spcPts val="600"/>
              </a:spcBef>
              <a:spcAft>
                <a:spcPts val="0"/>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09AB31A-494F-4409-9C8A-3C88DED7B81F}"/>
              </a:ext>
            </a:extLst>
          </p:cNvPr>
          <p:cNvSpPr>
            <a:spLocks noGrp="1"/>
          </p:cNvSpPr>
          <p:nvPr>
            <p:ph type="title"/>
          </p:nvPr>
        </p:nvSpPr>
        <p:spPr>
          <a:xfrm>
            <a:off x="442914" y="221456"/>
            <a:ext cx="3636962" cy="775597"/>
          </a:xfrm>
        </p:spPr>
        <p:txBody>
          <a:bodyPr/>
          <a:lstStyle>
            <a:lvl1pPr>
              <a:defRPr>
                <a:solidFill>
                  <a:schemeClr val="bg1"/>
                </a:solidFill>
              </a:defRPr>
            </a:lvl1pPr>
          </a:lstStyle>
          <a:p>
            <a:r>
              <a:rPr lang="en-US"/>
              <a:t>Click to edit Master title style</a:t>
            </a:r>
            <a:endParaRPr lang="en-US" dirty="0"/>
          </a:p>
        </p:txBody>
      </p:sp>
      <p:sp>
        <p:nvSpPr>
          <p:cNvPr id="7" name="Graphic 21">
            <a:extLst>
              <a:ext uri="{FF2B5EF4-FFF2-40B4-BE49-F238E27FC236}">
                <a16:creationId xmlns:a16="http://schemas.microsoft.com/office/drawing/2014/main" id="{92B2314E-63EA-4F00-8F7C-1C00F10A9830}"/>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chemeClr val="bg1"/>
          </a:solidFill>
          <a:ln w="9525" cap="flat">
            <a:noFill/>
            <a:prstDash val="solid"/>
            <a:miter/>
          </a:ln>
        </p:spPr>
        <p:txBody>
          <a:bodyPr rtlCol="0" anchor="ctr"/>
          <a:lstStyle/>
          <a:p>
            <a:endParaRPr lang="en-US" dirty="0"/>
          </a:p>
        </p:txBody>
      </p:sp>
      <p:sp>
        <p:nvSpPr>
          <p:cNvPr id="2" name="Date Placeholder 19">
            <a:extLst>
              <a:ext uri="{FF2B5EF4-FFF2-40B4-BE49-F238E27FC236}">
                <a16:creationId xmlns:a16="http://schemas.microsoft.com/office/drawing/2014/main" id="{C8A97769-954E-D4C6-1492-D94EECA34DF4}"/>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chemeClr val="bg1"/>
                </a:solidFill>
              </a:defRPr>
            </a:lvl1pPr>
          </a:lstStyle>
          <a:p>
            <a:fld id="{684B2894-3B84-4879-8F4C-FB2CBD9FC7AC}" type="datetimeFigureOut">
              <a:rPr lang="en-GB" smtClean="0"/>
              <a:pPr/>
              <a:t>18/06/2025</a:t>
            </a:fld>
            <a:endParaRPr lang="en-GB" dirty="0"/>
          </a:p>
        </p:txBody>
      </p:sp>
      <p:sp>
        <p:nvSpPr>
          <p:cNvPr id="5" name="Slide Number Placeholder 20">
            <a:extLst>
              <a:ext uri="{FF2B5EF4-FFF2-40B4-BE49-F238E27FC236}">
                <a16:creationId xmlns:a16="http://schemas.microsoft.com/office/drawing/2014/main" id="{362C61FA-C677-B18F-D556-6DCDD30FD3B4}"/>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chemeClr val="bg1"/>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952373F3-A838-A270-FDA1-D0B597E42392}"/>
              </a:ext>
            </a:extLst>
          </p:cNvPr>
          <p:cNvSpPr>
            <a:spLocks noGrp="1"/>
          </p:cNvSpPr>
          <p:nvPr>
            <p:ph type="ftr" sz="quarter" idx="17"/>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2812018739"/>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picture right_Soya Bean Green">
    <p:bg>
      <p:bgPr>
        <a:solidFill>
          <a:srgbClr val="D2DEC3"/>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EF8D621-2565-4951-A9F9-874D9D49B001}"/>
              </a:ext>
            </a:extLst>
          </p:cNvPr>
          <p:cNvSpPr>
            <a:spLocks noGrp="1"/>
          </p:cNvSpPr>
          <p:nvPr>
            <p:ph type="pic" sz="quarter" idx="16"/>
          </p:nvPr>
        </p:nvSpPr>
        <p:spPr>
          <a:xfrm>
            <a:off x="4475163" y="0"/>
            <a:ext cx="7716837" cy="6858000"/>
          </a:xfrm>
          <a:custGeom>
            <a:avLst/>
            <a:gdLst>
              <a:gd name="connsiteX0" fmla="*/ 920567 w 7716837"/>
              <a:gd name="connsiteY0" fmla="*/ 0 h 6858000"/>
              <a:gd name="connsiteX1" fmla="*/ 4043657 w 7716837"/>
              <a:gd name="connsiteY1" fmla="*/ 0 h 6858000"/>
              <a:gd name="connsiteX2" fmla="*/ 4065587 w 7716837"/>
              <a:gd name="connsiteY2" fmla="*/ 0 h 6858000"/>
              <a:gd name="connsiteX3" fmla="*/ 7716837 w 7716837"/>
              <a:gd name="connsiteY3" fmla="*/ 0 h 6858000"/>
              <a:gd name="connsiteX4" fmla="*/ 7716837 w 7716837"/>
              <a:gd name="connsiteY4" fmla="*/ 6858000 h 6858000"/>
              <a:gd name="connsiteX5" fmla="*/ 4065587 w 7716837"/>
              <a:gd name="connsiteY5" fmla="*/ 6858000 h 6858000"/>
              <a:gd name="connsiteX6" fmla="*/ 391433 w 7716837"/>
              <a:gd name="connsiteY6" fmla="*/ 6858000 h 6858000"/>
              <a:gd name="connsiteX7" fmla="*/ 353297 w 7716837"/>
              <a:gd name="connsiteY7" fmla="*/ 3448050 h 6858000"/>
              <a:gd name="connsiteX8" fmla="*/ 920567 w 7716837"/>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6837" h="6858000">
                <a:moveTo>
                  <a:pt x="920567" y="0"/>
                </a:moveTo>
                <a:cubicBezTo>
                  <a:pt x="2582752" y="0"/>
                  <a:pt x="3517731" y="0"/>
                  <a:pt x="4043657" y="0"/>
                </a:cubicBezTo>
                <a:lnTo>
                  <a:pt x="4065587" y="0"/>
                </a:lnTo>
                <a:lnTo>
                  <a:pt x="7716837" y="0"/>
                </a:lnTo>
                <a:lnTo>
                  <a:pt x="7716837" y="685800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rgbClr val="00264E"/>
                </a:solidFill>
              </a:defRPr>
            </a:lvl1pPr>
          </a:lstStyle>
          <a:p>
            <a:r>
              <a:rPr lang="en-US"/>
              <a:t>Click icon to add picture</a:t>
            </a:r>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1219200"/>
            <a:ext cx="3608385" cy="4910137"/>
          </a:xfrm>
        </p:spPr>
        <p:txBody>
          <a:bodyPr/>
          <a:lstStyle>
            <a:lvl1pPr>
              <a:lnSpc>
                <a:spcPct val="90000"/>
              </a:lnSpc>
              <a:spcBef>
                <a:spcPts val="600"/>
              </a:spcBef>
              <a:spcAft>
                <a:spcPts val="0"/>
              </a:spcAft>
              <a:defRPr>
                <a:solidFill>
                  <a:srgbClr val="00264E"/>
                </a:solidFill>
              </a:defRPr>
            </a:lvl1pPr>
            <a:lvl2pPr>
              <a:lnSpc>
                <a:spcPct val="90000"/>
              </a:lnSpc>
              <a:spcBef>
                <a:spcPts val="600"/>
              </a:spcBef>
              <a:spcAft>
                <a:spcPts val="0"/>
              </a:spcAft>
              <a:defRPr>
                <a:solidFill>
                  <a:srgbClr val="00264E"/>
                </a:solidFill>
              </a:defRPr>
            </a:lvl2pPr>
            <a:lvl3pPr>
              <a:lnSpc>
                <a:spcPct val="90000"/>
              </a:lnSpc>
              <a:spcBef>
                <a:spcPts val="600"/>
              </a:spcBef>
              <a:spcAft>
                <a:spcPts val="0"/>
              </a:spcAft>
              <a:defRPr>
                <a:solidFill>
                  <a:srgbClr val="00264E"/>
                </a:solidFill>
              </a:defRPr>
            </a:lvl3pPr>
            <a:lvl4pPr>
              <a:lnSpc>
                <a:spcPct val="90000"/>
              </a:lnSpc>
              <a:spcBef>
                <a:spcPts val="600"/>
              </a:spcBef>
              <a:spcAft>
                <a:spcPts val="0"/>
              </a:spcAft>
              <a:defRPr>
                <a:solidFill>
                  <a:srgbClr val="00264E"/>
                </a:solidFill>
              </a:defRPr>
            </a:lvl4pPr>
            <a:lvl5pPr>
              <a:lnSpc>
                <a:spcPct val="90000"/>
              </a:lnSpc>
              <a:spcBef>
                <a:spcPts val="600"/>
              </a:spcBef>
              <a:spcAft>
                <a:spcPts val="0"/>
              </a:spcAft>
              <a:defRPr>
                <a:solidFill>
                  <a:srgbClr val="00264E"/>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09AB31A-494F-4409-9C8A-3C88DED7B81F}"/>
              </a:ext>
            </a:extLst>
          </p:cNvPr>
          <p:cNvSpPr>
            <a:spLocks noGrp="1"/>
          </p:cNvSpPr>
          <p:nvPr>
            <p:ph type="title"/>
          </p:nvPr>
        </p:nvSpPr>
        <p:spPr>
          <a:xfrm>
            <a:off x="442914" y="221456"/>
            <a:ext cx="3636962" cy="775597"/>
          </a:xfrm>
        </p:spPr>
        <p:txBody>
          <a:bodyPr/>
          <a:lstStyle>
            <a:lvl1pPr>
              <a:defRPr>
                <a:solidFill>
                  <a:srgbClr val="00264E"/>
                </a:solidFill>
              </a:defRPr>
            </a:lvl1pPr>
          </a:lstStyle>
          <a:p>
            <a:r>
              <a:rPr lang="en-US"/>
              <a:t>Click to edit Master title style</a:t>
            </a:r>
            <a:endParaRPr lang="en-US" dirty="0"/>
          </a:p>
        </p:txBody>
      </p:sp>
      <p:sp>
        <p:nvSpPr>
          <p:cNvPr id="2" name="Date Placeholder 19">
            <a:extLst>
              <a:ext uri="{FF2B5EF4-FFF2-40B4-BE49-F238E27FC236}">
                <a16:creationId xmlns:a16="http://schemas.microsoft.com/office/drawing/2014/main" id="{56BD776E-90FA-D4D5-CDCB-A183208EFB79}"/>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5" name="Slide Number Placeholder 20">
            <a:extLst>
              <a:ext uri="{FF2B5EF4-FFF2-40B4-BE49-F238E27FC236}">
                <a16:creationId xmlns:a16="http://schemas.microsoft.com/office/drawing/2014/main" id="{0134C15D-974B-4D1B-167C-F7F7D9CB3A91}"/>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C7047E87-C178-2283-90F8-303103FD3B4E}"/>
              </a:ext>
            </a:extLst>
          </p:cNvPr>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885120905"/>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g picture right_Shea Brown">
    <p:bg>
      <p:bgPr>
        <a:solidFill>
          <a:srgbClr val="E2CFC6"/>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EF8D621-2565-4951-A9F9-874D9D49B001}"/>
              </a:ext>
            </a:extLst>
          </p:cNvPr>
          <p:cNvSpPr>
            <a:spLocks noGrp="1"/>
          </p:cNvSpPr>
          <p:nvPr>
            <p:ph type="pic" sz="quarter" idx="16"/>
          </p:nvPr>
        </p:nvSpPr>
        <p:spPr>
          <a:xfrm>
            <a:off x="4475163" y="0"/>
            <a:ext cx="7716837" cy="6858000"/>
          </a:xfrm>
          <a:custGeom>
            <a:avLst/>
            <a:gdLst>
              <a:gd name="connsiteX0" fmla="*/ 920567 w 7716837"/>
              <a:gd name="connsiteY0" fmla="*/ 0 h 6858000"/>
              <a:gd name="connsiteX1" fmla="*/ 4043657 w 7716837"/>
              <a:gd name="connsiteY1" fmla="*/ 0 h 6858000"/>
              <a:gd name="connsiteX2" fmla="*/ 4065587 w 7716837"/>
              <a:gd name="connsiteY2" fmla="*/ 0 h 6858000"/>
              <a:gd name="connsiteX3" fmla="*/ 7716837 w 7716837"/>
              <a:gd name="connsiteY3" fmla="*/ 0 h 6858000"/>
              <a:gd name="connsiteX4" fmla="*/ 7716837 w 7716837"/>
              <a:gd name="connsiteY4" fmla="*/ 6858000 h 6858000"/>
              <a:gd name="connsiteX5" fmla="*/ 4065587 w 7716837"/>
              <a:gd name="connsiteY5" fmla="*/ 6858000 h 6858000"/>
              <a:gd name="connsiteX6" fmla="*/ 391433 w 7716837"/>
              <a:gd name="connsiteY6" fmla="*/ 6858000 h 6858000"/>
              <a:gd name="connsiteX7" fmla="*/ 353297 w 7716837"/>
              <a:gd name="connsiteY7" fmla="*/ 3448050 h 6858000"/>
              <a:gd name="connsiteX8" fmla="*/ 920567 w 7716837"/>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6837" h="6858000">
                <a:moveTo>
                  <a:pt x="920567" y="0"/>
                </a:moveTo>
                <a:cubicBezTo>
                  <a:pt x="2582752" y="0"/>
                  <a:pt x="3517731" y="0"/>
                  <a:pt x="4043657" y="0"/>
                </a:cubicBezTo>
                <a:lnTo>
                  <a:pt x="4065587" y="0"/>
                </a:lnTo>
                <a:lnTo>
                  <a:pt x="7716837" y="0"/>
                </a:lnTo>
                <a:lnTo>
                  <a:pt x="7716837" y="685800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rgbClr val="00264E"/>
                </a:solidFill>
              </a:defRPr>
            </a:lvl1pPr>
          </a:lstStyle>
          <a:p>
            <a:r>
              <a:rPr lang="en-US"/>
              <a:t>Click icon to add picture</a:t>
            </a:r>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1219200"/>
            <a:ext cx="3608385" cy="4910137"/>
          </a:xfrm>
        </p:spPr>
        <p:txBody>
          <a:bodyPr/>
          <a:lstStyle>
            <a:lvl1pPr>
              <a:lnSpc>
                <a:spcPct val="90000"/>
              </a:lnSpc>
              <a:spcBef>
                <a:spcPts val="600"/>
              </a:spcBef>
              <a:spcAft>
                <a:spcPts val="0"/>
              </a:spcAft>
              <a:defRPr>
                <a:solidFill>
                  <a:srgbClr val="00264E"/>
                </a:solidFill>
              </a:defRPr>
            </a:lvl1pPr>
            <a:lvl2pPr>
              <a:lnSpc>
                <a:spcPct val="90000"/>
              </a:lnSpc>
              <a:spcBef>
                <a:spcPts val="600"/>
              </a:spcBef>
              <a:spcAft>
                <a:spcPts val="0"/>
              </a:spcAft>
              <a:defRPr>
                <a:solidFill>
                  <a:srgbClr val="00264E"/>
                </a:solidFill>
              </a:defRPr>
            </a:lvl2pPr>
            <a:lvl3pPr>
              <a:lnSpc>
                <a:spcPct val="90000"/>
              </a:lnSpc>
              <a:spcBef>
                <a:spcPts val="600"/>
              </a:spcBef>
              <a:spcAft>
                <a:spcPts val="0"/>
              </a:spcAft>
              <a:defRPr>
                <a:solidFill>
                  <a:srgbClr val="00264E"/>
                </a:solidFill>
              </a:defRPr>
            </a:lvl3pPr>
            <a:lvl4pPr>
              <a:lnSpc>
                <a:spcPct val="90000"/>
              </a:lnSpc>
              <a:spcBef>
                <a:spcPts val="600"/>
              </a:spcBef>
              <a:spcAft>
                <a:spcPts val="0"/>
              </a:spcAft>
              <a:defRPr>
                <a:solidFill>
                  <a:srgbClr val="00264E"/>
                </a:solidFill>
              </a:defRPr>
            </a:lvl4pPr>
            <a:lvl5pPr>
              <a:lnSpc>
                <a:spcPct val="90000"/>
              </a:lnSpc>
              <a:spcBef>
                <a:spcPts val="600"/>
              </a:spcBef>
              <a:spcAft>
                <a:spcPts val="0"/>
              </a:spcAft>
              <a:defRPr>
                <a:solidFill>
                  <a:srgbClr val="00264E"/>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09AB31A-494F-4409-9C8A-3C88DED7B81F}"/>
              </a:ext>
            </a:extLst>
          </p:cNvPr>
          <p:cNvSpPr>
            <a:spLocks noGrp="1"/>
          </p:cNvSpPr>
          <p:nvPr>
            <p:ph type="title"/>
          </p:nvPr>
        </p:nvSpPr>
        <p:spPr>
          <a:xfrm>
            <a:off x="442914" y="221456"/>
            <a:ext cx="3636962" cy="775597"/>
          </a:xfrm>
        </p:spPr>
        <p:txBody>
          <a:bodyPr/>
          <a:lstStyle>
            <a:lvl1pPr>
              <a:defRPr>
                <a:solidFill>
                  <a:srgbClr val="00264E"/>
                </a:solidFill>
              </a:defRPr>
            </a:lvl1pPr>
          </a:lstStyle>
          <a:p>
            <a:r>
              <a:rPr lang="en-US"/>
              <a:t>Click to edit Master title style</a:t>
            </a:r>
            <a:endParaRPr lang="en-US" dirty="0"/>
          </a:p>
        </p:txBody>
      </p:sp>
      <p:sp>
        <p:nvSpPr>
          <p:cNvPr id="2" name="Date Placeholder 19">
            <a:extLst>
              <a:ext uri="{FF2B5EF4-FFF2-40B4-BE49-F238E27FC236}">
                <a16:creationId xmlns:a16="http://schemas.microsoft.com/office/drawing/2014/main" id="{7FD3CA0E-F123-2B22-9AAB-BEE33DFD453B}"/>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5" name="Slide Number Placeholder 20">
            <a:extLst>
              <a:ext uri="{FF2B5EF4-FFF2-40B4-BE49-F238E27FC236}">
                <a16:creationId xmlns:a16="http://schemas.microsoft.com/office/drawing/2014/main" id="{70DA0023-3789-81E0-1339-9709A68045CE}"/>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DE875188-47CD-674C-0296-A0C46C0CA035}"/>
              </a:ext>
            </a:extLst>
          </p:cNvPr>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988607101"/>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tatistics">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1828CCE-34B4-B2B4-B492-E6E5569E75AC}"/>
              </a:ext>
            </a:extLst>
          </p:cNvPr>
          <p:cNvSpPr>
            <a:spLocks/>
          </p:cNvSpPr>
          <p:nvPr userDrawn="1"/>
        </p:nvSpPr>
        <p:spPr>
          <a:xfrm>
            <a:off x="0" y="0"/>
            <a:ext cx="12192000" cy="6858000"/>
          </a:xfrm>
          <a:prstGeom prst="rect">
            <a:avLst/>
          </a:prstGeom>
          <a:solidFill>
            <a:schemeClr val="bg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16" name="Rectangle 15">
            <a:extLst>
              <a:ext uri="{FF2B5EF4-FFF2-40B4-BE49-F238E27FC236}">
                <a16:creationId xmlns:a16="http://schemas.microsoft.com/office/drawing/2014/main" id="{0D500AD3-F9D4-82C4-51DB-EAD0FCDF415F}"/>
              </a:ext>
            </a:extLst>
          </p:cNvPr>
          <p:cNvSpPr>
            <a:spLocks/>
          </p:cNvSpPr>
          <p:nvPr userDrawn="1"/>
        </p:nvSpPr>
        <p:spPr>
          <a:xfrm>
            <a:off x="442911" y="3202702"/>
            <a:ext cx="11306178" cy="1074140"/>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The following layouts are for statistics slides.</a:t>
            </a: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Do not use this slide)</a:t>
            </a:r>
            <a:endParaRPr kumimoji="0" lang="en-US" sz="11500" b="0" i="0" u="none" strike="noStrike" kern="1200" cap="none" spc="-30" normalizeH="0" baseline="0" noProof="0" dirty="0">
              <a:ln>
                <a:noFill/>
              </a:ln>
              <a:solidFill>
                <a:srgbClr val="00264E"/>
              </a:solidFill>
              <a:effectLst/>
              <a:uLnTx/>
              <a:uFillTx/>
              <a:latin typeface="Work Sans Medium" pitchFamily="2" charset="0"/>
              <a:ea typeface="+mn-ea"/>
              <a:cs typeface="+mn-cs"/>
            </a:endParaRPr>
          </a:p>
        </p:txBody>
      </p:sp>
      <p:sp>
        <p:nvSpPr>
          <p:cNvPr id="17" name="Rectangle 16">
            <a:extLst>
              <a:ext uri="{FF2B5EF4-FFF2-40B4-BE49-F238E27FC236}">
                <a16:creationId xmlns:a16="http://schemas.microsoft.com/office/drawing/2014/main" id="{B6EA2827-AEE2-6F2F-968A-8D21C672A99E}"/>
              </a:ext>
            </a:extLst>
          </p:cNvPr>
          <p:cNvSpPr>
            <a:spLocks/>
          </p:cNvSpPr>
          <p:nvPr userDrawn="1"/>
        </p:nvSpPr>
        <p:spPr>
          <a:xfrm>
            <a:off x="2507045" y="2202881"/>
            <a:ext cx="7177926" cy="914096"/>
          </a:xfrm>
          <a:prstGeom prst="rect">
            <a:avLst/>
          </a:prstGeom>
          <a:noFill/>
          <a:ln w="9525" cap="flat">
            <a:noFill/>
            <a:prstDash val="solid"/>
            <a:miter/>
          </a:ln>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6600" b="0" i="0" u="none" strike="noStrike" kern="1200" cap="none" spc="-30" normalizeH="0" baseline="0" noProof="0" dirty="0">
                <a:ln>
                  <a:noFill/>
                </a:ln>
                <a:solidFill>
                  <a:srgbClr val="00264E"/>
                </a:solidFill>
                <a:effectLst/>
                <a:uLnTx/>
                <a:uFillTx/>
                <a:latin typeface="Work Sans Medium" pitchFamily="2" charset="0"/>
                <a:ea typeface="+mn-ea"/>
                <a:cs typeface="+mn-cs"/>
              </a:rPr>
              <a:t>Statistics layouts</a:t>
            </a:r>
          </a:p>
        </p:txBody>
      </p:sp>
    </p:spTree>
    <p:extLst>
      <p:ext uri="{BB962C8B-B14F-4D97-AF65-F5344CB8AC3E}">
        <p14:creationId xmlns:p14="http://schemas.microsoft.com/office/powerpoint/2010/main" val="5960554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_Clean_Blue logo">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90A70F0-0D66-E30E-ABE2-832F4257DB3C}"/>
              </a:ext>
            </a:extLst>
          </p:cNvPr>
          <p:cNvGraphicFramePr>
            <a:graphicFrameLocks noChangeAspect="1"/>
          </p:cNvGraphicFramePr>
          <p:nvPr userDrawn="1">
            <p:custDataLst>
              <p:tags r:id="rId1"/>
            </p:custDataLst>
            <p:extLst>
              <p:ext uri="{D42A27DB-BD31-4B8C-83A1-F6EECF244321}">
                <p14:modId xmlns:p14="http://schemas.microsoft.com/office/powerpoint/2010/main" val="276856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think-cell data - do not delete" hidden="1">
                        <a:extLst>
                          <a:ext uri="{FF2B5EF4-FFF2-40B4-BE49-F238E27FC236}">
                            <a16:creationId xmlns:a16="http://schemas.microsoft.com/office/drawing/2014/main" id="{290A70F0-0D66-E30E-ABE2-832F4257DB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D174F43C-BA0E-F9F8-9C98-332FA94D435E}"/>
              </a:ext>
            </a:extLst>
          </p:cNvPr>
          <p:cNvSpPr>
            <a:spLocks noGrp="1"/>
          </p:cNvSpPr>
          <p:nvPr>
            <p:ph type="ctrTitle" hasCustomPrompt="1"/>
          </p:nvPr>
        </p:nvSpPr>
        <p:spPr>
          <a:xfrm>
            <a:off x="457200" y="2321312"/>
            <a:ext cx="10637838" cy="1661993"/>
          </a:xfrm>
        </p:spPr>
        <p:txBody>
          <a:bodyPr vert="horz" anchor="b">
            <a:noAutofit/>
          </a:bodyPr>
          <a:lstStyle>
            <a:lvl1pPr algn="l">
              <a:defRPr sz="6000">
                <a:solidFill>
                  <a:srgbClr val="00264E"/>
                </a:solidFill>
                <a:latin typeface="Playfair Display Black" pitchFamily="2" charset="0"/>
              </a:defRPr>
            </a:lvl1pPr>
          </a:lstStyle>
          <a:p>
            <a:r>
              <a:rPr lang="en-US" noProof="0" dirty="0"/>
              <a:t>Click to add slide title</a:t>
            </a:r>
          </a:p>
        </p:txBody>
      </p:sp>
      <p:sp>
        <p:nvSpPr>
          <p:cNvPr id="18" name="Graphic 21">
            <a:extLst>
              <a:ext uri="{FF2B5EF4-FFF2-40B4-BE49-F238E27FC236}">
                <a16:creationId xmlns:a16="http://schemas.microsoft.com/office/drawing/2014/main" id="{8379A582-7FF2-0C31-5B4D-9CFE5788B4AA}"/>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Work Sans Light"/>
              <a:ea typeface="+mn-ea"/>
              <a:cs typeface="+mn-cs"/>
            </a:endParaRPr>
          </a:p>
        </p:txBody>
      </p:sp>
      <p:sp>
        <p:nvSpPr>
          <p:cNvPr id="2" name="Date Placeholder 19">
            <a:extLst>
              <a:ext uri="{FF2B5EF4-FFF2-40B4-BE49-F238E27FC236}">
                <a16:creationId xmlns:a16="http://schemas.microsoft.com/office/drawing/2014/main" id="{27226491-E3E6-76D6-73B3-38D2B2DD1292}"/>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3" name="Slide Number Placeholder 20">
            <a:extLst>
              <a:ext uri="{FF2B5EF4-FFF2-40B4-BE49-F238E27FC236}">
                <a16:creationId xmlns:a16="http://schemas.microsoft.com/office/drawing/2014/main" id="{E5B1C79F-BDE9-E02D-F6B0-7CABB2C4C265}"/>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4" name="Text Placeholder 4">
            <a:extLst>
              <a:ext uri="{FF2B5EF4-FFF2-40B4-BE49-F238E27FC236}">
                <a16:creationId xmlns:a16="http://schemas.microsoft.com/office/drawing/2014/main" id="{EE6EC5AB-2728-CDF7-FB4D-9AB490A8468C}"/>
              </a:ext>
            </a:extLst>
          </p:cNvPr>
          <p:cNvSpPr>
            <a:spLocks noGrp="1"/>
          </p:cNvSpPr>
          <p:nvPr>
            <p:ph type="body" sz="quarter" idx="14" hasCustomPrompt="1"/>
          </p:nvPr>
        </p:nvSpPr>
        <p:spPr>
          <a:xfrm>
            <a:off x="457200" y="4097474"/>
            <a:ext cx="10652125" cy="360000"/>
          </a:xfrm>
        </p:spPr>
        <p:txBody>
          <a:bodyPr/>
          <a:lstStyle>
            <a:lvl1pPr marL="0" indent="0">
              <a:buNone/>
              <a:defRPr sz="2800">
                <a:solidFill>
                  <a:srgbClr val="00264E"/>
                </a:solidFill>
              </a:defRPr>
            </a:lvl1pPr>
          </a:lstStyle>
          <a:p>
            <a:pPr lvl="0"/>
            <a:r>
              <a:rPr lang="en-US" dirty="0"/>
              <a:t>Click to add presentation title sub-text</a:t>
            </a:r>
            <a:endParaRPr lang="en-GB" dirty="0"/>
          </a:p>
        </p:txBody>
      </p:sp>
      <p:sp>
        <p:nvSpPr>
          <p:cNvPr id="5" name="Footer Placeholder 4">
            <a:extLst>
              <a:ext uri="{FF2B5EF4-FFF2-40B4-BE49-F238E27FC236}">
                <a16:creationId xmlns:a16="http://schemas.microsoft.com/office/drawing/2014/main" id="{38C8D096-3C04-04B6-B0A7-E39CECC2F91B}"/>
              </a:ext>
            </a:extLst>
          </p:cNvPr>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26565043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tatistics with picture_Blue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1BE874-5CD5-9EE4-7C3B-C8BBB50EBBF4}"/>
              </a:ext>
            </a:extLst>
          </p:cNvPr>
          <p:cNvGraphicFramePr>
            <a:graphicFrameLocks noChangeAspect="1"/>
          </p:cNvGraphicFramePr>
          <p:nvPr userDrawn="1">
            <p:custDataLst>
              <p:tags r:id="rId1"/>
            </p:custDataLst>
            <p:extLst>
              <p:ext uri="{D42A27DB-BD31-4B8C-83A1-F6EECF244321}">
                <p14:modId xmlns:p14="http://schemas.microsoft.com/office/powerpoint/2010/main" val="1710166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911BE874-5CD5-9EE4-7C3B-C8BBB50EBB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6E3AD4FA-B85C-4165-BD3B-78778C0EA996}"/>
              </a:ext>
            </a:extLst>
          </p:cNvPr>
          <p:cNvSpPr>
            <a:spLocks noGrp="1"/>
          </p:cNvSpPr>
          <p:nvPr>
            <p:ph type="pic" sz="quarter" idx="15"/>
          </p:nvPr>
        </p:nvSpPr>
        <p:spPr>
          <a:xfrm>
            <a:off x="8126413" y="0"/>
            <a:ext cx="4065587" cy="6858000"/>
          </a:xfrm>
          <a:custGeom>
            <a:avLst/>
            <a:gdLst>
              <a:gd name="connsiteX0" fmla="*/ 920567 w 4065587"/>
              <a:gd name="connsiteY0" fmla="*/ 0 h 6858000"/>
              <a:gd name="connsiteX1" fmla="*/ 4043657 w 4065587"/>
              <a:gd name="connsiteY1" fmla="*/ 0 h 6858000"/>
              <a:gd name="connsiteX2" fmla="*/ 4065587 w 4065587"/>
              <a:gd name="connsiteY2" fmla="*/ 0 h 6858000"/>
              <a:gd name="connsiteX3" fmla="*/ 4065587 w 4065587"/>
              <a:gd name="connsiteY3" fmla="*/ 6858000 h 6858000"/>
              <a:gd name="connsiteX4" fmla="*/ 391433 w 4065587"/>
              <a:gd name="connsiteY4" fmla="*/ 6858000 h 6858000"/>
              <a:gd name="connsiteX5" fmla="*/ 353297 w 4065587"/>
              <a:gd name="connsiteY5" fmla="*/ 3448050 h 6858000"/>
              <a:gd name="connsiteX6" fmla="*/ 920567 w 406558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5587" h="6858000">
                <a:moveTo>
                  <a:pt x="920567" y="0"/>
                </a:moveTo>
                <a:cubicBezTo>
                  <a:pt x="2582752" y="0"/>
                  <a:pt x="3517731" y="0"/>
                  <a:pt x="4043657" y="0"/>
                </a:cubicBezTo>
                <a:lnTo>
                  <a:pt x="4065587" y="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endParaRPr lang="en-US" dirty="0"/>
          </a:p>
        </p:txBody>
      </p:sp>
      <p:sp>
        <p:nvSpPr>
          <p:cNvPr id="2" name="Date Placeholder 19">
            <a:extLst>
              <a:ext uri="{FF2B5EF4-FFF2-40B4-BE49-F238E27FC236}">
                <a16:creationId xmlns:a16="http://schemas.microsoft.com/office/drawing/2014/main" id="{46DA812E-DD77-C0EF-7463-9018160242A8}"/>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919ED543-58B0-045B-7694-382FCF0CAAD2}"/>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6" name="Text Placeholder 6">
            <a:extLst>
              <a:ext uri="{FF2B5EF4-FFF2-40B4-BE49-F238E27FC236}">
                <a16:creationId xmlns:a16="http://schemas.microsoft.com/office/drawing/2014/main" id="{71F0A7EF-9A9B-C037-0863-0CA2613522F7}"/>
              </a:ext>
            </a:extLst>
          </p:cNvPr>
          <p:cNvSpPr>
            <a:spLocks noGrp="1"/>
          </p:cNvSpPr>
          <p:nvPr>
            <p:ph type="body" sz="quarter" idx="16" hasCustomPrompt="1"/>
          </p:nvPr>
        </p:nvSpPr>
        <p:spPr>
          <a:xfrm>
            <a:off x="820837" y="726650"/>
            <a:ext cx="2827336" cy="725078"/>
          </a:xfrm>
        </p:spPr>
        <p:txBody>
          <a:bodyPr anchor="ctr"/>
          <a:lstStyle>
            <a:lvl1pPr marL="0" indent="0">
              <a:buNone/>
              <a:defRPr sz="4000">
                <a:solidFill>
                  <a:srgbClr val="00264E"/>
                </a:solidFill>
                <a:latin typeface="Playfair Display Black" pitchFamily="2" charset="0"/>
              </a:defRPr>
            </a:lvl1pPr>
            <a:lvl2pPr marL="179025" indent="0">
              <a:buNone/>
              <a:defRPr sz="4000"/>
            </a:lvl2pPr>
            <a:lvl3pPr marL="359025" indent="0">
              <a:buNone/>
              <a:defRPr sz="4000"/>
            </a:lvl3pPr>
            <a:lvl4pPr marL="540000" indent="0">
              <a:buNone/>
              <a:defRPr sz="4000"/>
            </a:lvl4pPr>
            <a:lvl5pPr marL="719025" indent="0">
              <a:buNone/>
              <a:defRPr sz="4000"/>
            </a:lvl5pPr>
          </a:lstStyle>
          <a:p>
            <a:pPr lvl="0"/>
            <a:r>
              <a:rPr lang="en-US" dirty="0"/>
              <a:t>00x</a:t>
            </a:r>
            <a:endParaRPr lang="en-GB" dirty="0"/>
          </a:p>
        </p:txBody>
      </p:sp>
      <p:sp>
        <p:nvSpPr>
          <p:cNvPr id="7" name="Text Placeholder 6">
            <a:extLst>
              <a:ext uri="{FF2B5EF4-FFF2-40B4-BE49-F238E27FC236}">
                <a16:creationId xmlns:a16="http://schemas.microsoft.com/office/drawing/2014/main" id="{3E6FD57B-6475-D599-CE3A-7F458ED66E75}"/>
              </a:ext>
            </a:extLst>
          </p:cNvPr>
          <p:cNvSpPr>
            <a:spLocks noGrp="1"/>
          </p:cNvSpPr>
          <p:nvPr>
            <p:ph type="body" sz="quarter" idx="17" hasCustomPrompt="1"/>
          </p:nvPr>
        </p:nvSpPr>
        <p:spPr>
          <a:xfrm>
            <a:off x="4186206" y="726650"/>
            <a:ext cx="2827336" cy="725078"/>
          </a:xfrm>
        </p:spPr>
        <p:txBody>
          <a:bodyPr anchor="ctr"/>
          <a:lstStyle>
            <a:lvl1pPr marL="0" indent="0">
              <a:buNone/>
              <a:defRPr sz="4000">
                <a:solidFill>
                  <a:srgbClr val="00264E"/>
                </a:solidFill>
                <a:latin typeface="Playfair Display Black" pitchFamily="2" charset="0"/>
              </a:defRPr>
            </a:lvl1pPr>
            <a:lvl2pPr marL="179025" indent="0">
              <a:buNone/>
              <a:defRPr sz="4000"/>
            </a:lvl2pPr>
            <a:lvl3pPr marL="359025" indent="0">
              <a:buNone/>
              <a:defRPr sz="4000"/>
            </a:lvl3pPr>
            <a:lvl4pPr marL="540000" indent="0">
              <a:buNone/>
              <a:defRPr sz="4000"/>
            </a:lvl4pPr>
            <a:lvl5pPr marL="719025" indent="0">
              <a:buNone/>
              <a:defRPr sz="4000"/>
            </a:lvl5pPr>
          </a:lstStyle>
          <a:p>
            <a:pPr lvl="0"/>
            <a:r>
              <a:rPr lang="en-US" dirty="0"/>
              <a:t>00x</a:t>
            </a:r>
            <a:endParaRPr lang="en-GB" dirty="0"/>
          </a:p>
        </p:txBody>
      </p:sp>
      <p:sp>
        <p:nvSpPr>
          <p:cNvPr id="9" name="Text Placeholder 32">
            <a:extLst>
              <a:ext uri="{FF2B5EF4-FFF2-40B4-BE49-F238E27FC236}">
                <a16:creationId xmlns:a16="http://schemas.microsoft.com/office/drawing/2014/main" id="{45A170BB-43BA-62BC-4DA1-B4BCB9D36DB3}"/>
              </a:ext>
            </a:extLst>
          </p:cNvPr>
          <p:cNvSpPr>
            <a:spLocks noGrp="1"/>
          </p:cNvSpPr>
          <p:nvPr>
            <p:ph type="body" sz="quarter" idx="19" hasCustomPrompt="1"/>
          </p:nvPr>
        </p:nvSpPr>
        <p:spPr>
          <a:xfrm>
            <a:off x="820836" y="1581795"/>
            <a:ext cx="2827335" cy="1664208"/>
          </a:xfrm>
        </p:spPr>
        <p:txBody>
          <a:bodyPr/>
          <a:lstStyle>
            <a:lvl1pPr marL="0" indent="0">
              <a:spcAft>
                <a:spcPts val="600"/>
              </a:spcAft>
              <a:buNone/>
              <a:defRPr lang="en-US" sz="1600" b="0" kern="1200" dirty="0" smtClean="0">
                <a:solidFill>
                  <a:schemeClr val="tx1"/>
                </a:solidFill>
                <a:latin typeface="+mj-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Details of statistic</a:t>
            </a:r>
          </a:p>
        </p:txBody>
      </p:sp>
      <p:sp>
        <p:nvSpPr>
          <p:cNvPr id="10" name="Text Placeholder 32">
            <a:extLst>
              <a:ext uri="{FF2B5EF4-FFF2-40B4-BE49-F238E27FC236}">
                <a16:creationId xmlns:a16="http://schemas.microsoft.com/office/drawing/2014/main" id="{F2E07876-96FC-6376-2987-D36F8E41FFBA}"/>
              </a:ext>
            </a:extLst>
          </p:cNvPr>
          <p:cNvSpPr>
            <a:spLocks noGrp="1"/>
          </p:cNvSpPr>
          <p:nvPr>
            <p:ph type="body" sz="quarter" idx="20" hasCustomPrompt="1"/>
          </p:nvPr>
        </p:nvSpPr>
        <p:spPr>
          <a:xfrm>
            <a:off x="4186207" y="1581795"/>
            <a:ext cx="2827335" cy="1664208"/>
          </a:xfrm>
        </p:spPr>
        <p:txBody>
          <a:bodyPr vert="horz" lIns="0" tIns="0" rIns="0" bIns="0" rtlCol="0">
            <a:noAutofit/>
          </a:bodyPr>
          <a:lstStyle>
            <a:lvl1pPr marL="0" indent="0">
              <a:buNone/>
              <a:defRPr lang="en-US" b="0" dirty="0">
                <a:solidFill>
                  <a:schemeClr val="tx1"/>
                </a:solidFill>
                <a:latin typeface="+mj-lt"/>
              </a:defRPr>
            </a:lvl1pPr>
            <a:lvl2pPr>
              <a:defRPr lang="en-US" dirty="0">
                <a:solidFill>
                  <a:schemeClr val="tx1"/>
                </a:solidFill>
              </a:defRPr>
            </a:lvl2pPr>
            <a:lvl3pPr>
              <a:defRPr lang="en-US" dirty="0">
                <a:solidFill>
                  <a:schemeClr val="tx1"/>
                </a:solidFill>
              </a:defRPr>
            </a:lvl3pPr>
          </a:lstStyle>
          <a:p>
            <a:pPr marL="228600" lvl="0" indent="-228600" algn="l" defTabSz="914400" rtl="0" eaLnBrk="1" latinLnBrk="0" hangingPunct="1">
              <a:lnSpc>
                <a:spcPct val="100000"/>
              </a:lnSpc>
              <a:spcBef>
                <a:spcPts val="0"/>
              </a:spcBef>
              <a:spcAft>
                <a:spcPts val="600"/>
              </a:spcAft>
            </a:pPr>
            <a:r>
              <a:rPr lang="en-US" dirty="0"/>
              <a:t>Details of statistic</a:t>
            </a:r>
          </a:p>
        </p:txBody>
      </p:sp>
      <p:sp>
        <p:nvSpPr>
          <p:cNvPr id="11" name="Text Placeholder 6">
            <a:extLst>
              <a:ext uri="{FF2B5EF4-FFF2-40B4-BE49-F238E27FC236}">
                <a16:creationId xmlns:a16="http://schemas.microsoft.com/office/drawing/2014/main" id="{281D87E1-E303-3999-BAB9-6C627DF15928}"/>
              </a:ext>
            </a:extLst>
          </p:cNvPr>
          <p:cNvSpPr>
            <a:spLocks noGrp="1"/>
          </p:cNvSpPr>
          <p:nvPr>
            <p:ph type="body" sz="quarter" idx="21" hasCustomPrompt="1"/>
          </p:nvPr>
        </p:nvSpPr>
        <p:spPr>
          <a:xfrm>
            <a:off x="820837" y="3526410"/>
            <a:ext cx="2827336" cy="725078"/>
          </a:xfrm>
        </p:spPr>
        <p:txBody>
          <a:bodyPr anchor="ctr"/>
          <a:lstStyle>
            <a:lvl1pPr marL="0" indent="0">
              <a:buNone/>
              <a:defRPr sz="4000">
                <a:solidFill>
                  <a:srgbClr val="00264E"/>
                </a:solidFill>
                <a:latin typeface="Playfair Display Black" pitchFamily="2" charset="0"/>
              </a:defRPr>
            </a:lvl1pPr>
            <a:lvl2pPr marL="179025" indent="0">
              <a:buNone/>
              <a:defRPr sz="4000"/>
            </a:lvl2pPr>
            <a:lvl3pPr marL="359025" indent="0">
              <a:buNone/>
              <a:defRPr sz="4000"/>
            </a:lvl3pPr>
            <a:lvl4pPr marL="540000" indent="0">
              <a:buNone/>
              <a:defRPr sz="4000"/>
            </a:lvl4pPr>
            <a:lvl5pPr marL="719025" indent="0">
              <a:buNone/>
              <a:defRPr sz="4000"/>
            </a:lvl5pPr>
          </a:lstStyle>
          <a:p>
            <a:pPr lvl="0"/>
            <a:r>
              <a:rPr lang="en-US" dirty="0"/>
              <a:t>00x</a:t>
            </a:r>
            <a:endParaRPr lang="en-GB" dirty="0"/>
          </a:p>
        </p:txBody>
      </p:sp>
      <p:sp>
        <p:nvSpPr>
          <p:cNvPr id="12" name="Text Placeholder 6">
            <a:extLst>
              <a:ext uri="{FF2B5EF4-FFF2-40B4-BE49-F238E27FC236}">
                <a16:creationId xmlns:a16="http://schemas.microsoft.com/office/drawing/2014/main" id="{3327505C-85F0-1A91-587E-A1989A7EBE36}"/>
              </a:ext>
            </a:extLst>
          </p:cNvPr>
          <p:cNvSpPr>
            <a:spLocks noGrp="1"/>
          </p:cNvSpPr>
          <p:nvPr>
            <p:ph type="body" sz="quarter" idx="22" hasCustomPrompt="1"/>
          </p:nvPr>
        </p:nvSpPr>
        <p:spPr>
          <a:xfrm>
            <a:off x="4186206" y="3526410"/>
            <a:ext cx="2827336" cy="725078"/>
          </a:xfrm>
        </p:spPr>
        <p:txBody>
          <a:bodyPr anchor="ctr"/>
          <a:lstStyle>
            <a:lvl1pPr marL="0" indent="0">
              <a:buNone/>
              <a:defRPr sz="4000">
                <a:solidFill>
                  <a:srgbClr val="00264E"/>
                </a:solidFill>
                <a:latin typeface="Playfair Display Black" pitchFamily="2" charset="0"/>
              </a:defRPr>
            </a:lvl1pPr>
            <a:lvl2pPr marL="179025" indent="0">
              <a:buNone/>
              <a:defRPr sz="4000"/>
            </a:lvl2pPr>
            <a:lvl3pPr marL="359025" indent="0">
              <a:buNone/>
              <a:defRPr sz="4000"/>
            </a:lvl3pPr>
            <a:lvl4pPr marL="540000" indent="0">
              <a:buNone/>
              <a:defRPr sz="4000"/>
            </a:lvl4pPr>
            <a:lvl5pPr marL="719025" indent="0">
              <a:buNone/>
              <a:defRPr sz="4000"/>
            </a:lvl5pPr>
          </a:lstStyle>
          <a:p>
            <a:pPr lvl="0"/>
            <a:r>
              <a:rPr lang="en-US" dirty="0"/>
              <a:t>00x</a:t>
            </a:r>
            <a:endParaRPr lang="en-GB" dirty="0"/>
          </a:p>
        </p:txBody>
      </p:sp>
      <p:sp>
        <p:nvSpPr>
          <p:cNvPr id="14" name="Text Placeholder 32">
            <a:extLst>
              <a:ext uri="{FF2B5EF4-FFF2-40B4-BE49-F238E27FC236}">
                <a16:creationId xmlns:a16="http://schemas.microsoft.com/office/drawing/2014/main" id="{8259C012-A96D-390D-03CA-8B20B2C31F59}"/>
              </a:ext>
            </a:extLst>
          </p:cNvPr>
          <p:cNvSpPr>
            <a:spLocks noGrp="1"/>
          </p:cNvSpPr>
          <p:nvPr>
            <p:ph type="body" sz="quarter" idx="23" hasCustomPrompt="1"/>
          </p:nvPr>
        </p:nvSpPr>
        <p:spPr>
          <a:xfrm>
            <a:off x="820836" y="4381555"/>
            <a:ext cx="2827335" cy="1664208"/>
          </a:xfrm>
        </p:spPr>
        <p:txBody>
          <a:bodyPr vert="horz" lIns="0" tIns="0" rIns="0" bIns="0" rtlCol="0">
            <a:noAutofit/>
          </a:bodyPr>
          <a:lstStyle>
            <a:lvl1pPr marL="0" indent="0">
              <a:buNone/>
              <a:defRPr lang="en-US" b="0" dirty="0">
                <a:solidFill>
                  <a:schemeClr val="tx1"/>
                </a:solidFill>
                <a:latin typeface="+mj-lt"/>
              </a:defRPr>
            </a:lvl1pPr>
            <a:lvl2pPr>
              <a:defRPr lang="en-US" dirty="0">
                <a:solidFill>
                  <a:schemeClr val="tx1"/>
                </a:solidFill>
              </a:defRPr>
            </a:lvl2pPr>
            <a:lvl3pPr>
              <a:defRPr lang="en-US" dirty="0">
                <a:solidFill>
                  <a:schemeClr val="tx1"/>
                </a:solidFill>
              </a:defRPr>
            </a:lvl3pPr>
          </a:lstStyle>
          <a:p>
            <a:pPr marL="228600" lvl="0" indent="-228600" algn="l" defTabSz="914400" rtl="0" eaLnBrk="1" latinLnBrk="0" hangingPunct="1">
              <a:lnSpc>
                <a:spcPct val="100000"/>
              </a:lnSpc>
              <a:spcBef>
                <a:spcPts val="0"/>
              </a:spcBef>
              <a:spcAft>
                <a:spcPts val="600"/>
              </a:spcAft>
            </a:pPr>
            <a:r>
              <a:rPr lang="en-US" dirty="0"/>
              <a:t>Details of statistic</a:t>
            </a:r>
          </a:p>
          <a:p>
            <a:pPr marL="285750" lvl="2" indent="-285750">
              <a:spcAft>
                <a:spcPts val="600"/>
              </a:spcAft>
            </a:pPr>
            <a:endParaRPr lang="en-US" dirty="0"/>
          </a:p>
        </p:txBody>
      </p:sp>
      <p:sp>
        <p:nvSpPr>
          <p:cNvPr id="15" name="Text Placeholder 32">
            <a:extLst>
              <a:ext uri="{FF2B5EF4-FFF2-40B4-BE49-F238E27FC236}">
                <a16:creationId xmlns:a16="http://schemas.microsoft.com/office/drawing/2014/main" id="{AB2160CC-BFB7-EFBC-7551-5D2FD2FABC06}"/>
              </a:ext>
            </a:extLst>
          </p:cNvPr>
          <p:cNvSpPr>
            <a:spLocks noGrp="1"/>
          </p:cNvSpPr>
          <p:nvPr>
            <p:ph type="body" sz="quarter" idx="24" hasCustomPrompt="1"/>
          </p:nvPr>
        </p:nvSpPr>
        <p:spPr>
          <a:xfrm>
            <a:off x="4186207" y="4381555"/>
            <a:ext cx="2827335" cy="1664208"/>
          </a:xfrm>
        </p:spPr>
        <p:txBody>
          <a:bodyPr vert="horz" lIns="0" tIns="0" rIns="0" bIns="0" rtlCol="0">
            <a:noAutofit/>
          </a:bodyPr>
          <a:lstStyle>
            <a:lvl1pPr marL="0" indent="0">
              <a:buNone/>
              <a:defRPr lang="en-US" b="0" dirty="0">
                <a:solidFill>
                  <a:schemeClr val="tx1"/>
                </a:solidFill>
                <a:latin typeface="+mj-lt"/>
              </a:defRPr>
            </a:lvl1pPr>
            <a:lvl2pPr>
              <a:defRPr lang="en-US" dirty="0">
                <a:solidFill>
                  <a:schemeClr val="tx1"/>
                </a:solidFill>
              </a:defRPr>
            </a:lvl2pPr>
            <a:lvl3pPr>
              <a:defRPr lang="en-US" dirty="0">
                <a:solidFill>
                  <a:schemeClr val="tx1"/>
                </a:solidFill>
              </a:defRPr>
            </a:lvl3pPr>
          </a:lstStyle>
          <a:p>
            <a:pPr marL="228600" lvl="0" indent="-228600" algn="l" defTabSz="914400" rtl="0" eaLnBrk="1" latinLnBrk="0" hangingPunct="1">
              <a:lnSpc>
                <a:spcPct val="100000"/>
              </a:lnSpc>
              <a:spcBef>
                <a:spcPts val="0"/>
              </a:spcBef>
              <a:spcAft>
                <a:spcPts val="600"/>
              </a:spcAft>
            </a:pPr>
            <a:r>
              <a:rPr lang="en-US" dirty="0"/>
              <a:t>Details of statistic</a:t>
            </a:r>
          </a:p>
        </p:txBody>
      </p:sp>
      <p:sp>
        <p:nvSpPr>
          <p:cNvPr id="3" name="Footer Placeholder 2">
            <a:extLst>
              <a:ext uri="{FF2B5EF4-FFF2-40B4-BE49-F238E27FC236}">
                <a16:creationId xmlns:a16="http://schemas.microsoft.com/office/drawing/2014/main" id="{CE61B2DF-49DB-B425-4B4D-92F04E23BCB4}"/>
              </a:ext>
            </a:extLst>
          </p:cNvPr>
          <p:cNvSpPr>
            <a:spLocks noGrp="1"/>
          </p:cNvSpPr>
          <p:nvPr>
            <p:ph type="ftr" sz="quarter" idx="25"/>
          </p:nvPr>
        </p:nvSpPr>
        <p:spPr/>
        <p:txBody>
          <a:bodyPr/>
          <a:lstStyle/>
          <a:p>
            <a:endParaRPr lang="en-GB"/>
          </a:p>
        </p:txBody>
      </p:sp>
    </p:spTree>
    <p:extLst>
      <p:ext uri="{BB962C8B-B14F-4D97-AF65-F5344CB8AC3E}">
        <p14:creationId xmlns:p14="http://schemas.microsoft.com/office/powerpoint/2010/main" val="2143276011"/>
      </p:ext>
    </p:extLst>
  </p:cSld>
  <p:clrMapOvr>
    <a:masterClrMapping/>
  </p:clrMapOvr>
  <p:extLst>
    <p:ext uri="{DCECCB84-F9BA-43D5-87BE-67443E8EF086}">
      <p15:sldGuideLst xmlns:p15="http://schemas.microsoft.com/office/powerpoint/2012/main">
        <p15:guide id="1" pos="486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391513E-07C1-E2E4-2F43-7476F510FB4C}"/>
              </a:ext>
            </a:extLst>
          </p:cNvPr>
          <p:cNvSpPr>
            <a:spLocks/>
          </p:cNvSpPr>
          <p:nvPr userDrawn="1"/>
        </p:nvSpPr>
        <p:spPr>
          <a:xfrm>
            <a:off x="0" y="0"/>
            <a:ext cx="12192000" cy="6858000"/>
          </a:xfrm>
          <a:prstGeom prst="rect">
            <a:avLst/>
          </a:prstGeom>
          <a:solidFill>
            <a:schemeClr val="bg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16" name="Rectangle 15">
            <a:extLst>
              <a:ext uri="{FF2B5EF4-FFF2-40B4-BE49-F238E27FC236}">
                <a16:creationId xmlns:a16="http://schemas.microsoft.com/office/drawing/2014/main" id="{139DDF34-9EA2-1124-B361-3F79775137CF}"/>
              </a:ext>
            </a:extLst>
          </p:cNvPr>
          <p:cNvSpPr>
            <a:spLocks/>
          </p:cNvSpPr>
          <p:nvPr userDrawn="1"/>
        </p:nvSpPr>
        <p:spPr>
          <a:xfrm>
            <a:off x="442911" y="3202702"/>
            <a:ext cx="11306178" cy="1074140"/>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The following layouts are for statement slides.</a:t>
            </a: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Do not use this slide)</a:t>
            </a:r>
            <a:endParaRPr kumimoji="0" lang="en-US" sz="11500" b="0" i="0" u="none" strike="noStrike" kern="1200" cap="none" spc="-30" normalizeH="0" baseline="0" noProof="0" dirty="0">
              <a:ln>
                <a:noFill/>
              </a:ln>
              <a:solidFill>
                <a:srgbClr val="00264E"/>
              </a:solidFill>
              <a:effectLst/>
              <a:uLnTx/>
              <a:uFillTx/>
              <a:latin typeface="Work Sans Medium" pitchFamily="2" charset="0"/>
              <a:ea typeface="+mn-ea"/>
              <a:cs typeface="+mn-cs"/>
            </a:endParaRPr>
          </a:p>
        </p:txBody>
      </p:sp>
      <p:sp>
        <p:nvSpPr>
          <p:cNvPr id="17" name="Rectangle 16">
            <a:extLst>
              <a:ext uri="{FF2B5EF4-FFF2-40B4-BE49-F238E27FC236}">
                <a16:creationId xmlns:a16="http://schemas.microsoft.com/office/drawing/2014/main" id="{AF9B9B8A-62B6-88A4-4709-99FA9B753619}"/>
              </a:ext>
            </a:extLst>
          </p:cNvPr>
          <p:cNvSpPr>
            <a:spLocks/>
          </p:cNvSpPr>
          <p:nvPr userDrawn="1"/>
        </p:nvSpPr>
        <p:spPr>
          <a:xfrm>
            <a:off x="2270280" y="2202881"/>
            <a:ext cx="7651454" cy="914096"/>
          </a:xfrm>
          <a:prstGeom prst="rect">
            <a:avLst/>
          </a:prstGeom>
          <a:noFill/>
          <a:ln w="9525" cap="flat">
            <a:noFill/>
            <a:prstDash val="solid"/>
            <a:miter/>
          </a:ln>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6600" b="0" i="0" u="none" strike="noStrike" kern="1200" cap="none" spc="-30" normalizeH="0" baseline="0" noProof="0" dirty="0">
                <a:ln>
                  <a:noFill/>
                </a:ln>
                <a:solidFill>
                  <a:srgbClr val="00264E"/>
                </a:solidFill>
                <a:effectLst/>
                <a:uLnTx/>
                <a:uFillTx/>
                <a:latin typeface="Work Sans Medium" pitchFamily="2" charset="0"/>
                <a:ea typeface="+mn-ea"/>
                <a:cs typeface="+mn-cs"/>
              </a:rPr>
              <a:t>Statement layouts</a:t>
            </a:r>
          </a:p>
        </p:txBody>
      </p:sp>
    </p:spTree>
    <p:extLst>
      <p:ext uri="{BB962C8B-B14F-4D97-AF65-F5344CB8AC3E}">
        <p14:creationId xmlns:p14="http://schemas.microsoft.com/office/powerpoint/2010/main" val="41334695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tatement/quote_Black Olive Navy">
    <p:bg>
      <p:bgPr>
        <a:solidFill>
          <a:srgbClr val="00264E"/>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0CB4B7DD-28BF-400A-9C18-DD61B9CDAD76}"/>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endParaRPr lang="en-US" dirty="0"/>
          </a:p>
        </p:txBody>
      </p:sp>
      <p:sp>
        <p:nvSpPr>
          <p:cNvPr id="11" name="Title 1">
            <a:extLst>
              <a:ext uri="{FF2B5EF4-FFF2-40B4-BE49-F238E27FC236}">
                <a16:creationId xmlns:a16="http://schemas.microsoft.com/office/drawing/2014/main" id="{64F78264-5633-44C8-8401-B155BECB19CB}"/>
              </a:ext>
            </a:extLst>
          </p:cNvPr>
          <p:cNvSpPr>
            <a:spLocks noGrp="1"/>
          </p:cNvSpPr>
          <p:nvPr>
            <p:ph type="title" hasCustomPrompt="1"/>
          </p:nvPr>
        </p:nvSpPr>
        <p:spPr>
          <a:xfrm>
            <a:off x="442914" y="216693"/>
            <a:ext cx="3600449" cy="5912645"/>
          </a:xfrm>
        </p:spPr>
        <p:txBody>
          <a:bodyPr anchor="ctr">
            <a:noAutofit/>
          </a:bodyPr>
          <a:lstStyle>
            <a:lvl1pPr algn="l">
              <a:lnSpc>
                <a:spcPct val="90000"/>
              </a:lnSpc>
              <a:spcBef>
                <a:spcPts val="600"/>
              </a:spcBef>
              <a:spcAft>
                <a:spcPts val="0"/>
              </a:spcAft>
              <a:defRPr sz="4000" spc="0" baseline="0">
                <a:solidFill>
                  <a:schemeClr val="bg1"/>
                </a:solidFill>
                <a:latin typeface="Playfair Display" pitchFamily="2" charset="0"/>
              </a:defRPr>
            </a:lvl1pPr>
          </a:lstStyle>
          <a:p>
            <a:r>
              <a:rPr lang="en-US" noProof="0" dirty="0"/>
              <a:t>Click to add statement </a:t>
            </a:r>
            <a:br>
              <a:rPr lang="en-US" noProof="0" dirty="0"/>
            </a:br>
            <a:r>
              <a:rPr lang="en-US" noProof="0" dirty="0"/>
              <a:t>or quote</a:t>
            </a:r>
          </a:p>
        </p:txBody>
      </p:sp>
      <p:sp>
        <p:nvSpPr>
          <p:cNvPr id="9" name="Graphic 21">
            <a:extLst>
              <a:ext uri="{FF2B5EF4-FFF2-40B4-BE49-F238E27FC236}">
                <a16:creationId xmlns:a16="http://schemas.microsoft.com/office/drawing/2014/main" id="{05EB7591-792F-497E-BC19-17F9D3F0DD27}"/>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chemeClr val="bg1"/>
          </a:solidFill>
          <a:ln w="9525" cap="flat">
            <a:noFill/>
            <a:prstDash val="solid"/>
            <a:miter/>
          </a:ln>
        </p:spPr>
        <p:txBody>
          <a:bodyPr rtlCol="0" anchor="ctr"/>
          <a:lstStyle/>
          <a:p>
            <a:endParaRPr lang="en-US" dirty="0"/>
          </a:p>
        </p:txBody>
      </p:sp>
      <p:sp>
        <p:nvSpPr>
          <p:cNvPr id="2" name="Date Placeholder 19">
            <a:extLst>
              <a:ext uri="{FF2B5EF4-FFF2-40B4-BE49-F238E27FC236}">
                <a16:creationId xmlns:a16="http://schemas.microsoft.com/office/drawing/2014/main" id="{614D7794-1644-53D6-8E19-F07490F15086}"/>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chemeClr val="bg1"/>
                </a:solidFill>
              </a:defRPr>
            </a:lvl1pPr>
          </a:lstStyle>
          <a:p>
            <a:fld id="{684B2894-3B84-4879-8F4C-FB2CBD9FC7AC}" type="datetimeFigureOut">
              <a:rPr lang="en-GB" smtClean="0"/>
              <a:pPr/>
              <a:t>18/06/2025</a:t>
            </a:fld>
            <a:endParaRPr lang="en-GB" dirty="0"/>
          </a:p>
        </p:txBody>
      </p:sp>
      <p:sp>
        <p:nvSpPr>
          <p:cNvPr id="3" name="Slide Number Placeholder 20">
            <a:extLst>
              <a:ext uri="{FF2B5EF4-FFF2-40B4-BE49-F238E27FC236}">
                <a16:creationId xmlns:a16="http://schemas.microsoft.com/office/drawing/2014/main" id="{643D3CFA-8D33-69F0-42B1-CDCA552D922B}"/>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chemeClr val="bg1"/>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255E27B2-84C4-728B-6F31-1B3DF572B1C5}"/>
              </a:ext>
            </a:extLst>
          </p:cNvPr>
          <p:cNvSpPr>
            <a:spLocks noGrp="1"/>
          </p:cNvSpPr>
          <p:nvPr>
            <p:ph type="ftr" sz="quarter" idx="15"/>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3002720830"/>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tatement/quote_Soya Bean Green">
    <p:bg>
      <p:bgPr>
        <a:solidFill>
          <a:srgbClr val="D2DEC3"/>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6DEBDD9-6430-4726-AAA3-A0FD5FEB0D8F}"/>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rgbClr val="00264E"/>
                </a:solidFill>
              </a:defRPr>
            </a:lvl1pPr>
          </a:lstStyle>
          <a:p>
            <a:r>
              <a:rPr lang="en-US"/>
              <a:t>Click icon to add picture</a:t>
            </a:r>
            <a:endParaRPr lang="en-US" dirty="0"/>
          </a:p>
        </p:txBody>
      </p:sp>
      <p:sp>
        <p:nvSpPr>
          <p:cNvPr id="3" name="Text Placeholder 2">
            <a:extLst>
              <a:ext uri="{FF2B5EF4-FFF2-40B4-BE49-F238E27FC236}">
                <a16:creationId xmlns:a16="http://schemas.microsoft.com/office/drawing/2014/main" id="{F893938E-CCEF-4D8A-8200-2C2804486334}"/>
              </a:ext>
            </a:extLst>
          </p:cNvPr>
          <p:cNvSpPr>
            <a:spLocks noGrp="1"/>
          </p:cNvSpPr>
          <p:nvPr>
            <p:ph type="body" sz="quarter" idx="15" hasCustomPrompt="1"/>
          </p:nvPr>
        </p:nvSpPr>
        <p:spPr>
          <a:xfrm>
            <a:off x="442914" y="216693"/>
            <a:ext cx="3608383" cy="5912645"/>
          </a:xfrm>
        </p:spPr>
        <p:txBody>
          <a:bodyPr anchor="ctr"/>
          <a:lstStyle>
            <a:lvl1pPr marL="0" indent="0">
              <a:buNone/>
              <a:defRPr sz="4000" spc="0" baseline="0">
                <a:solidFill>
                  <a:srgbClr val="00264E"/>
                </a:solidFill>
                <a:latin typeface="Playfair Display"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add statement </a:t>
            </a:r>
            <a:br>
              <a:rPr lang="en-US" noProof="0" dirty="0"/>
            </a:br>
            <a:r>
              <a:rPr lang="en-US" noProof="0" dirty="0"/>
              <a:t>or quote</a:t>
            </a:r>
            <a:endParaRPr lang="en-US" dirty="0"/>
          </a:p>
        </p:txBody>
      </p:sp>
      <p:sp>
        <p:nvSpPr>
          <p:cNvPr id="2" name="Date Placeholder 19">
            <a:extLst>
              <a:ext uri="{FF2B5EF4-FFF2-40B4-BE49-F238E27FC236}">
                <a16:creationId xmlns:a16="http://schemas.microsoft.com/office/drawing/2014/main" id="{70463F20-94C2-288D-9F24-5B228F37E754}"/>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1C88D85F-284D-8C0D-6B9B-DF7321C4C0AF}"/>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 name="Graphic 21">
            <a:extLst>
              <a:ext uri="{FF2B5EF4-FFF2-40B4-BE49-F238E27FC236}">
                <a16:creationId xmlns:a16="http://schemas.microsoft.com/office/drawing/2014/main" id="{FD10B903-D955-89F6-ADDD-603A7B72FDCD}"/>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endParaRPr lang="en-US" dirty="0">
              <a:solidFill>
                <a:srgbClr val="00264E"/>
              </a:solidFill>
            </a:endParaRPr>
          </a:p>
        </p:txBody>
      </p:sp>
      <p:sp>
        <p:nvSpPr>
          <p:cNvPr id="6" name="Footer Placeholder 5">
            <a:extLst>
              <a:ext uri="{FF2B5EF4-FFF2-40B4-BE49-F238E27FC236}">
                <a16:creationId xmlns:a16="http://schemas.microsoft.com/office/drawing/2014/main" id="{9766A571-0FE2-69BE-892A-E14A5B0B8F01}"/>
              </a:ext>
            </a:extLst>
          </p:cNvPr>
          <p:cNvSpPr>
            <a:spLocks noGrp="1"/>
          </p:cNvSpPr>
          <p:nvPr>
            <p:ph type="ftr" sz="quarter" idx="16"/>
          </p:nvPr>
        </p:nvSpPr>
        <p:spPr/>
        <p:txBody>
          <a:bodyPr/>
          <a:lstStyle/>
          <a:p>
            <a:endParaRPr lang="en-GB"/>
          </a:p>
        </p:txBody>
      </p:sp>
    </p:spTree>
    <p:extLst>
      <p:ext uri="{BB962C8B-B14F-4D97-AF65-F5344CB8AC3E}">
        <p14:creationId xmlns:p14="http://schemas.microsoft.com/office/powerpoint/2010/main" val="343714343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Statement/quote_Shea Brown">
    <p:bg>
      <p:bgPr>
        <a:solidFill>
          <a:srgbClr val="E2CFC6"/>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6DEBDD9-6430-4726-AAA3-A0FD5FEB0D8F}"/>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rgbClr val="00264E"/>
                </a:solidFill>
              </a:defRPr>
            </a:lvl1pPr>
          </a:lstStyle>
          <a:p>
            <a:r>
              <a:rPr lang="en-US"/>
              <a:t>Click icon to add picture</a:t>
            </a:r>
            <a:endParaRPr lang="en-US" dirty="0"/>
          </a:p>
        </p:txBody>
      </p:sp>
      <p:sp>
        <p:nvSpPr>
          <p:cNvPr id="3" name="Text Placeholder 2">
            <a:extLst>
              <a:ext uri="{FF2B5EF4-FFF2-40B4-BE49-F238E27FC236}">
                <a16:creationId xmlns:a16="http://schemas.microsoft.com/office/drawing/2014/main" id="{F893938E-CCEF-4D8A-8200-2C2804486334}"/>
              </a:ext>
            </a:extLst>
          </p:cNvPr>
          <p:cNvSpPr>
            <a:spLocks noGrp="1"/>
          </p:cNvSpPr>
          <p:nvPr>
            <p:ph type="body" sz="quarter" idx="15" hasCustomPrompt="1"/>
          </p:nvPr>
        </p:nvSpPr>
        <p:spPr>
          <a:xfrm>
            <a:off x="442914" y="216693"/>
            <a:ext cx="3608383" cy="5912645"/>
          </a:xfrm>
        </p:spPr>
        <p:txBody>
          <a:bodyPr anchor="ctr"/>
          <a:lstStyle>
            <a:lvl1pPr marL="0" indent="0">
              <a:buNone/>
              <a:defRPr sz="4000" spc="0" baseline="0">
                <a:solidFill>
                  <a:srgbClr val="00264E"/>
                </a:solidFill>
                <a:latin typeface="Playfair Display"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add statement </a:t>
            </a:r>
            <a:br>
              <a:rPr lang="en-US" noProof="0" dirty="0"/>
            </a:br>
            <a:r>
              <a:rPr lang="en-US" noProof="0" dirty="0"/>
              <a:t>or quote</a:t>
            </a:r>
            <a:endParaRPr lang="en-US" dirty="0"/>
          </a:p>
        </p:txBody>
      </p:sp>
      <p:sp>
        <p:nvSpPr>
          <p:cNvPr id="2" name="Date Placeholder 19">
            <a:extLst>
              <a:ext uri="{FF2B5EF4-FFF2-40B4-BE49-F238E27FC236}">
                <a16:creationId xmlns:a16="http://schemas.microsoft.com/office/drawing/2014/main" id="{70463F20-94C2-288D-9F24-5B228F37E754}"/>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1C88D85F-284D-8C0D-6B9B-DF7321C4C0AF}"/>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 name="Graphic 21">
            <a:extLst>
              <a:ext uri="{FF2B5EF4-FFF2-40B4-BE49-F238E27FC236}">
                <a16:creationId xmlns:a16="http://schemas.microsoft.com/office/drawing/2014/main" id="{FD10B903-D955-89F6-ADDD-603A7B72FDCD}"/>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endParaRPr lang="en-US" dirty="0">
              <a:solidFill>
                <a:srgbClr val="00264E"/>
              </a:solidFill>
            </a:endParaRPr>
          </a:p>
        </p:txBody>
      </p:sp>
      <p:sp>
        <p:nvSpPr>
          <p:cNvPr id="6" name="Footer Placeholder 5">
            <a:extLst>
              <a:ext uri="{FF2B5EF4-FFF2-40B4-BE49-F238E27FC236}">
                <a16:creationId xmlns:a16="http://schemas.microsoft.com/office/drawing/2014/main" id="{15FAC02B-1F3A-AF33-67B4-7C17B7EA8472}"/>
              </a:ext>
            </a:extLst>
          </p:cNvPr>
          <p:cNvSpPr>
            <a:spLocks noGrp="1"/>
          </p:cNvSpPr>
          <p:nvPr>
            <p:ph type="ftr" sz="quarter" idx="16"/>
          </p:nvPr>
        </p:nvSpPr>
        <p:spPr/>
        <p:txBody>
          <a:bodyPr/>
          <a:lstStyle/>
          <a:p>
            <a:endParaRPr lang="en-GB"/>
          </a:p>
        </p:txBody>
      </p:sp>
    </p:spTree>
    <p:extLst>
      <p:ext uri="{BB962C8B-B14F-4D97-AF65-F5344CB8AC3E}">
        <p14:creationId xmlns:p14="http://schemas.microsoft.com/office/powerpoint/2010/main" val="1131705357"/>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ig text_Black Olive Navy">
    <p:bg>
      <p:bgPr>
        <a:solidFill>
          <a:srgbClr val="00264E"/>
        </a:solidFill>
        <a:effectLst/>
      </p:bgPr>
    </p:bg>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A56291E5-FDDD-4D3C-86D8-4EE673554ECA}"/>
              </a:ext>
            </a:extLst>
          </p:cNvPr>
          <p:cNvSpPr>
            <a:spLocks noGrp="1"/>
          </p:cNvSpPr>
          <p:nvPr>
            <p:ph type="pic" sz="quarter" idx="15"/>
          </p:nvPr>
        </p:nvSpPr>
        <p:spPr>
          <a:xfrm>
            <a:off x="8126413" y="0"/>
            <a:ext cx="4065587" cy="6858000"/>
          </a:xfrm>
          <a:custGeom>
            <a:avLst/>
            <a:gdLst>
              <a:gd name="connsiteX0" fmla="*/ 920567 w 4065587"/>
              <a:gd name="connsiteY0" fmla="*/ 0 h 6858000"/>
              <a:gd name="connsiteX1" fmla="*/ 4043657 w 4065587"/>
              <a:gd name="connsiteY1" fmla="*/ 0 h 6858000"/>
              <a:gd name="connsiteX2" fmla="*/ 4065587 w 4065587"/>
              <a:gd name="connsiteY2" fmla="*/ 0 h 6858000"/>
              <a:gd name="connsiteX3" fmla="*/ 4065587 w 4065587"/>
              <a:gd name="connsiteY3" fmla="*/ 6858000 h 6858000"/>
              <a:gd name="connsiteX4" fmla="*/ 391433 w 4065587"/>
              <a:gd name="connsiteY4" fmla="*/ 6858000 h 6858000"/>
              <a:gd name="connsiteX5" fmla="*/ 353297 w 4065587"/>
              <a:gd name="connsiteY5" fmla="*/ 3448050 h 6858000"/>
              <a:gd name="connsiteX6" fmla="*/ 920567 w 406558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5587" h="6858000">
                <a:moveTo>
                  <a:pt x="920567" y="0"/>
                </a:moveTo>
                <a:cubicBezTo>
                  <a:pt x="2582752" y="0"/>
                  <a:pt x="3517731" y="0"/>
                  <a:pt x="4043657" y="0"/>
                </a:cubicBezTo>
                <a:lnTo>
                  <a:pt x="4065587" y="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endParaRPr lang="en-US" dirty="0"/>
          </a:p>
        </p:txBody>
      </p:sp>
      <p:sp>
        <p:nvSpPr>
          <p:cNvPr id="2" name="Title 1"/>
          <p:cNvSpPr>
            <a:spLocks noGrp="1"/>
          </p:cNvSpPr>
          <p:nvPr>
            <p:ph type="title" hasCustomPrompt="1"/>
          </p:nvPr>
        </p:nvSpPr>
        <p:spPr>
          <a:xfrm>
            <a:off x="442913" y="1708584"/>
            <a:ext cx="7273925" cy="1107996"/>
          </a:xfrm>
        </p:spPr>
        <p:txBody>
          <a:bodyPr>
            <a:noAutofit/>
          </a:bodyPr>
          <a:lstStyle>
            <a:lvl1pPr>
              <a:spcBef>
                <a:spcPts val="600"/>
              </a:spcBef>
              <a:defRPr sz="4000" spc="-30" baseline="0">
                <a:solidFill>
                  <a:schemeClr val="bg1"/>
                </a:solidFill>
              </a:defRPr>
            </a:lvl1pPr>
          </a:lstStyle>
          <a:p>
            <a:r>
              <a:rPr lang="en-US" noProof="0" dirty="0"/>
              <a:t>Click to add text</a:t>
            </a:r>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2929412"/>
            <a:ext cx="7273925" cy="1491342"/>
          </a:xfrm>
        </p:spPr>
        <p:txBody>
          <a:bodyPr/>
          <a:lstStyle>
            <a:lvl1pPr marL="0" indent="0">
              <a:spcBef>
                <a:spcPts val="600"/>
              </a:spcBef>
              <a:buNone/>
              <a:defRPr spc="-3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0" name="Graphic 21">
            <a:extLst>
              <a:ext uri="{FF2B5EF4-FFF2-40B4-BE49-F238E27FC236}">
                <a16:creationId xmlns:a16="http://schemas.microsoft.com/office/drawing/2014/main" id="{B9EF64C5-F750-44CE-A6AA-580045B2F891}"/>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chemeClr val="bg1"/>
          </a:solidFill>
          <a:ln w="9525" cap="flat">
            <a:noFill/>
            <a:prstDash val="solid"/>
            <a:miter/>
          </a:ln>
        </p:spPr>
        <p:txBody>
          <a:bodyPr rtlCol="0" anchor="ctr"/>
          <a:lstStyle/>
          <a:p>
            <a:endParaRPr lang="en-US" dirty="0"/>
          </a:p>
        </p:txBody>
      </p:sp>
      <p:sp>
        <p:nvSpPr>
          <p:cNvPr id="3" name="Date Placeholder 19">
            <a:extLst>
              <a:ext uri="{FF2B5EF4-FFF2-40B4-BE49-F238E27FC236}">
                <a16:creationId xmlns:a16="http://schemas.microsoft.com/office/drawing/2014/main" id="{46DFDBF4-9F88-67E9-B470-DCF7DCCB385B}"/>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chemeClr val="bg1"/>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7E3537C5-F6DE-81B3-6753-DF9642C7DBA5}"/>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chemeClr val="bg1"/>
                </a:solidFill>
              </a:defRPr>
            </a:lvl1pPr>
          </a:lstStyle>
          <a:p>
            <a:pPr algn="r"/>
            <a:fld id="{EDF3706E-DB9C-4B59-A485-1194C2A6AD28}" type="slidenum">
              <a:rPr lang="en-GB" smtClean="0"/>
              <a:pPr algn="r"/>
              <a:t>‹#›</a:t>
            </a:fld>
            <a:endParaRPr lang="en-GB"/>
          </a:p>
        </p:txBody>
      </p:sp>
      <p:sp>
        <p:nvSpPr>
          <p:cNvPr id="5" name="Footer Placeholder 4">
            <a:extLst>
              <a:ext uri="{FF2B5EF4-FFF2-40B4-BE49-F238E27FC236}">
                <a16:creationId xmlns:a16="http://schemas.microsoft.com/office/drawing/2014/main" id="{1F8D064B-8DFB-45C2-A55D-56A5DE9D621E}"/>
              </a:ext>
            </a:extLst>
          </p:cNvPr>
          <p:cNvSpPr>
            <a:spLocks noGrp="1"/>
          </p:cNvSpPr>
          <p:nvPr>
            <p:ph type="ftr" sz="quarter" idx="16"/>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967313541"/>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ig text_Soy Bean Green">
    <p:bg>
      <p:bgPr>
        <a:solidFill>
          <a:srgbClr val="D2DEC3"/>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E5E0D005-F3D4-4C44-B2CA-F534855CE35A}"/>
              </a:ext>
            </a:extLst>
          </p:cNvPr>
          <p:cNvSpPr>
            <a:spLocks noGrp="1"/>
          </p:cNvSpPr>
          <p:nvPr>
            <p:ph type="pic" sz="quarter" idx="15"/>
          </p:nvPr>
        </p:nvSpPr>
        <p:spPr>
          <a:xfrm>
            <a:off x="8126413" y="0"/>
            <a:ext cx="4065587" cy="6858000"/>
          </a:xfrm>
          <a:custGeom>
            <a:avLst/>
            <a:gdLst>
              <a:gd name="connsiteX0" fmla="*/ 920567 w 4065587"/>
              <a:gd name="connsiteY0" fmla="*/ 0 h 6858000"/>
              <a:gd name="connsiteX1" fmla="*/ 4043657 w 4065587"/>
              <a:gd name="connsiteY1" fmla="*/ 0 h 6858000"/>
              <a:gd name="connsiteX2" fmla="*/ 4065587 w 4065587"/>
              <a:gd name="connsiteY2" fmla="*/ 0 h 6858000"/>
              <a:gd name="connsiteX3" fmla="*/ 4065587 w 4065587"/>
              <a:gd name="connsiteY3" fmla="*/ 6858000 h 6858000"/>
              <a:gd name="connsiteX4" fmla="*/ 391433 w 4065587"/>
              <a:gd name="connsiteY4" fmla="*/ 6858000 h 6858000"/>
              <a:gd name="connsiteX5" fmla="*/ 353297 w 4065587"/>
              <a:gd name="connsiteY5" fmla="*/ 3448050 h 6858000"/>
              <a:gd name="connsiteX6" fmla="*/ 920567 w 406558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5587" h="6858000">
                <a:moveTo>
                  <a:pt x="920567" y="0"/>
                </a:moveTo>
                <a:cubicBezTo>
                  <a:pt x="2582752" y="0"/>
                  <a:pt x="3517731" y="0"/>
                  <a:pt x="4043657" y="0"/>
                </a:cubicBezTo>
                <a:lnTo>
                  <a:pt x="4065587" y="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rgbClr val="00264E"/>
                </a:solidFill>
              </a:defRPr>
            </a:lvl1pPr>
          </a:lstStyle>
          <a:p>
            <a:r>
              <a:rPr lang="en-US"/>
              <a:t>Click icon to add picture</a:t>
            </a:r>
            <a:endParaRPr lang="en-US" dirty="0"/>
          </a:p>
        </p:txBody>
      </p:sp>
      <p:sp>
        <p:nvSpPr>
          <p:cNvPr id="2" name="Title 1"/>
          <p:cNvSpPr>
            <a:spLocks noGrp="1"/>
          </p:cNvSpPr>
          <p:nvPr>
            <p:ph type="title" hasCustomPrompt="1"/>
          </p:nvPr>
        </p:nvSpPr>
        <p:spPr>
          <a:xfrm>
            <a:off x="442913" y="1708584"/>
            <a:ext cx="7273925" cy="1107996"/>
          </a:xfrm>
        </p:spPr>
        <p:txBody>
          <a:bodyPr>
            <a:noAutofit/>
          </a:bodyPr>
          <a:lstStyle>
            <a:lvl1pPr>
              <a:spcBef>
                <a:spcPts val="600"/>
              </a:spcBef>
              <a:defRPr sz="4000" spc="-30" baseline="0">
                <a:solidFill>
                  <a:srgbClr val="00264E"/>
                </a:solidFill>
              </a:defRPr>
            </a:lvl1pPr>
          </a:lstStyle>
          <a:p>
            <a:r>
              <a:rPr lang="en-US" noProof="0" dirty="0"/>
              <a:t>Click to add text</a:t>
            </a:r>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2929412"/>
            <a:ext cx="7273925" cy="1491342"/>
          </a:xfrm>
        </p:spPr>
        <p:txBody>
          <a:bodyPr/>
          <a:lstStyle>
            <a:lvl1pPr marL="0" indent="0">
              <a:lnSpc>
                <a:spcPct val="90000"/>
              </a:lnSpc>
              <a:spcBef>
                <a:spcPts val="600"/>
              </a:spcBef>
              <a:buNone/>
              <a:defRPr spc="-30" baseline="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 name="Date Placeholder 19">
            <a:extLst>
              <a:ext uri="{FF2B5EF4-FFF2-40B4-BE49-F238E27FC236}">
                <a16:creationId xmlns:a16="http://schemas.microsoft.com/office/drawing/2014/main" id="{6A7810FF-621B-4228-5AFF-DC925E3BA264}"/>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13084789-1CA4-E78A-913D-B25F7931B7A4}"/>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 name="Graphic 21">
            <a:extLst>
              <a:ext uri="{FF2B5EF4-FFF2-40B4-BE49-F238E27FC236}">
                <a16:creationId xmlns:a16="http://schemas.microsoft.com/office/drawing/2014/main" id="{97557D8C-45E5-DABF-FD36-D3AF7E090F41}"/>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endParaRPr lang="en-US" dirty="0">
              <a:solidFill>
                <a:srgbClr val="00264E"/>
              </a:solidFill>
            </a:endParaRPr>
          </a:p>
        </p:txBody>
      </p:sp>
      <p:sp>
        <p:nvSpPr>
          <p:cNvPr id="6" name="Footer Placeholder 5">
            <a:extLst>
              <a:ext uri="{FF2B5EF4-FFF2-40B4-BE49-F238E27FC236}">
                <a16:creationId xmlns:a16="http://schemas.microsoft.com/office/drawing/2014/main" id="{7FAF8FAA-A099-495F-2F54-7F6AC98A0B04}"/>
              </a:ext>
            </a:extLst>
          </p:cNvPr>
          <p:cNvSpPr>
            <a:spLocks noGrp="1"/>
          </p:cNvSpPr>
          <p:nvPr>
            <p:ph type="ftr" sz="quarter" idx="16"/>
          </p:nvPr>
        </p:nvSpPr>
        <p:spPr/>
        <p:txBody>
          <a:bodyPr/>
          <a:lstStyle/>
          <a:p>
            <a:endParaRPr lang="en-GB"/>
          </a:p>
        </p:txBody>
      </p:sp>
    </p:spTree>
    <p:extLst>
      <p:ext uri="{BB962C8B-B14F-4D97-AF65-F5344CB8AC3E}">
        <p14:creationId xmlns:p14="http://schemas.microsoft.com/office/powerpoint/2010/main" val="1670537449"/>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ig text_Shea Brown">
    <p:bg>
      <p:bgPr>
        <a:solidFill>
          <a:srgbClr val="E2CFC6"/>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E5E0D005-F3D4-4C44-B2CA-F534855CE35A}"/>
              </a:ext>
            </a:extLst>
          </p:cNvPr>
          <p:cNvSpPr>
            <a:spLocks noGrp="1"/>
          </p:cNvSpPr>
          <p:nvPr>
            <p:ph type="pic" sz="quarter" idx="15"/>
          </p:nvPr>
        </p:nvSpPr>
        <p:spPr>
          <a:xfrm>
            <a:off x="8126413" y="0"/>
            <a:ext cx="4065587" cy="6858000"/>
          </a:xfrm>
          <a:custGeom>
            <a:avLst/>
            <a:gdLst>
              <a:gd name="connsiteX0" fmla="*/ 920567 w 4065587"/>
              <a:gd name="connsiteY0" fmla="*/ 0 h 6858000"/>
              <a:gd name="connsiteX1" fmla="*/ 4043657 w 4065587"/>
              <a:gd name="connsiteY1" fmla="*/ 0 h 6858000"/>
              <a:gd name="connsiteX2" fmla="*/ 4065587 w 4065587"/>
              <a:gd name="connsiteY2" fmla="*/ 0 h 6858000"/>
              <a:gd name="connsiteX3" fmla="*/ 4065587 w 4065587"/>
              <a:gd name="connsiteY3" fmla="*/ 6858000 h 6858000"/>
              <a:gd name="connsiteX4" fmla="*/ 391433 w 4065587"/>
              <a:gd name="connsiteY4" fmla="*/ 6858000 h 6858000"/>
              <a:gd name="connsiteX5" fmla="*/ 353297 w 4065587"/>
              <a:gd name="connsiteY5" fmla="*/ 3448050 h 6858000"/>
              <a:gd name="connsiteX6" fmla="*/ 920567 w 406558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5587" h="6858000">
                <a:moveTo>
                  <a:pt x="920567" y="0"/>
                </a:moveTo>
                <a:cubicBezTo>
                  <a:pt x="2582752" y="0"/>
                  <a:pt x="3517731" y="0"/>
                  <a:pt x="4043657" y="0"/>
                </a:cubicBezTo>
                <a:lnTo>
                  <a:pt x="4065587" y="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rgbClr val="00264E"/>
                </a:solidFill>
              </a:defRPr>
            </a:lvl1pPr>
          </a:lstStyle>
          <a:p>
            <a:r>
              <a:rPr lang="en-US"/>
              <a:t>Click icon to add picture</a:t>
            </a:r>
            <a:endParaRPr lang="en-US" dirty="0"/>
          </a:p>
        </p:txBody>
      </p:sp>
      <p:sp>
        <p:nvSpPr>
          <p:cNvPr id="2" name="Title 1"/>
          <p:cNvSpPr>
            <a:spLocks noGrp="1"/>
          </p:cNvSpPr>
          <p:nvPr>
            <p:ph type="title" hasCustomPrompt="1"/>
          </p:nvPr>
        </p:nvSpPr>
        <p:spPr>
          <a:xfrm>
            <a:off x="442913" y="1708584"/>
            <a:ext cx="7273925" cy="1107996"/>
          </a:xfrm>
        </p:spPr>
        <p:txBody>
          <a:bodyPr>
            <a:noAutofit/>
          </a:bodyPr>
          <a:lstStyle>
            <a:lvl1pPr>
              <a:spcBef>
                <a:spcPts val="600"/>
              </a:spcBef>
              <a:defRPr sz="4000" spc="-30" baseline="0">
                <a:solidFill>
                  <a:srgbClr val="00264E"/>
                </a:solidFill>
              </a:defRPr>
            </a:lvl1pPr>
          </a:lstStyle>
          <a:p>
            <a:r>
              <a:rPr lang="en-US" noProof="0" dirty="0"/>
              <a:t>Click to add text</a:t>
            </a:r>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2929412"/>
            <a:ext cx="7273925" cy="1491342"/>
          </a:xfrm>
        </p:spPr>
        <p:txBody>
          <a:bodyPr/>
          <a:lstStyle>
            <a:lvl1pPr marL="0" indent="0">
              <a:lnSpc>
                <a:spcPct val="90000"/>
              </a:lnSpc>
              <a:spcBef>
                <a:spcPts val="600"/>
              </a:spcBef>
              <a:buNone/>
              <a:defRPr spc="-30" baseline="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 name="Date Placeholder 19">
            <a:extLst>
              <a:ext uri="{FF2B5EF4-FFF2-40B4-BE49-F238E27FC236}">
                <a16:creationId xmlns:a16="http://schemas.microsoft.com/office/drawing/2014/main" id="{6A7810FF-621B-4228-5AFF-DC925E3BA264}"/>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13084789-1CA4-E78A-913D-B25F7931B7A4}"/>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 name="Graphic 21">
            <a:extLst>
              <a:ext uri="{FF2B5EF4-FFF2-40B4-BE49-F238E27FC236}">
                <a16:creationId xmlns:a16="http://schemas.microsoft.com/office/drawing/2014/main" id="{19EADFFA-DBB0-B3E2-C9F4-07CF2561E735}"/>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endParaRPr lang="en-US" dirty="0">
              <a:solidFill>
                <a:srgbClr val="00264E"/>
              </a:solidFill>
            </a:endParaRPr>
          </a:p>
        </p:txBody>
      </p:sp>
      <p:sp>
        <p:nvSpPr>
          <p:cNvPr id="6" name="Footer Placeholder 5">
            <a:extLst>
              <a:ext uri="{FF2B5EF4-FFF2-40B4-BE49-F238E27FC236}">
                <a16:creationId xmlns:a16="http://schemas.microsoft.com/office/drawing/2014/main" id="{62468E73-2296-2360-494A-D20D271C2127}"/>
              </a:ext>
            </a:extLst>
          </p:cNvPr>
          <p:cNvSpPr>
            <a:spLocks noGrp="1"/>
          </p:cNvSpPr>
          <p:nvPr>
            <p:ph type="ftr" sz="quarter" idx="16"/>
          </p:nvPr>
        </p:nvSpPr>
        <p:spPr/>
        <p:txBody>
          <a:bodyPr/>
          <a:lstStyle/>
          <a:p>
            <a:endParaRPr lang="en-GB"/>
          </a:p>
        </p:txBody>
      </p:sp>
    </p:spTree>
    <p:extLst>
      <p:ext uri="{BB962C8B-B14F-4D97-AF65-F5344CB8AC3E}">
        <p14:creationId xmlns:p14="http://schemas.microsoft.com/office/powerpoint/2010/main" val="1190555105"/>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3C1BABE-8407-C2F4-68A8-2C5D50964104}"/>
              </a:ext>
            </a:extLst>
          </p:cNvPr>
          <p:cNvSpPr>
            <a:spLocks/>
          </p:cNvSpPr>
          <p:nvPr userDrawn="1"/>
        </p:nvSpPr>
        <p:spPr>
          <a:xfrm>
            <a:off x="0" y="0"/>
            <a:ext cx="12192000" cy="6858000"/>
          </a:xfrm>
          <a:prstGeom prst="rect">
            <a:avLst/>
          </a:prstGeom>
          <a:solidFill>
            <a:schemeClr val="bg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16" name="Rectangle 15">
            <a:extLst>
              <a:ext uri="{FF2B5EF4-FFF2-40B4-BE49-F238E27FC236}">
                <a16:creationId xmlns:a16="http://schemas.microsoft.com/office/drawing/2014/main" id="{A3362375-3EA6-B3A0-0123-191371802ABF}"/>
              </a:ext>
            </a:extLst>
          </p:cNvPr>
          <p:cNvSpPr>
            <a:spLocks/>
          </p:cNvSpPr>
          <p:nvPr userDrawn="1"/>
        </p:nvSpPr>
        <p:spPr>
          <a:xfrm>
            <a:off x="442911" y="3202702"/>
            <a:ext cx="11306178" cy="1074140"/>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The following layouts are for end slides.</a:t>
            </a: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Do not use this slide)</a:t>
            </a:r>
            <a:endParaRPr kumimoji="0" lang="en-US" sz="11500" b="0" i="0" u="none" strike="noStrike" kern="1200" cap="none" spc="-30" normalizeH="0" baseline="0" noProof="0" dirty="0">
              <a:ln>
                <a:noFill/>
              </a:ln>
              <a:solidFill>
                <a:srgbClr val="00264E"/>
              </a:solidFill>
              <a:effectLst/>
              <a:uLnTx/>
              <a:uFillTx/>
              <a:latin typeface="Work Sans Medium" pitchFamily="2" charset="0"/>
              <a:ea typeface="+mn-ea"/>
              <a:cs typeface="+mn-cs"/>
            </a:endParaRPr>
          </a:p>
        </p:txBody>
      </p:sp>
      <p:sp>
        <p:nvSpPr>
          <p:cNvPr id="17" name="Rectangle 16">
            <a:extLst>
              <a:ext uri="{FF2B5EF4-FFF2-40B4-BE49-F238E27FC236}">
                <a16:creationId xmlns:a16="http://schemas.microsoft.com/office/drawing/2014/main" id="{C38E7042-8B92-289F-5E79-FEE05EBE518F}"/>
              </a:ext>
            </a:extLst>
          </p:cNvPr>
          <p:cNvSpPr>
            <a:spLocks/>
          </p:cNvSpPr>
          <p:nvPr userDrawn="1"/>
        </p:nvSpPr>
        <p:spPr>
          <a:xfrm>
            <a:off x="3666174" y="2202881"/>
            <a:ext cx="4859664" cy="914096"/>
          </a:xfrm>
          <a:prstGeom prst="rect">
            <a:avLst/>
          </a:prstGeom>
          <a:noFill/>
          <a:ln w="9525" cap="flat">
            <a:noFill/>
            <a:prstDash val="solid"/>
            <a:miter/>
          </a:ln>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6600" b="0" i="0" u="none" strike="noStrike" kern="1200" cap="none" spc="-30" normalizeH="0" baseline="0" noProof="0" dirty="0">
                <a:ln>
                  <a:noFill/>
                </a:ln>
                <a:solidFill>
                  <a:srgbClr val="00264E"/>
                </a:solidFill>
                <a:effectLst/>
                <a:uLnTx/>
                <a:uFillTx/>
                <a:latin typeface="Work Sans Medium" pitchFamily="2" charset="0"/>
                <a:ea typeface="+mn-ea"/>
                <a:cs typeface="+mn-cs"/>
              </a:rPr>
              <a:t>End layouts</a:t>
            </a:r>
          </a:p>
        </p:txBody>
      </p:sp>
    </p:spTree>
    <p:extLst>
      <p:ext uri="{BB962C8B-B14F-4D97-AF65-F5344CB8AC3E}">
        <p14:creationId xmlns:p14="http://schemas.microsoft.com/office/powerpoint/2010/main" val="179815702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layout">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E2F12AE-23AE-B4A3-96E4-CE04655F87FC}"/>
              </a:ext>
            </a:extLst>
          </p:cNvPr>
          <p:cNvGraphicFramePr>
            <a:graphicFrameLocks noChangeAspect="1"/>
          </p:cNvGraphicFramePr>
          <p:nvPr userDrawn="1">
            <p:custDataLst>
              <p:tags r:id="rId1"/>
            </p:custDataLst>
            <p:extLst>
              <p:ext uri="{D42A27DB-BD31-4B8C-83A1-F6EECF244321}">
                <p14:modId xmlns:p14="http://schemas.microsoft.com/office/powerpoint/2010/main" val="421668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think-cell data - do not delete" hidden="1">
                        <a:extLst>
                          <a:ext uri="{FF2B5EF4-FFF2-40B4-BE49-F238E27FC236}">
                            <a16:creationId xmlns:a16="http://schemas.microsoft.com/office/drawing/2014/main" id="{EE2F12AE-23AE-B4A3-96E4-CE04655F87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86768166-8533-DF7E-0F24-2CECBFC13282}"/>
              </a:ext>
            </a:extLst>
          </p:cNvPr>
          <p:cNvSpPr txBox="1">
            <a:spLocks/>
          </p:cNvSpPr>
          <p:nvPr userDrawn="1"/>
        </p:nvSpPr>
        <p:spPr>
          <a:xfrm>
            <a:off x="442913" y="3466703"/>
            <a:ext cx="11306175" cy="775597"/>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kern="1200" spc="-30" baseline="0">
                <a:solidFill>
                  <a:schemeClr val="accent1"/>
                </a:solidFill>
                <a:latin typeface="+mj-lt"/>
                <a:ea typeface="+mj-ea"/>
                <a:cs typeface="+mj-cs"/>
              </a:defRPr>
            </a:lvl1pPr>
          </a:lstStyle>
          <a:p>
            <a:pPr algn="ctr">
              <a:lnSpc>
                <a:spcPct val="100000"/>
              </a:lnSpc>
              <a:spcBef>
                <a:spcPts val="1200"/>
              </a:spcBef>
            </a:pPr>
            <a:r>
              <a:rPr lang="en-US" sz="2800" dirty="0">
                <a:solidFill>
                  <a:srgbClr val="00264E"/>
                </a:solidFill>
                <a:latin typeface="+mn-lt"/>
              </a:rPr>
              <a:t>Everything we do is about</a:t>
            </a:r>
            <a:br>
              <a:rPr lang="en-US" dirty="0">
                <a:solidFill>
                  <a:srgbClr val="00264E"/>
                </a:solidFill>
              </a:rPr>
            </a:br>
            <a:r>
              <a:rPr lang="en-US" sz="4400" b="1" i="1" dirty="0">
                <a:solidFill>
                  <a:srgbClr val="00264E"/>
                </a:solidFill>
                <a:latin typeface="Playfair Display Black" pitchFamily="2" charset="77"/>
              </a:rPr>
              <a:t>Making Better Happen</a:t>
            </a:r>
            <a:r>
              <a:rPr lang="en-US" sz="4000" i="1" baseline="30000" dirty="0">
                <a:solidFill>
                  <a:srgbClr val="00264E"/>
                </a:solidFill>
                <a:latin typeface="Work Sans" pitchFamily="2" charset="77"/>
              </a:rPr>
              <a:t>TM</a:t>
            </a:r>
            <a:br>
              <a:rPr lang="en-US" dirty="0">
                <a:solidFill>
                  <a:srgbClr val="00264E"/>
                </a:solidFill>
              </a:rPr>
            </a:br>
            <a:endParaRPr lang="en-US" sz="2400" dirty="0">
              <a:solidFill>
                <a:srgbClr val="00264E"/>
              </a:solidFill>
            </a:endParaRPr>
          </a:p>
        </p:txBody>
      </p:sp>
      <p:pic>
        <p:nvPicPr>
          <p:cNvPr id="4" name="Picture 83" descr="A group of yellow flowers&#10;&#10;Description automatically generated with medium confidence">
            <a:extLst>
              <a:ext uri="{FF2B5EF4-FFF2-40B4-BE49-F238E27FC236}">
                <a16:creationId xmlns:a16="http://schemas.microsoft.com/office/drawing/2014/main" id="{6B831837-1A8D-0721-079D-8F0BEB749494}"/>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flipH="1">
            <a:off x="9678382" y="4124989"/>
            <a:ext cx="2362814" cy="1528295"/>
          </a:xfrm>
          <a:prstGeom prst="rect">
            <a:avLst/>
          </a:prstGeom>
        </p:spPr>
      </p:pic>
      <p:pic>
        <p:nvPicPr>
          <p:cNvPr id="5" name="Bildobjekt 5">
            <a:extLst>
              <a:ext uri="{FF2B5EF4-FFF2-40B4-BE49-F238E27FC236}">
                <a16:creationId xmlns:a16="http://schemas.microsoft.com/office/drawing/2014/main" id="{08D098EF-F67A-A9FE-4629-BE612C3DCF81}"/>
              </a:ext>
            </a:extLst>
          </p:cNvPr>
          <p:cNvPicPr>
            <a:picLocks noChangeAspect="1"/>
          </p:cNvPicPr>
          <p:nvPr userDrawn="1"/>
        </p:nvPicPr>
        <p:blipFill>
          <a:blip r:embed="rId6"/>
          <a:stretch>
            <a:fillRect/>
          </a:stretch>
        </p:blipFill>
        <p:spPr>
          <a:xfrm>
            <a:off x="1591388" y="4507598"/>
            <a:ext cx="2705404" cy="2205757"/>
          </a:xfrm>
          <a:prstGeom prst="rect">
            <a:avLst/>
          </a:prstGeom>
        </p:spPr>
      </p:pic>
      <p:pic>
        <p:nvPicPr>
          <p:cNvPr id="6" name="Picture 87" descr="A picture containing diagram&#10;&#10;Description automatically generated">
            <a:extLst>
              <a:ext uri="{FF2B5EF4-FFF2-40B4-BE49-F238E27FC236}">
                <a16:creationId xmlns:a16="http://schemas.microsoft.com/office/drawing/2014/main" id="{A222E8EE-D703-C2AA-BCDF-4C4AA07EFF4D}"/>
              </a:ext>
            </a:extLst>
          </p:cNvPr>
          <p:cNvPicPr>
            <a:picLocks noChangeAspect="1"/>
          </p:cNvPicPr>
          <p:nvPr userDrawn="1"/>
        </p:nvPicPr>
        <p:blipFill>
          <a:blip r:embed="rId7" cstate="hqprint">
            <a:extLst>
              <a:ext uri="{28A0092B-C50C-407E-A947-70E740481C1C}">
                <a14:useLocalDpi xmlns:a14="http://schemas.microsoft.com/office/drawing/2010/main"/>
              </a:ext>
            </a:extLst>
          </a:blip>
          <a:srcRect l="68451" t="12540" r="17334" b="79103"/>
          <a:stretch/>
        </p:blipFill>
        <p:spPr>
          <a:xfrm rot="502737">
            <a:off x="1927664" y="1474544"/>
            <a:ext cx="1843204" cy="689953"/>
          </a:xfrm>
          <a:prstGeom prst="rect">
            <a:avLst/>
          </a:prstGeom>
        </p:spPr>
      </p:pic>
      <p:pic>
        <p:nvPicPr>
          <p:cNvPr id="7" name="Bildobjekt 9">
            <a:extLst>
              <a:ext uri="{FF2B5EF4-FFF2-40B4-BE49-F238E27FC236}">
                <a16:creationId xmlns:a16="http://schemas.microsoft.com/office/drawing/2014/main" id="{C473EF3C-903F-D38C-22A6-DCAE28A0A654}"/>
              </a:ext>
            </a:extLst>
          </p:cNvPr>
          <p:cNvPicPr>
            <a:picLocks noChangeAspect="1"/>
          </p:cNvPicPr>
          <p:nvPr userDrawn="1"/>
        </p:nvPicPr>
        <p:blipFill>
          <a:blip r:embed="rId8"/>
          <a:srcRect r="329" b="83895"/>
          <a:stretch/>
        </p:blipFill>
        <p:spPr>
          <a:xfrm flipH="1">
            <a:off x="0" y="5121494"/>
            <a:ext cx="12192000" cy="1736506"/>
          </a:xfrm>
          <a:prstGeom prst="rect">
            <a:avLst/>
          </a:prstGeom>
        </p:spPr>
      </p:pic>
      <p:pic>
        <p:nvPicPr>
          <p:cNvPr id="8" name="Picture 87" descr="A picture containing diagram&#10;&#10;Description automatically generated">
            <a:extLst>
              <a:ext uri="{FF2B5EF4-FFF2-40B4-BE49-F238E27FC236}">
                <a16:creationId xmlns:a16="http://schemas.microsoft.com/office/drawing/2014/main" id="{AEE54984-D74D-50E7-7EBC-4B487271E173}"/>
              </a:ext>
            </a:extLst>
          </p:cNvPr>
          <p:cNvPicPr>
            <a:picLocks noChangeAspect="1"/>
          </p:cNvPicPr>
          <p:nvPr userDrawn="1"/>
        </p:nvPicPr>
        <p:blipFill>
          <a:blip r:embed="rId7" cstate="hqprint">
            <a:extLst>
              <a:ext uri="{28A0092B-C50C-407E-A947-70E740481C1C}">
                <a14:useLocalDpi xmlns:a14="http://schemas.microsoft.com/office/drawing/2010/main"/>
              </a:ext>
            </a:extLst>
          </a:blip>
          <a:srcRect l="61642" r="27580" b="86470"/>
          <a:stretch/>
        </p:blipFill>
        <p:spPr>
          <a:xfrm>
            <a:off x="8411283" y="885919"/>
            <a:ext cx="1487188" cy="1188776"/>
          </a:xfrm>
          <a:prstGeom prst="rect">
            <a:avLst/>
          </a:prstGeom>
        </p:spPr>
      </p:pic>
      <p:pic>
        <p:nvPicPr>
          <p:cNvPr id="9" name="Picture 87" descr="A picture containing diagram&#10;&#10;Description automatically generated">
            <a:extLst>
              <a:ext uri="{FF2B5EF4-FFF2-40B4-BE49-F238E27FC236}">
                <a16:creationId xmlns:a16="http://schemas.microsoft.com/office/drawing/2014/main" id="{E8377462-E7E2-EA71-FFD0-1A9E8612E645}"/>
              </a:ext>
            </a:extLst>
          </p:cNvPr>
          <p:cNvPicPr>
            <a:picLocks noChangeAspect="1"/>
          </p:cNvPicPr>
          <p:nvPr userDrawn="1"/>
        </p:nvPicPr>
        <p:blipFill>
          <a:blip r:embed="rId7" cstate="hqprint">
            <a:extLst>
              <a:ext uri="{28A0092B-C50C-407E-A947-70E740481C1C}">
                <a14:useLocalDpi xmlns:a14="http://schemas.microsoft.com/office/drawing/2010/main"/>
              </a:ext>
            </a:extLst>
          </a:blip>
          <a:srcRect l="68451" t="12540" r="17334" b="79103"/>
          <a:stretch/>
        </p:blipFill>
        <p:spPr>
          <a:xfrm>
            <a:off x="8503316" y="1458027"/>
            <a:ext cx="1961589" cy="734267"/>
          </a:xfrm>
          <a:prstGeom prst="rect">
            <a:avLst/>
          </a:prstGeom>
        </p:spPr>
      </p:pic>
      <p:sp>
        <p:nvSpPr>
          <p:cNvPr id="13" name="Date Placeholder 19">
            <a:extLst>
              <a:ext uri="{FF2B5EF4-FFF2-40B4-BE49-F238E27FC236}">
                <a16:creationId xmlns:a16="http://schemas.microsoft.com/office/drawing/2014/main" id="{E461A9C4-4F3D-66A3-519B-8E828AAC01EA}"/>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14" name="Slide Number Placeholder 20">
            <a:extLst>
              <a:ext uri="{FF2B5EF4-FFF2-40B4-BE49-F238E27FC236}">
                <a16:creationId xmlns:a16="http://schemas.microsoft.com/office/drawing/2014/main" id="{0C65DAA5-6C6F-F21B-0D1E-2698AE5BAB2F}"/>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15" name="Graphic 21">
            <a:extLst>
              <a:ext uri="{FF2B5EF4-FFF2-40B4-BE49-F238E27FC236}">
                <a16:creationId xmlns:a16="http://schemas.microsoft.com/office/drawing/2014/main" id="{7F06C29D-E22F-1325-C1EA-C3F22D47E304}"/>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Work Sans Light"/>
              <a:ea typeface="+mn-ea"/>
              <a:cs typeface="+mn-cs"/>
            </a:endParaRPr>
          </a:p>
        </p:txBody>
      </p:sp>
      <p:sp>
        <p:nvSpPr>
          <p:cNvPr id="3" name="Footer Placeholder 2">
            <a:extLst>
              <a:ext uri="{FF2B5EF4-FFF2-40B4-BE49-F238E27FC236}">
                <a16:creationId xmlns:a16="http://schemas.microsoft.com/office/drawing/2014/main" id="{686C3D67-3C1D-A058-3DBB-7A6E6F13CA1B}"/>
              </a:ext>
            </a:extLst>
          </p:cNvPr>
          <p:cNvSpPr>
            <a:spLocks noGrp="1"/>
          </p:cNvSpPr>
          <p:nvPr>
            <p:ph type="ftr" sz="quarter" idx="10"/>
          </p:nvPr>
        </p:nvSpPr>
        <p:spPr/>
        <p:txBody>
          <a:bodyPr/>
          <a:lstStyle/>
          <a:p>
            <a:endParaRPr lang="en-GB"/>
          </a:p>
        </p:txBody>
      </p:sp>
    </p:spTree>
    <p:extLst>
      <p:ext uri="{BB962C8B-B14F-4D97-AF65-F5344CB8AC3E}">
        <p14:creationId xmlns:p14="http://schemas.microsoft.com/office/powerpoint/2010/main" val="32829190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_Black Olive Navy_White logo">
    <p:bg>
      <p:bgPr>
        <a:solidFill>
          <a:srgbClr val="00264E"/>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072D443-A688-866B-F67B-CE3BDEFF30C2}"/>
              </a:ext>
            </a:extLst>
          </p:cNvPr>
          <p:cNvGraphicFramePr>
            <a:graphicFrameLocks noChangeAspect="1"/>
          </p:cNvGraphicFramePr>
          <p:nvPr userDrawn="1">
            <p:custDataLst>
              <p:tags r:id="rId1"/>
            </p:custDataLst>
            <p:extLst>
              <p:ext uri="{D42A27DB-BD31-4B8C-83A1-F6EECF244321}">
                <p14:modId xmlns:p14="http://schemas.microsoft.com/office/powerpoint/2010/main" val="2349033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5072D443-A688-866B-F67B-CE3BDEFF30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0CB4B7DD-28BF-400A-9C18-DD61B9CDAD76}"/>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endParaRPr lang="en-US" dirty="0"/>
          </a:p>
        </p:txBody>
      </p:sp>
      <p:sp>
        <p:nvSpPr>
          <p:cNvPr id="11" name="Title 1">
            <a:extLst>
              <a:ext uri="{FF2B5EF4-FFF2-40B4-BE49-F238E27FC236}">
                <a16:creationId xmlns:a16="http://schemas.microsoft.com/office/drawing/2014/main" id="{64F78264-5633-44C8-8401-B155BECB19CB}"/>
              </a:ext>
            </a:extLst>
          </p:cNvPr>
          <p:cNvSpPr>
            <a:spLocks noGrp="1"/>
          </p:cNvSpPr>
          <p:nvPr>
            <p:ph type="title" hasCustomPrompt="1"/>
          </p:nvPr>
        </p:nvSpPr>
        <p:spPr>
          <a:xfrm>
            <a:off x="442914" y="216693"/>
            <a:ext cx="3600449" cy="3212307"/>
          </a:xfrm>
        </p:spPr>
        <p:txBody>
          <a:bodyPr vert="horz" anchor="b">
            <a:noAutofit/>
          </a:bodyPr>
          <a:lstStyle>
            <a:lvl1pPr algn="l">
              <a:lnSpc>
                <a:spcPct val="90000"/>
              </a:lnSpc>
              <a:spcBef>
                <a:spcPts val="600"/>
              </a:spcBef>
              <a:spcAft>
                <a:spcPts val="0"/>
              </a:spcAft>
              <a:defRPr sz="4000" spc="0" baseline="0">
                <a:solidFill>
                  <a:schemeClr val="bg1"/>
                </a:solidFill>
                <a:latin typeface="Playfair Display Black" pitchFamily="2" charset="0"/>
              </a:defRPr>
            </a:lvl1pPr>
          </a:lstStyle>
          <a:p>
            <a:r>
              <a:rPr lang="en-US" noProof="0" dirty="0"/>
              <a:t>Click to add slide title</a:t>
            </a:r>
          </a:p>
        </p:txBody>
      </p:sp>
      <p:sp>
        <p:nvSpPr>
          <p:cNvPr id="9" name="Graphic 21">
            <a:extLst>
              <a:ext uri="{FF2B5EF4-FFF2-40B4-BE49-F238E27FC236}">
                <a16:creationId xmlns:a16="http://schemas.microsoft.com/office/drawing/2014/main" id="{05EB7591-792F-497E-BC19-17F9D3F0DD27}"/>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chemeClr val="bg1"/>
          </a:solidFill>
          <a:ln w="9525" cap="flat">
            <a:noFill/>
            <a:prstDash val="solid"/>
            <a:miter/>
          </a:ln>
        </p:spPr>
        <p:txBody>
          <a:bodyPr rtlCol="0" anchor="ctr"/>
          <a:lstStyle/>
          <a:p>
            <a:endParaRPr lang="en-US" dirty="0"/>
          </a:p>
        </p:txBody>
      </p:sp>
      <p:sp>
        <p:nvSpPr>
          <p:cNvPr id="2" name="Date Placeholder 19">
            <a:extLst>
              <a:ext uri="{FF2B5EF4-FFF2-40B4-BE49-F238E27FC236}">
                <a16:creationId xmlns:a16="http://schemas.microsoft.com/office/drawing/2014/main" id="{614D7794-1644-53D6-8E19-F07490F15086}"/>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chemeClr val="bg1"/>
                </a:solidFill>
              </a:defRPr>
            </a:lvl1pPr>
          </a:lstStyle>
          <a:p>
            <a:fld id="{684B2894-3B84-4879-8F4C-FB2CBD9FC7AC}" type="datetimeFigureOut">
              <a:rPr lang="en-GB" smtClean="0"/>
              <a:pPr/>
              <a:t>18/06/2025</a:t>
            </a:fld>
            <a:endParaRPr lang="en-GB" dirty="0"/>
          </a:p>
        </p:txBody>
      </p:sp>
      <p:sp>
        <p:nvSpPr>
          <p:cNvPr id="3" name="Slide Number Placeholder 20">
            <a:extLst>
              <a:ext uri="{FF2B5EF4-FFF2-40B4-BE49-F238E27FC236}">
                <a16:creationId xmlns:a16="http://schemas.microsoft.com/office/drawing/2014/main" id="{643D3CFA-8D33-69F0-42B1-CDCA552D922B}"/>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chemeClr val="bg1"/>
                </a:solidFill>
              </a:defRPr>
            </a:lvl1pPr>
          </a:lstStyle>
          <a:p>
            <a:pPr algn="r"/>
            <a:fld id="{EDF3706E-DB9C-4B59-A485-1194C2A6AD28}" type="slidenum">
              <a:rPr lang="en-GB" smtClean="0"/>
              <a:pPr algn="r"/>
              <a:t>‹#›</a:t>
            </a:fld>
            <a:endParaRPr lang="en-GB"/>
          </a:p>
        </p:txBody>
      </p:sp>
      <p:sp>
        <p:nvSpPr>
          <p:cNvPr id="6" name="Text Placeholder 4">
            <a:extLst>
              <a:ext uri="{FF2B5EF4-FFF2-40B4-BE49-F238E27FC236}">
                <a16:creationId xmlns:a16="http://schemas.microsoft.com/office/drawing/2014/main" id="{9912F470-7270-421B-0793-2FFA7727B6A2}"/>
              </a:ext>
            </a:extLst>
          </p:cNvPr>
          <p:cNvSpPr>
            <a:spLocks noGrp="1"/>
          </p:cNvSpPr>
          <p:nvPr>
            <p:ph type="body" sz="quarter" idx="15" hasCustomPrompt="1"/>
          </p:nvPr>
        </p:nvSpPr>
        <p:spPr>
          <a:xfrm>
            <a:off x="442914" y="3509464"/>
            <a:ext cx="3600450" cy="1175657"/>
          </a:xfrm>
        </p:spPr>
        <p:txBody>
          <a:bodyPr/>
          <a:lstStyle>
            <a:lvl1pPr marL="0" indent="0">
              <a:buNone/>
              <a:defRPr sz="2400">
                <a:solidFill>
                  <a:schemeClr val="bg1"/>
                </a:solidFill>
              </a:defRPr>
            </a:lvl1pPr>
          </a:lstStyle>
          <a:p>
            <a:pPr lvl="0"/>
            <a:r>
              <a:rPr lang="en-US" dirty="0"/>
              <a:t>Click to add presentation title sub-text</a:t>
            </a:r>
            <a:endParaRPr lang="en-GB" dirty="0"/>
          </a:p>
        </p:txBody>
      </p:sp>
      <p:sp>
        <p:nvSpPr>
          <p:cNvPr id="4" name="Footer Placeholder 3">
            <a:extLst>
              <a:ext uri="{FF2B5EF4-FFF2-40B4-BE49-F238E27FC236}">
                <a16:creationId xmlns:a16="http://schemas.microsoft.com/office/drawing/2014/main" id="{80B690CD-AAFB-8C5C-B73A-FC5824FDB566}"/>
              </a:ext>
            </a:extLst>
          </p:cNvPr>
          <p:cNvSpPr>
            <a:spLocks noGrp="1"/>
          </p:cNvSpPr>
          <p:nvPr>
            <p:ph type="ftr" sz="quarter" idx="16"/>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4197292637"/>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nd layout">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E2F12AE-23AE-B4A3-96E4-CE04655F87FC}"/>
              </a:ext>
            </a:extLst>
          </p:cNvPr>
          <p:cNvGraphicFramePr>
            <a:graphicFrameLocks noChangeAspect="1"/>
          </p:cNvGraphicFramePr>
          <p:nvPr userDrawn="1">
            <p:custDataLst>
              <p:tags r:id="rId1"/>
            </p:custDataLst>
            <p:extLst>
              <p:ext uri="{D42A27DB-BD31-4B8C-83A1-F6EECF244321}">
                <p14:modId xmlns:p14="http://schemas.microsoft.com/office/powerpoint/2010/main" val="421668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think-cell data - do not delete" hidden="1">
                        <a:extLst>
                          <a:ext uri="{FF2B5EF4-FFF2-40B4-BE49-F238E27FC236}">
                            <a16:creationId xmlns:a16="http://schemas.microsoft.com/office/drawing/2014/main" id="{EE2F12AE-23AE-B4A3-96E4-CE04655F87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86768166-8533-DF7E-0F24-2CECBFC13282}"/>
              </a:ext>
            </a:extLst>
          </p:cNvPr>
          <p:cNvSpPr txBox="1">
            <a:spLocks/>
          </p:cNvSpPr>
          <p:nvPr userDrawn="1"/>
        </p:nvSpPr>
        <p:spPr>
          <a:xfrm>
            <a:off x="442913" y="3466703"/>
            <a:ext cx="11306175" cy="775597"/>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kern="1200" spc="-30" baseline="0">
                <a:solidFill>
                  <a:schemeClr val="accent1"/>
                </a:solidFill>
                <a:latin typeface="+mj-lt"/>
                <a:ea typeface="+mj-ea"/>
                <a:cs typeface="+mj-cs"/>
              </a:defRPr>
            </a:lvl1pPr>
          </a:lstStyle>
          <a:p>
            <a:pPr algn="ctr">
              <a:lnSpc>
                <a:spcPct val="100000"/>
              </a:lnSpc>
              <a:spcBef>
                <a:spcPts val="1200"/>
              </a:spcBef>
            </a:pPr>
            <a:r>
              <a:rPr lang="en-US" sz="2800" dirty="0">
                <a:solidFill>
                  <a:srgbClr val="00264E"/>
                </a:solidFill>
                <a:latin typeface="+mn-lt"/>
              </a:rPr>
              <a:t>Everything we do is about</a:t>
            </a:r>
            <a:br>
              <a:rPr lang="en-US" dirty="0">
                <a:solidFill>
                  <a:srgbClr val="00264E"/>
                </a:solidFill>
              </a:rPr>
            </a:br>
            <a:r>
              <a:rPr lang="en-US" sz="4400" b="1" i="1" dirty="0">
                <a:solidFill>
                  <a:srgbClr val="00264E"/>
                </a:solidFill>
                <a:latin typeface="Playfair Display Black" pitchFamily="2" charset="77"/>
              </a:rPr>
              <a:t>Making Better Happen</a:t>
            </a:r>
            <a:r>
              <a:rPr lang="en-US" sz="4000" i="1" baseline="30000" dirty="0">
                <a:solidFill>
                  <a:srgbClr val="00264E"/>
                </a:solidFill>
                <a:latin typeface="Work Sans" pitchFamily="2" charset="77"/>
              </a:rPr>
              <a:t>TM</a:t>
            </a:r>
            <a:br>
              <a:rPr lang="en-US" dirty="0">
                <a:solidFill>
                  <a:srgbClr val="00264E"/>
                </a:solidFill>
              </a:rPr>
            </a:br>
            <a:endParaRPr lang="en-US" sz="2400" dirty="0">
              <a:solidFill>
                <a:srgbClr val="00264E"/>
              </a:solidFill>
            </a:endParaRPr>
          </a:p>
        </p:txBody>
      </p:sp>
      <p:sp>
        <p:nvSpPr>
          <p:cNvPr id="13" name="Date Placeholder 19">
            <a:extLst>
              <a:ext uri="{FF2B5EF4-FFF2-40B4-BE49-F238E27FC236}">
                <a16:creationId xmlns:a16="http://schemas.microsoft.com/office/drawing/2014/main" id="{E461A9C4-4F3D-66A3-519B-8E828AAC01EA}"/>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14" name="Slide Number Placeholder 20">
            <a:extLst>
              <a:ext uri="{FF2B5EF4-FFF2-40B4-BE49-F238E27FC236}">
                <a16:creationId xmlns:a16="http://schemas.microsoft.com/office/drawing/2014/main" id="{0C65DAA5-6C6F-F21B-0D1E-2698AE5BAB2F}"/>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15" name="Graphic 21">
            <a:extLst>
              <a:ext uri="{FF2B5EF4-FFF2-40B4-BE49-F238E27FC236}">
                <a16:creationId xmlns:a16="http://schemas.microsoft.com/office/drawing/2014/main" id="{7F06C29D-E22F-1325-C1EA-C3F22D47E304}"/>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Work Sans Light"/>
              <a:ea typeface="+mn-ea"/>
              <a:cs typeface="+mn-cs"/>
            </a:endParaRPr>
          </a:p>
        </p:txBody>
      </p:sp>
      <p:sp>
        <p:nvSpPr>
          <p:cNvPr id="3" name="Footer Placeholder 2">
            <a:extLst>
              <a:ext uri="{FF2B5EF4-FFF2-40B4-BE49-F238E27FC236}">
                <a16:creationId xmlns:a16="http://schemas.microsoft.com/office/drawing/2014/main" id="{66816ABC-C63B-6788-1BF8-5BB6A70A18F6}"/>
              </a:ext>
            </a:extLst>
          </p:cNvPr>
          <p:cNvSpPr>
            <a:spLocks noGrp="1"/>
          </p:cNvSpPr>
          <p:nvPr>
            <p:ph type="ftr" sz="quarter" idx="10"/>
          </p:nvPr>
        </p:nvSpPr>
        <p:spPr/>
        <p:txBody>
          <a:bodyPr/>
          <a:lstStyle/>
          <a:p>
            <a:endParaRPr lang="en-GB"/>
          </a:p>
        </p:txBody>
      </p:sp>
    </p:spTree>
    <p:extLst>
      <p:ext uri="{BB962C8B-B14F-4D97-AF65-F5344CB8AC3E}">
        <p14:creationId xmlns:p14="http://schemas.microsoft.com/office/powerpoint/2010/main" val="20486076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End layout with contact details">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E2F12AE-23AE-B4A3-96E4-CE04655F87FC}"/>
              </a:ext>
            </a:extLst>
          </p:cNvPr>
          <p:cNvGraphicFramePr>
            <a:graphicFrameLocks noChangeAspect="1"/>
          </p:cNvGraphicFramePr>
          <p:nvPr userDrawn="1">
            <p:custDataLst>
              <p:tags r:id="rId1"/>
            </p:custDataLst>
            <p:extLst>
              <p:ext uri="{D42A27DB-BD31-4B8C-83A1-F6EECF244321}">
                <p14:modId xmlns:p14="http://schemas.microsoft.com/office/powerpoint/2010/main" val="421668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think-cell data - do not delete" hidden="1">
                        <a:extLst>
                          <a:ext uri="{FF2B5EF4-FFF2-40B4-BE49-F238E27FC236}">
                            <a16:creationId xmlns:a16="http://schemas.microsoft.com/office/drawing/2014/main" id="{EE2F12AE-23AE-B4A3-96E4-CE04655F87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86768166-8533-DF7E-0F24-2CECBFC13282}"/>
              </a:ext>
            </a:extLst>
          </p:cNvPr>
          <p:cNvSpPr txBox="1">
            <a:spLocks/>
          </p:cNvSpPr>
          <p:nvPr userDrawn="1"/>
        </p:nvSpPr>
        <p:spPr>
          <a:xfrm>
            <a:off x="442913" y="3466703"/>
            <a:ext cx="11306175" cy="775597"/>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kern="1200" spc="-30" baseline="0">
                <a:solidFill>
                  <a:schemeClr val="accent1"/>
                </a:solidFill>
                <a:latin typeface="+mj-lt"/>
                <a:ea typeface="+mj-ea"/>
                <a:cs typeface="+mj-cs"/>
              </a:defRPr>
            </a:lvl1pPr>
          </a:lstStyle>
          <a:p>
            <a:pPr algn="ctr">
              <a:lnSpc>
                <a:spcPct val="100000"/>
              </a:lnSpc>
              <a:spcBef>
                <a:spcPts val="1200"/>
              </a:spcBef>
            </a:pPr>
            <a:r>
              <a:rPr lang="en-US" sz="2800" dirty="0">
                <a:solidFill>
                  <a:srgbClr val="00264E"/>
                </a:solidFill>
                <a:latin typeface="+mn-lt"/>
              </a:rPr>
              <a:t>Everything we do is about</a:t>
            </a:r>
            <a:br>
              <a:rPr lang="en-US" dirty="0">
                <a:solidFill>
                  <a:srgbClr val="00264E"/>
                </a:solidFill>
              </a:rPr>
            </a:br>
            <a:r>
              <a:rPr lang="en-US" sz="4400" b="1" i="1" dirty="0">
                <a:solidFill>
                  <a:srgbClr val="00264E"/>
                </a:solidFill>
                <a:latin typeface="Playfair Display Black" pitchFamily="2" charset="77"/>
              </a:rPr>
              <a:t>Making Better Happen</a:t>
            </a:r>
            <a:r>
              <a:rPr lang="en-US" sz="4000" i="1" baseline="30000" dirty="0">
                <a:solidFill>
                  <a:srgbClr val="00264E"/>
                </a:solidFill>
                <a:latin typeface="Work Sans" pitchFamily="2" charset="77"/>
              </a:rPr>
              <a:t>TM</a:t>
            </a:r>
            <a:br>
              <a:rPr lang="en-US" dirty="0">
                <a:solidFill>
                  <a:srgbClr val="00264E"/>
                </a:solidFill>
              </a:rPr>
            </a:br>
            <a:endParaRPr lang="en-US" sz="2400" dirty="0">
              <a:solidFill>
                <a:srgbClr val="00264E"/>
              </a:solidFill>
            </a:endParaRPr>
          </a:p>
        </p:txBody>
      </p:sp>
      <p:sp>
        <p:nvSpPr>
          <p:cNvPr id="13" name="Date Placeholder 19">
            <a:extLst>
              <a:ext uri="{FF2B5EF4-FFF2-40B4-BE49-F238E27FC236}">
                <a16:creationId xmlns:a16="http://schemas.microsoft.com/office/drawing/2014/main" id="{E461A9C4-4F3D-66A3-519B-8E828AAC01EA}"/>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14" name="Slide Number Placeholder 20">
            <a:extLst>
              <a:ext uri="{FF2B5EF4-FFF2-40B4-BE49-F238E27FC236}">
                <a16:creationId xmlns:a16="http://schemas.microsoft.com/office/drawing/2014/main" id="{0C65DAA5-6C6F-F21B-0D1E-2698AE5BAB2F}"/>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15" name="Graphic 21">
            <a:extLst>
              <a:ext uri="{FF2B5EF4-FFF2-40B4-BE49-F238E27FC236}">
                <a16:creationId xmlns:a16="http://schemas.microsoft.com/office/drawing/2014/main" id="{7F06C29D-E22F-1325-C1EA-C3F22D47E304}"/>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Work Sans Light"/>
              <a:ea typeface="+mn-ea"/>
              <a:cs typeface="+mn-cs"/>
            </a:endParaRPr>
          </a:p>
        </p:txBody>
      </p:sp>
      <p:sp>
        <p:nvSpPr>
          <p:cNvPr id="4" name="Text Placeholder 3">
            <a:extLst>
              <a:ext uri="{FF2B5EF4-FFF2-40B4-BE49-F238E27FC236}">
                <a16:creationId xmlns:a16="http://schemas.microsoft.com/office/drawing/2014/main" id="{7B4421C9-E764-1389-FE77-445B2CC9EC49}"/>
              </a:ext>
            </a:extLst>
          </p:cNvPr>
          <p:cNvSpPr>
            <a:spLocks noGrp="1"/>
          </p:cNvSpPr>
          <p:nvPr>
            <p:ph type="body" sz="quarter" idx="10" hasCustomPrompt="1"/>
          </p:nvPr>
        </p:nvSpPr>
        <p:spPr>
          <a:xfrm>
            <a:off x="3617118" y="4715649"/>
            <a:ext cx="4957763" cy="659091"/>
          </a:xfrm>
        </p:spPr>
        <p:txBody>
          <a:bodyPr/>
          <a:lstStyle>
            <a:lvl1pPr marL="0" indent="0" algn="ctr">
              <a:buNone/>
              <a:defRPr sz="1400"/>
            </a:lvl1pPr>
            <a:lvl5pPr>
              <a:defRPr/>
            </a:lvl5pPr>
          </a:lstStyle>
          <a:p>
            <a:pPr lvl="0"/>
            <a:r>
              <a:rPr lang="en-US" dirty="0"/>
              <a:t>Add name and contact details</a:t>
            </a:r>
            <a:endParaRPr lang="en-GB" dirty="0"/>
          </a:p>
        </p:txBody>
      </p:sp>
      <p:sp>
        <p:nvSpPr>
          <p:cNvPr id="5" name="TextBox 4">
            <a:extLst>
              <a:ext uri="{FF2B5EF4-FFF2-40B4-BE49-F238E27FC236}">
                <a16:creationId xmlns:a16="http://schemas.microsoft.com/office/drawing/2014/main" id="{81DE6DCA-714B-91B4-7E4E-D7E3A5353DF7}"/>
              </a:ext>
            </a:extLst>
          </p:cNvPr>
          <p:cNvSpPr txBox="1"/>
          <p:nvPr userDrawn="1"/>
        </p:nvSpPr>
        <p:spPr>
          <a:xfrm>
            <a:off x="4960070" y="4355864"/>
            <a:ext cx="2271860" cy="246221"/>
          </a:xfrm>
          <a:prstGeom prst="rect">
            <a:avLst/>
          </a:prstGeom>
          <a:noFill/>
          <a:ln>
            <a:noFill/>
          </a:ln>
        </p:spPr>
        <p:txBody>
          <a:bodyPr wrap="square" lIns="0" tIns="0" rIns="0" bIns="0" rtlCol="0">
            <a:spAutoFit/>
          </a:bodyPr>
          <a:lstStyle/>
          <a:p>
            <a:pPr algn="ctr">
              <a:buClr>
                <a:schemeClr val="tx2"/>
              </a:buClr>
            </a:pPr>
            <a:r>
              <a:rPr lang="en-GB" sz="1600" spc="-30" dirty="0">
                <a:solidFill>
                  <a:schemeClr val="tx2"/>
                </a:solidFill>
                <a:latin typeface="Playfair Display Black" pitchFamily="2" charset="0"/>
              </a:rPr>
              <a:t>Contact us</a:t>
            </a:r>
          </a:p>
        </p:txBody>
      </p:sp>
      <p:sp>
        <p:nvSpPr>
          <p:cNvPr id="3" name="Footer Placeholder 2">
            <a:extLst>
              <a:ext uri="{FF2B5EF4-FFF2-40B4-BE49-F238E27FC236}">
                <a16:creationId xmlns:a16="http://schemas.microsoft.com/office/drawing/2014/main" id="{440DF1CA-6D69-201A-2159-44F28643A2BE}"/>
              </a:ext>
            </a:extLst>
          </p:cNvPr>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271475072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Agenda_White">
    <p:bg>
      <p:bgPr>
        <a:solidFill>
          <a:schemeClr val="bg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0CB4B7DD-28BF-400A-9C18-DD61B9CDAD76}"/>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p>
        </p:txBody>
      </p:sp>
      <p:sp>
        <p:nvSpPr>
          <p:cNvPr id="4" name="Date Placeholder 3"/>
          <p:cNvSpPr>
            <a:spLocks noGrp="1"/>
          </p:cNvSpPr>
          <p:nvPr>
            <p:ph type="dt" sz="half" idx="10"/>
          </p:nvPr>
        </p:nvSpPr>
        <p:spPr/>
        <p:txBody>
          <a:bodyPr/>
          <a:lstStyle>
            <a:lvl1pPr>
              <a:defRPr spc="-30" baseline="0">
                <a:solidFill>
                  <a:schemeClr val="accent1"/>
                </a:solidFill>
              </a:defRPr>
            </a:lvl1pPr>
          </a:lstStyle>
          <a:p>
            <a:fld id="{8729AB67-F046-4E36-95AB-E592286E28AE}" type="datetime1">
              <a:rPr lang="en-GB" smtClean="0"/>
              <a:t>18/06/2025</a:t>
            </a:fld>
            <a:endParaRPr lang="en-US"/>
          </a:p>
        </p:txBody>
      </p:sp>
      <p:sp>
        <p:nvSpPr>
          <p:cNvPr id="6" name="Slide Number Placeholder 5"/>
          <p:cNvSpPr>
            <a:spLocks noGrp="1"/>
          </p:cNvSpPr>
          <p:nvPr>
            <p:ph type="sldNum" sz="quarter" idx="12"/>
          </p:nvPr>
        </p:nvSpPr>
        <p:spPr/>
        <p:txBody>
          <a:bodyPr/>
          <a:lstStyle>
            <a:lvl1pPr>
              <a:defRPr spc="-30" baseline="0">
                <a:solidFill>
                  <a:schemeClr val="accent1"/>
                </a:solidFill>
              </a:defRPr>
            </a:lvl1pPr>
          </a:lstStyle>
          <a:p>
            <a:fld id="{4803DD7B-12C8-43B8-9F45-989336E79744}" type="slidenum">
              <a:rPr lang="en-US" smtClean="0"/>
              <a:pPr/>
              <a:t>‹#›</a:t>
            </a:fld>
            <a:endParaRPr lang="en-US"/>
          </a:p>
        </p:txBody>
      </p:sp>
      <p:sp>
        <p:nvSpPr>
          <p:cNvPr id="2" name="Title 1">
            <a:extLst>
              <a:ext uri="{FF2B5EF4-FFF2-40B4-BE49-F238E27FC236}">
                <a16:creationId xmlns:a16="http://schemas.microsoft.com/office/drawing/2014/main" id="{9E8E342D-8E7B-4687-9A9D-EE055EE1D4DE}"/>
              </a:ext>
            </a:extLst>
          </p:cNvPr>
          <p:cNvSpPr>
            <a:spLocks noGrp="1"/>
          </p:cNvSpPr>
          <p:nvPr>
            <p:ph type="title"/>
          </p:nvPr>
        </p:nvSpPr>
        <p:spPr>
          <a:xfrm>
            <a:off x="442914" y="221456"/>
            <a:ext cx="3600450" cy="775597"/>
          </a:xfrm>
        </p:spPr>
        <p:txBody>
          <a:bodyPr/>
          <a:lstStyle>
            <a:lvl1pPr>
              <a:defRPr>
                <a:solidFill>
                  <a:schemeClr val="accent1"/>
                </a:solidFill>
              </a:defRPr>
            </a:lvl1pPr>
          </a:lstStyle>
          <a:p>
            <a:r>
              <a:rPr lang="en-US"/>
              <a:t>Click to edit Master title style</a:t>
            </a:r>
          </a:p>
        </p:txBody>
      </p:sp>
      <p:sp>
        <p:nvSpPr>
          <p:cNvPr id="25" name="Text Placeholder 4">
            <a:extLst>
              <a:ext uri="{FF2B5EF4-FFF2-40B4-BE49-F238E27FC236}">
                <a16:creationId xmlns:a16="http://schemas.microsoft.com/office/drawing/2014/main" id="{E31AD2CA-46F9-4311-AA53-47BE448219D7}"/>
              </a:ext>
            </a:extLst>
          </p:cNvPr>
          <p:cNvSpPr>
            <a:spLocks noGrp="1"/>
          </p:cNvSpPr>
          <p:nvPr>
            <p:ph type="body" sz="quarter" idx="15" hasCustomPrompt="1"/>
          </p:nvPr>
        </p:nvSpPr>
        <p:spPr>
          <a:xfrm>
            <a:off x="971549" y="1506165"/>
            <a:ext cx="3071813" cy="276999"/>
          </a:xfrm>
        </p:spPr>
        <p:txBody>
          <a:bodyPr>
            <a:spAutoFit/>
          </a:bodyPr>
          <a:lstStyle>
            <a:lvl1pPr marL="0" indent="0">
              <a:lnSpc>
                <a:spcPct val="90000"/>
              </a:lnSpc>
              <a:spcBef>
                <a:spcPts val="300"/>
              </a:spcBef>
              <a:spcAft>
                <a:spcPts val="0"/>
              </a:spcAft>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ext</a:t>
            </a:r>
          </a:p>
        </p:txBody>
      </p:sp>
      <p:sp>
        <p:nvSpPr>
          <p:cNvPr id="26" name="Text Placeholder 7">
            <a:extLst>
              <a:ext uri="{FF2B5EF4-FFF2-40B4-BE49-F238E27FC236}">
                <a16:creationId xmlns:a16="http://schemas.microsoft.com/office/drawing/2014/main" id="{B8BCD205-4358-4A14-A1B2-DAD1117A6231}"/>
              </a:ext>
            </a:extLst>
          </p:cNvPr>
          <p:cNvSpPr>
            <a:spLocks noGrp="1"/>
          </p:cNvSpPr>
          <p:nvPr>
            <p:ph type="body" sz="quarter" idx="16" hasCustomPrompt="1"/>
          </p:nvPr>
        </p:nvSpPr>
        <p:spPr>
          <a:xfrm>
            <a:off x="442913" y="1506165"/>
            <a:ext cx="376237" cy="276999"/>
          </a:xfrm>
        </p:spPr>
        <p:txBody>
          <a:bodyPr wrap="square">
            <a:spAutoFit/>
          </a:bodyPr>
          <a:lstStyle>
            <a:lvl1pPr marL="0" indent="0">
              <a:lnSpc>
                <a:spcPct val="90000"/>
              </a:lnSpc>
              <a:buNone/>
              <a:defRPr sz="2000">
                <a:solidFill>
                  <a:schemeClr val="accent1"/>
                </a:solidFill>
                <a:latin typeface="Work Sans Medium Roman"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a:t>#</a:t>
            </a:r>
          </a:p>
        </p:txBody>
      </p:sp>
      <p:sp>
        <p:nvSpPr>
          <p:cNvPr id="27" name="Text Placeholder 4">
            <a:extLst>
              <a:ext uri="{FF2B5EF4-FFF2-40B4-BE49-F238E27FC236}">
                <a16:creationId xmlns:a16="http://schemas.microsoft.com/office/drawing/2014/main" id="{24810E7C-D454-40CD-A438-8FCAE2A37117}"/>
              </a:ext>
            </a:extLst>
          </p:cNvPr>
          <p:cNvSpPr>
            <a:spLocks noGrp="1"/>
          </p:cNvSpPr>
          <p:nvPr>
            <p:ph type="body" sz="quarter" idx="17" hasCustomPrompt="1"/>
          </p:nvPr>
        </p:nvSpPr>
        <p:spPr>
          <a:xfrm>
            <a:off x="971549" y="2167051"/>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ext</a:t>
            </a:r>
          </a:p>
        </p:txBody>
      </p:sp>
      <p:sp>
        <p:nvSpPr>
          <p:cNvPr id="28" name="Text Placeholder 7">
            <a:extLst>
              <a:ext uri="{FF2B5EF4-FFF2-40B4-BE49-F238E27FC236}">
                <a16:creationId xmlns:a16="http://schemas.microsoft.com/office/drawing/2014/main" id="{2D374567-1F32-4E3B-9E67-17A12530E8E8}"/>
              </a:ext>
            </a:extLst>
          </p:cNvPr>
          <p:cNvSpPr>
            <a:spLocks noGrp="1"/>
          </p:cNvSpPr>
          <p:nvPr>
            <p:ph type="body" sz="quarter" idx="18" hasCustomPrompt="1"/>
          </p:nvPr>
        </p:nvSpPr>
        <p:spPr>
          <a:xfrm>
            <a:off x="442913" y="2167051"/>
            <a:ext cx="376237" cy="276999"/>
          </a:xfrm>
        </p:spPr>
        <p:txBody>
          <a:bodyPr wrap="square">
            <a:spAutoFit/>
          </a:bodyPr>
          <a:lstStyle>
            <a:lvl1pPr marL="0" indent="0">
              <a:lnSpc>
                <a:spcPct val="90000"/>
              </a:lnSpc>
              <a:buNone/>
              <a:defRPr sz="2000">
                <a:solidFill>
                  <a:schemeClr val="accent1"/>
                </a:solidFill>
                <a:latin typeface="Work Sans Medium Roman"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a:t>#</a:t>
            </a:r>
          </a:p>
        </p:txBody>
      </p:sp>
      <p:sp>
        <p:nvSpPr>
          <p:cNvPr id="29" name="Text Placeholder 4">
            <a:extLst>
              <a:ext uri="{FF2B5EF4-FFF2-40B4-BE49-F238E27FC236}">
                <a16:creationId xmlns:a16="http://schemas.microsoft.com/office/drawing/2014/main" id="{1FED032E-91AB-48C8-BA9D-C6E2773ED79A}"/>
              </a:ext>
            </a:extLst>
          </p:cNvPr>
          <p:cNvSpPr>
            <a:spLocks noGrp="1"/>
          </p:cNvSpPr>
          <p:nvPr>
            <p:ph type="body" sz="quarter" idx="19" hasCustomPrompt="1"/>
          </p:nvPr>
        </p:nvSpPr>
        <p:spPr>
          <a:xfrm>
            <a:off x="971549" y="2827937"/>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ext</a:t>
            </a:r>
          </a:p>
        </p:txBody>
      </p:sp>
      <p:sp>
        <p:nvSpPr>
          <p:cNvPr id="30" name="Text Placeholder 7">
            <a:extLst>
              <a:ext uri="{FF2B5EF4-FFF2-40B4-BE49-F238E27FC236}">
                <a16:creationId xmlns:a16="http://schemas.microsoft.com/office/drawing/2014/main" id="{F7FA3E30-B4BF-4AFE-A61C-24A788BFBDF0}"/>
              </a:ext>
            </a:extLst>
          </p:cNvPr>
          <p:cNvSpPr>
            <a:spLocks noGrp="1"/>
          </p:cNvSpPr>
          <p:nvPr>
            <p:ph type="body" sz="quarter" idx="20" hasCustomPrompt="1"/>
          </p:nvPr>
        </p:nvSpPr>
        <p:spPr>
          <a:xfrm>
            <a:off x="442913" y="2827937"/>
            <a:ext cx="376237" cy="276999"/>
          </a:xfrm>
        </p:spPr>
        <p:txBody>
          <a:bodyPr wrap="square">
            <a:spAutoFit/>
          </a:bodyPr>
          <a:lstStyle>
            <a:lvl1pPr marL="0" indent="0">
              <a:lnSpc>
                <a:spcPct val="90000"/>
              </a:lnSpc>
              <a:buNone/>
              <a:defRPr sz="2000">
                <a:solidFill>
                  <a:schemeClr val="accent1"/>
                </a:solidFill>
                <a:latin typeface="Work Sans Medium Roman"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a:t>#</a:t>
            </a:r>
          </a:p>
        </p:txBody>
      </p:sp>
      <p:sp>
        <p:nvSpPr>
          <p:cNvPr id="31" name="Text Placeholder 4">
            <a:extLst>
              <a:ext uri="{FF2B5EF4-FFF2-40B4-BE49-F238E27FC236}">
                <a16:creationId xmlns:a16="http://schemas.microsoft.com/office/drawing/2014/main" id="{5C04BF94-0CA4-45D7-90EE-EE260DA4AFF8}"/>
              </a:ext>
            </a:extLst>
          </p:cNvPr>
          <p:cNvSpPr>
            <a:spLocks noGrp="1"/>
          </p:cNvSpPr>
          <p:nvPr>
            <p:ph type="body" sz="quarter" idx="21" hasCustomPrompt="1"/>
          </p:nvPr>
        </p:nvSpPr>
        <p:spPr>
          <a:xfrm>
            <a:off x="971549" y="3488823"/>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ext</a:t>
            </a:r>
          </a:p>
        </p:txBody>
      </p:sp>
      <p:sp>
        <p:nvSpPr>
          <p:cNvPr id="32" name="Text Placeholder 7">
            <a:extLst>
              <a:ext uri="{FF2B5EF4-FFF2-40B4-BE49-F238E27FC236}">
                <a16:creationId xmlns:a16="http://schemas.microsoft.com/office/drawing/2014/main" id="{30708C30-3230-4A39-AC62-959E41EB2CE2}"/>
              </a:ext>
            </a:extLst>
          </p:cNvPr>
          <p:cNvSpPr>
            <a:spLocks noGrp="1"/>
          </p:cNvSpPr>
          <p:nvPr>
            <p:ph type="body" sz="quarter" idx="22" hasCustomPrompt="1"/>
          </p:nvPr>
        </p:nvSpPr>
        <p:spPr>
          <a:xfrm>
            <a:off x="442913" y="3488823"/>
            <a:ext cx="376237" cy="276999"/>
          </a:xfrm>
        </p:spPr>
        <p:txBody>
          <a:bodyPr wrap="square">
            <a:spAutoFit/>
          </a:bodyPr>
          <a:lstStyle>
            <a:lvl1pPr marL="0" indent="0">
              <a:lnSpc>
                <a:spcPct val="90000"/>
              </a:lnSpc>
              <a:buNone/>
              <a:defRPr sz="2000">
                <a:solidFill>
                  <a:schemeClr val="accent1"/>
                </a:solidFill>
                <a:latin typeface="Work Sans Medium Roman"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a:t>#</a:t>
            </a:r>
          </a:p>
        </p:txBody>
      </p:sp>
      <p:sp>
        <p:nvSpPr>
          <p:cNvPr id="33" name="Text Placeholder 4">
            <a:extLst>
              <a:ext uri="{FF2B5EF4-FFF2-40B4-BE49-F238E27FC236}">
                <a16:creationId xmlns:a16="http://schemas.microsoft.com/office/drawing/2014/main" id="{88F4FA1F-999B-47E1-B01D-3B12FE0B31E7}"/>
              </a:ext>
            </a:extLst>
          </p:cNvPr>
          <p:cNvSpPr>
            <a:spLocks noGrp="1"/>
          </p:cNvSpPr>
          <p:nvPr>
            <p:ph type="body" sz="quarter" idx="23" hasCustomPrompt="1"/>
          </p:nvPr>
        </p:nvSpPr>
        <p:spPr>
          <a:xfrm>
            <a:off x="971549" y="4149709"/>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ext</a:t>
            </a:r>
          </a:p>
        </p:txBody>
      </p:sp>
      <p:sp>
        <p:nvSpPr>
          <p:cNvPr id="34" name="Text Placeholder 7">
            <a:extLst>
              <a:ext uri="{FF2B5EF4-FFF2-40B4-BE49-F238E27FC236}">
                <a16:creationId xmlns:a16="http://schemas.microsoft.com/office/drawing/2014/main" id="{035F8BE4-77FC-4F59-BCC2-91B76B7F1521}"/>
              </a:ext>
            </a:extLst>
          </p:cNvPr>
          <p:cNvSpPr>
            <a:spLocks noGrp="1"/>
          </p:cNvSpPr>
          <p:nvPr>
            <p:ph type="body" sz="quarter" idx="24" hasCustomPrompt="1"/>
          </p:nvPr>
        </p:nvSpPr>
        <p:spPr>
          <a:xfrm>
            <a:off x="442913" y="4149709"/>
            <a:ext cx="376237" cy="276999"/>
          </a:xfrm>
        </p:spPr>
        <p:txBody>
          <a:bodyPr wrap="square">
            <a:spAutoFit/>
          </a:bodyPr>
          <a:lstStyle>
            <a:lvl1pPr marL="0" indent="0">
              <a:lnSpc>
                <a:spcPct val="90000"/>
              </a:lnSpc>
              <a:buNone/>
              <a:defRPr sz="2000">
                <a:solidFill>
                  <a:schemeClr val="accent1"/>
                </a:solidFill>
                <a:latin typeface="Work Sans Medium Roman"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a:t>#</a:t>
            </a:r>
          </a:p>
        </p:txBody>
      </p:sp>
      <p:sp>
        <p:nvSpPr>
          <p:cNvPr id="35" name="Text Placeholder 4">
            <a:extLst>
              <a:ext uri="{FF2B5EF4-FFF2-40B4-BE49-F238E27FC236}">
                <a16:creationId xmlns:a16="http://schemas.microsoft.com/office/drawing/2014/main" id="{3866815A-5C4C-411D-8043-18E44BC764A4}"/>
              </a:ext>
            </a:extLst>
          </p:cNvPr>
          <p:cNvSpPr>
            <a:spLocks noGrp="1"/>
          </p:cNvSpPr>
          <p:nvPr>
            <p:ph type="body" sz="quarter" idx="25" hasCustomPrompt="1"/>
          </p:nvPr>
        </p:nvSpPr>
        <p:spPr>
          <a:xfrm>
            <a:off x="971549" y="4810595"/>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ext</a:t>
            </a:r>
          </a:p>
        </p:txBody>
      </p:sp>
      <p:sp>
        <p:nvSpPr>
          <p:cNvPr id="36" name="Text Placeholder 7">
            <a:extLst>
              <a:ext uri="{FF2B5EF4-FFF2-40B4-BE49-F238E27FC236}">
                <a16:creationId xmlns:a16="http://schemas.microsoft.com/office/drawing/2014/main" id="{105B9D3D-1AD6-4B95-9E6A-7319CC20CB38}"/>
              </a:ext>
            </a:extLst>
          </p:cNvPr>
          <p:cNvSpPr>
            <a:spLocks noGrp="1"/>
          </p:cNvSpPr>
          <p:nvPr>
            <p:ph type="body" sz="quarter" idx="26" hasCustomPrompt="1"/>
          </p:nvPr>
        </p:nvSpPr>
        <p:spPr>
          <a:xfrm>
            <a:off x="442913" y="4810595"/>
            <a:ext cx="376237" cy="276999"/>
          </a:xfrm>
        </p:spPr>
        <p:txBody>
          <a:bodyPr wrap="square">
            <a:spAutoFit/>
          </a:bodyPr>
          <a:lstStyle>
            <a:lvl1pPr marL="0" indent="0">
              <a:lnSpc>
                <a:spcPct val="90000"/>
              </a:lnSpc>
              <a:buNone/>
              <a:defRPr sz="2000">
                <a:solidFill>
                  <a:schemeClr val="accent1"/>
                </a:solidFill>
                <a:latin typeface="Work Sans Medium Roman"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a:t>#</a:t>
            </a:r>
          </a:p>
        </p:txBody>
      </p:sp>
      <p:sp>
        <p:nvSpPr>
          <p:cNvPr id="37" name="Text Placeholder 4">
            <a:extLst>
              <a:ext uri="{FF2B5EF4-FFF2-40B4-BE49-F238E27FC236}">
                <a16:creationId xmlns:a16="http://schemas.microsoft.com/office/drawing/2014/main" id="{B8C0FBA2-35F0-4292-ABBF-1AA223650327}"/>
              </a:ext>
            </a:extLst>
          </p:cNvPr>
          <p:cNvSpPr>
            <a:spLocks noGrp="1"/>
          </p:cNvSpPr>
          <p:nvPr>
            <p:ph type="body" sz="quarter" idx="27" hasCustomPrompt="1"/>
          </p:nvPr>
        </p:nvSpPr>
        <p:spPr>
          <a:xfrm>
            <a:off x="971549" y="5471484"/>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ext</a:t>
            </a:r>
          </a:p>
        </p:txBody>
      </p:sp>
      <p:sp>
        <p:nvSpPr>
          <p:cNvPr id="38" name="Text Placeholder 7">
            <a:extLst>
              <a:ext uri="{FF2B5EF4-FFF2-40B4-BE49-F238E27FC236}">
                <a16:creationId xmlns:a16="http://schemas.microsoft.com/office/drawing/2014/main" id="{F69963A3-2EFC-4DB5-BD7E-A7B2F057E690}"/>
              </a:ext>
            </a:extLst>
          </p:cNvPr>
          <p:cNvSpPr>
            <a:spLocks noGrp="1"/>
          </p:cNvSpPr>
          <p:nvPr>
            <p:ph type="body" sz="quarter" idx="28" hasCustomPrompt="1"/>
          </p:nvPr>
        </p:nvSpPr>
        <p:spPr>
          <a:xfrm>
            <a:off x="442913" y="5471484"/>
            <a:ext cx="376237" cy="276999"/>
          </a:xfrm>
        </p:spPr>
        <p:txBody>
          <a:bodyPr wrap="square">
            <a:spAutoFit/>
          </a:bodyPr>
          <a:lstStyle>
            <a:lvl1pPr marL="0" indent="0">
              <a:lnSpc>
                <a:spcPct val="90000"/>
              </a:lnSpc>
              <a:buNone/>
              <a:defRPr sz="2000">
                <a:solidFill>
                  <a:schemeClr val="accent1"/>
                </a:solidFill>
                <a:latin typeface="Work Sans Medium Roman"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a:t>#</a:t>
            </a:r>
          </a:p>
        </p:txBody>
      </p:sp>
    </p:spTree>
    <p:extLst>
      <p:ext uri="{BB962C8B-B14F-4D97-AF65-F5344CB8AC3E}">
        <p14:creationId xmlns:p14="http://schemas.microsoft.com/office/powerpoint/2010/main" val="3249071083"/>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Agenda_AAK Sky Blue">
    <p:bg>
      <p:bgPr>
        <a:solidFill>
          <a:schemeClr val="accent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0CB4B7DD-28BF-400A-9C18-DD61B9CDAD76}"/>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p>
        </p:txBody>
      </p:sp>
      <p:sp>
        <p:nvSpPr>
          <p:cNvPr id="4" name="Date Placeholder 3"/>
          <p:cNvSpPr>
            <a:spLocks noGrp="1"/>
          </p:cNvSpPr>
          <p:nvPr>
            <p:ph type="dt" sz="half" idx="10"/>
          </p:nvPr>
        </p:nvSpPr>
        <p:spPr/>
        <p:txBody>
          <a:bodyPr/>
          <a:lstStyle>
            <a:lvl1pPr>
              <a:defRPr spc="-30" baseline="0">
                <a:solidFill>
                  <a:schemeClr val="bg1"/>
                </a:solidFill>
              </a:defRPr>
            </a:lvl1pPr>
          </a:lstStyle>
          <a:p>
            <a:fld id="{49AF0F6B-BA28-4AB4-A443-34D6F07474EC}" type="datetime1">
              <a:rPr lang="en-GB" smtClean="0"/>
              <a:t>18/06/2025</a:t>
            </a:fld>
            <a:endParaRPr lang="en-US"/>
          </a:p>
        </p:txBody>
      </p:sp>
      <p:sp>
        <p:nvSpPr>
          <p:cNvPr id="6" name="Slide Number Placeholder 5"/>
          <p:cNvSpPr>
            <a:spLocks noGrp="1"/>
          </p:cNvSpPr>
          <p:nvPr>
            <p:ph type="sldNum" sz="quarter" idx="12"/>
          </p:nvPr>
        </p:nvSpPr>
        <p:spPr/>
        <p:txBody>
          <a:bodyPr/>
          <a:lstStyle>
            <a:lvl1pPr>
              <a:defRPr spc="-30" baseline="0">
                <a:solidFill>
                  <a:schemeClr val="bg1"/>
                </a:solidFill>
              </a:defRPr>
            </a:lvl1pPr>
          </a:lstStyle>
          <a:p>
            <a:fld id="{4803DD7B-12C8-43B8-9F45-989336E79744}" type="slidenum">
              <a:rPr lang="en-US" smtClean="0"/>
              <a:pPr/>
              <a:t>‹#›</a:t>
            </a:fld>
            <a:endParaRPr lang="en-US"/>
          </a:p>
        </p:txBody>
      </p:sp>
      <p:sp>
        <p:nvSpPr>
          <p:cNvPr id="9" name="Graphic 21">
            <a:extLst>
              <a:ext uri="{FF2B5EF4-FFF2-40B4-BE49-F238E27FC236}">
                <a16:creationId xmlns:a16="http://schemas.microsoft.com/office/drawing/2014/main" id="{05EB7591-792F-497E-BC19-17F9D3F0DD27}"/>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chemeClr val="bg1"/>
          </a:solidFill>
          <a:ln w="9525"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9E8E342D-8E7B-4687-9A9D-EE055EE1D4DE}"/>
              </a:ext>
            </a:extLst>
          </p:cNvPr>
          <p:cNvSpPr>
            <a:spLocks noGrp="1"/>
          </p:cNvSpPr>
          <p:nvPr>
            <p:ph type="title"/>
          </p:nvPr>
        </p:nvSpPr>
        <p:spPr>
          <a:xfrm>
            <a:off x="442914" y="221456"/>
            <a:ext cx="3600450" cy="775597"/>
          </a:xfrm>
        </p:spPr>
        <p:txBody>
          <a:bodyPr/>
          <a:lstStyle>
            <a:lvl1pPr>
              <a:defRPr>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8EE89C49-B4A2-4BF1-BBCC-7355BE13BF5B}"/>
              </a:ext>
            </a:extLst>
          </p:cNvPr>
          <p:cNvSpPr>
            <a:spLocks noGrp="1"/>
          </p:cNvSpPr>
          <p:nvPr>
            <p:ph type="body" sz="quarter" idx="15" hasCustomPrompt="1"/>
          </p:nvPr>
        </p:nvSpPr>
        <p:spPr>
          <a:xfrm>
            <a:off x="971549" y="1506165"/>
            <a:ext cx="3071813" cy="276999"/>
          </a:xfrm>
        </p:spPr>
        <p:txBody>
          <a:bodyPr>
            <a:spAutoFit/>
          </a:bodyPr>
          <a:lstStyle>
            <a:lvl1pPr marL="0" indent="0">
              <a:lnSpc>
                <a:spcPct val="90000"/>
              </a:lnSpc>
              <a:spcBef>
                <a:spcPts val="600"/>
              </a:spcBef>
              <a:spcAft>
                <a:spcPts val="0"/>
              </a:spcAft>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ext</a:t>
            </a:r>
          </a:p>
        </p:txBody>
      </p:sp>
      <p:sp>
        <p:nvSpPr>
          <p:cNvPr id="8" name="Text Placeholder 7">
            <a:extLst>
              <a:ext uri="{FF2B5EF4-FFF2-40B4-BE49-F238E27FC236}">
                <a16:creationId xmlns:a16="http://schemas.microsoft.com/office/drawing/2014/main" id="{1AD25EDE-211D-4376-A566-F21D3F510B99}"/>
              </a:ext>
            </a:extLst>
          </p:cNvPr>
          <p:cNvSpPr>
            <a:spLocks noGrp="1"/>
          </p:cNvSpPr>
          <p:nvPr>
            <p:ph type="body" sz="quarter" idx="16" hasCustomPrompt="1"/>
          </p:nvPr>
        </p:nvSpPr>
        <p:spPr>
          <a:xfrm>
            <a:off x="442913" y="1506165"/>
            <a:ext cx="376237" cy="276999"/>
          </a:xfrm>
        </p:spPr>
        <p:txBody>
          <a:bodyPr wrap="square">
            <a:spAutoFit/>
          </a:bodyPr>
          <a:lstStyle>
            <a:lvl1pPr marL="0" indent="0">
              <a:buNone/>
              <a:defRPr sz="2000">
                <a:solidFill>
                  <a:schemeClr val="bg1"/>
                </a:solidFill>
                <a:latin typeface="Work Sans Medium Roman"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a:t>#</a:t>
            </a:r>
          </a:p>
        </p:txBody>
      </p:sp>
      <p:sp>
        <p:nvSpPr>
          <p:cNvPr id="12" name="Text Placeholder 4">
            <a:extLst>
              <a:ext uri="{FF2B5EF4-FFF2-40B4-BE49-F238E27FC236}">
                <a16:creationId xmlns:a16="http://schemas.microsoft.com/office/drawing/2014/main" id="{0D516DBD-2718-44D9-8274-2F4C843197C8}"/>
              </a:ext>
            </a:extLst>
          </p:cNvPr>
          <p:cNvSpPr>
            <a:spLocks noGrp="1"/>
          </p:cNvSpPr>
          <p:nvPr>
            <p:ph type="body" sz="quarter" idx="17" hasCustomPrompt="1"/>
          </p:nvPr>
        </p:nvSpPr>
        <p:spPr>
          <a:xfrm>
            <a:off x="971549" y="2167051"/>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ext</a:t>
            </a:r>
          </a:p>
        </p:txBody>
      </p:sp>
      <p:sp>
        <p:nvSpPr>
          <p:cNvPr id="13" name="Text Placeholder 7">
            <a:extLst>
              <a:ext uri="{FF2B5EF4-FFF2-40B4-BE49-F238E27FC236}">
                <a16:creationId xmlns:a16="http://schemas.microsoft.com/office/drawing/2014/main" id="{9890DA38-E6CB-4D57-8C6E-C427FF50D001}"/>
              </a:ext>
            </a:extLst>
          </p:cNvPr>
          <p:cNvSpPr>
            <a:spLocks noGrp="1"/>
          </p:cNvSpPr>
          <p:nvPr>
            <p:ph type="body" sz="quarter" idx="18" hasCustomPrompt="1"/>
          </p:nvPr>
        </p:nvSpPr>
        <p:spPr>
          <a:xfrm>
            <a:off x="442913" y="2167051"/>
            <a:ext cx="376237" cy="276999"/>
          </a:xfrm>
        </p:spPr>
        <p:txBody>
          <a:bodyPr wrap="square">
            <a:spAutoFit/>
          </a:bodyPr>
          <a:lstStyle>
            <a:lvl1pPr marL="0" indent="0">
              <a:buNone/>
              <a:defRPr sz="2000">
                <a:solidFill>
                  <a:schemeClr val="bg1"/>
                </a:solidFill>
                <a:latin typeface="Work Sans Medium Roman"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a:t>#</a:t>
            </a:r>
          </a:p>
        </p:txBody>
      </p:sp>
      <p:sp>
        <p:nvSpPr>
          <p:cNvPr id="14" name="Text Placeholder 4">
            <a:extLst>
              <a:ext uri="{FF2B5EF4-FFF2-40B4-BE49-F238E27FC236}">
                <a16:creationId xmlns:a16="http://schemas.microsoft.com/office/drawing/2014/main" id="{72C959F8-256E-4D0D-970F-C1357A95089C}"/>
              </a:ext>
            </a:extLst>
          </p:cNvPr>
          <p:cNvSpPr>
            <a:spLocks noGrp="1"/>
          </p:cNvSpPr>
          <p:nvPr>
            <p:ph type="body" sz="quarter" idx="19" hasCustomPrompt="1"/>
          </p:nvPr>
        </p:nvSpPr>
        <p:spPr>
          <a:xfrm>
            <a:off x="971549" y="2827937"/>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ext</a:t>
            </a:r>
          </a:p>
        </p:txBody>
      </p:sp>
      <p:sp>
        <p:nvSpPr>
          <p:cNvPr id="15" name="Text Placeholder 7">
            <a:extLst>
              <a:ext uri="{FF2B5EF4-FFF2-40B4-BE49-F238E27FC236}">
                <a16:creationId xmlns:a16="http://schemas.microsoft.com/office/drawing/2014/main" id="{794C02A7-08B2-4598-B5E8-B171109646D1}"/>
              </a:ext>
            </a:extLst>
          </p:cNvPr>
          <p:cNvSpPr>
            <a:spLocks noGrp="1"/>
          </p:cNvSpPr>
          <p:nvPr>
            <p:ph type="body" sz="quarter" idx="20" hasCustomPrompt="1"/>
          </p:nvPr>
        </p:nvSpPr>
        <p:spPr>
          <a:xfrm>
            <a:off x="442913" y="2827937"/>
            <a:ext cx="376237" cy="276999"/>
          </a:xfrm>
        </p:spPr>
        <p:txBody>
          <a:bodyPr wrap="square">
            <a:spAutoFit/>
          </a:bodyPr>
          <a:lstStyle>
            <a:lvl1pPr marL="0" indent="0">
              <a:buNone/>
              <a:defRPr sz="2000">
                <a:solidFill>
                  <a:schemeClr val="bg1"/>
                </a:solidFill>
                <a:latin typeface="Work Sans Medium Roman"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a:t>#</a:t>
            </a:r>
          </a:p>
        </p:txBody>
      </p:sp>
      <p:sp>
        <p:nvSpPr>
          <p:cNvPr id="16" name="Text Placeholder 4">
            <a:extLst>
              <a:ext uri="{FF2B5EF4-FFF2-40B4-BE49-F238E27FC236}">
                <a16:creationId xmlns:a16="http://schemas.microsoft.com/office/drawing/2014/main" id="{9B618029-B736-413E-86C7-10E7A3FFC9FC}"/>
              </a:ext>
            </a:extLst>
          </p:cNvPr>
          <p:cNvSpPr>
            <a:spLocks noGrp="1"/>
          </p:cNvSpPr>
          <p:nvPr>
            <p:ph type="body" sz="quarter" idx="21" hasCustomPrompt="1"/>
          </p:nvPr>
        </p:nvSpPr>
        <p:spPr>
          <a:xfrm>
            <a:off x="971549" y="3488823"/>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ext</a:t>
            </a:r>
          </a:p>
        </p:txBody>
      </p:sp>
      <p:sp>
        <p:nvSpPr>
          <p:cNvPr id="17" name="Text Placeholder 7">
            <a:extLst>
              <a:ext uri="{FF2B5EF4-FFF2-40B4-BE49-F238E27FC236}">
                <a16:creationId xmlns:a16="http://schemas.microsoft.com/office/drawing/2014/main" id="{5AA61192-2B03-4F58-AE1E-09114F170367}"/>
              </a:ext>
            </a:extLst>
          </p:cNvPr>
          <p:cNvSpPr>
            <a:spLocks noGrp="1"/>
          </p:cNvSpPr>
          <p:nvPr>
            <p:ph type="body" sz="quarter" idx="22" hasCustomPrompt="1"/>
          </p:nvPr>
        </p:nvSpPr>
        <p:spPr>
          <a:xfrm>
            <a:off x="442913" y="3488823"/>
            <a:ext cx="376237" cy="276999"/>
          </a:xfrm>
        </p:spPr>
        <p:txBody>
          <a:bodyPr wrap="square">
            <a:spAutoFit/>
          </a:bodyPr>
          <a:lstStyle>
            <a:lvl1pPr marL="0" indent="0">
              <a:buNone/>
              <a:defRPr sz="2000">
                <a:solidFill>
                  <a:schemeClr val="bg1"/>
                </a:solidFill>
                <a:latin typeface="Work Sans Medium Roman"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a:t>#</a:t>
            </a:r>
          </a:p>
        </p:txBody>
      </p:sp>
      <p:sp>
        <p:nvSpPr>
          <p:cNvPr id="18" name="Text Placeholder 4">
            <a:extLst>
              <a:ext uri="{FF2B5EF4-FFF2-40B4-BE49-F238E27FC236}">
                <a16:creationId xmlns:a16="http://schemas.microsoft.com/office/drawing/2014/main" id="{001DC646-3B66-47D9-B508-09A2B54E7CD1}"/>
              </a:ext>
            </a:extLst>
          </p:cNvPr>
          <p:cNvSpPr>
            <a:spLocks noGrp="1"/>
          </p:cNvSpPr>
          <p:nvPr>
            <p:ph type="body" sz="quarter" idx="23" hasCustomPrompt="1"/>
          </p:nvPr>
        </p:nvSpPr>
        <p:spPr>
          <a:xfrm>
            <a:off x="971549" y="4149709"/>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ext</a:t>
            </a:r>
          </a:p>
        </p:txBody>
      </p:sp>
      <p:sp>
        <p:nvSpPr>
          <p:cNvPr id="20" name="Text Placeholder 7">
            <a:extLst>
              <a:ext uri="{FF2B5EF4-FFF2-40B4-BE49-F238E27FC236}">
                <a16:creationId xmlns:a16="http://schemas.microsoft.com/office/drawing/2014/main" id="{A1BBBFCB-34E2-4052-8268-94142CABF8F2}"/>
              </a:ext>
            </a:extLst>
          </p:cNvPr>
          <p:cNvSpPr>
            <a:spLocks noGrp="1"/>
          </p:cNvSpPr>
          <p:nvPr>
            <p:ph type="body" sz="quarter" idx="24" hasCustomPrompt="1"/>
          </p:nvPr>
        </p:nvSpPr>
        <p:spPr>
          <a:xfrm>
            <a:off x="442913" y="4149709"/>
            <a:ext cx="376237" cy="276999"/>
          </a:xfrm>
        </p:spPr>
        <p:txBody>
          <a:bodyPr wrap="square">
            <a:spAutoFit/>
          </a:bodyPr>
          <a:lstStyle>
            <a:lvl1pPr marL="0" indent="0">
              <a:buNone/>
              <a:defRPr sz="2000">
                <a:solidFill>
                  <a:schemeClr val="bg1"/>
                </a:solidFill>
                <a:latin typeface="Work Sans Medium Roman"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a:t>#</a:t>
            </a:r>
          </a:p>
        </p:txBody>
      </p:sp>
      <p:sp>
        <p:nvSpPr>
          <p:cNvPr id="21" name="Text Placeholder 4">
            <a:extLst>
              <a:ext uri="{FF2B5EF4-FFF2-40B4-BE49-F238E27FC236}">
                <a16:creationId xmlns:a16="http://schemas.microsoft.com/office/drawing/2014/main" id="{E454277E-E459-44BB-80BE-0E1F83ED667B}"/>
              </a:ext>
            </a:extLst>
          </p:cNvPr>
          <p:cNvSpPr>
            <a:spLocks noGrp="1"/>
          </p:cNvSpPr>
          <p:nvPr>
            <p:ph type="body" sz="quarter" idx="25" hasCustomPrompt="1"/>
          </p:nvPr>
        </p:nvSpPr>
        <p:spPr>
          <a:xfrm>
            <a:off x="971549" y="4810595"/>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ext</a:t>
            </a:r>
          </a:p>
        </p:txBody>
      </p:sp>
      <p:sp>
        <p:nvSpPr>
          <p:cNvPr id="22" name="Text Placeholder 7">
            <a:extLst>
              <a:ext uri="{FF2B5EF4-FFF2-40B4-BE49-F238E27FC236}">
                <a16:creationId xmlns:a16="http://schemas.microsoft.com/office/drawing/2014/main" id="{14AF7E5D-97FD-4EBA-8375-D07CDF9F49C7}"/>
              </a:ext>
            </a:extLst>
          </p:cNvPr>
          <p:cNvSpPr>
            <a:spLocks noGrp="1"/>
          </p:cNvSpPr>
          <p:nvPr>
            <p:ph type="body" sz="quarter" idx="26" hasCustomPrompt="1"/>
          </p:nvPr>
        </p:nvSpPr>
        <p:spPr>
          <a:xfrm>
            <a:off x="442913" y="4810595"/>
            <a:ext cx="376237" cy="276999"/>
          </a:xfrm>
        </p:spPr>
        <p:txBody>
          <a:bodyPr wrap="square">
            <a:spAutoFit/>
          </a:bodyPr>
          <a:lstStyle>
            <a:lvl1pPr marL="0" indent="0">
              <a:buNone/>
              <a:defRPr sz="2000">
                <a:solidFill>
                  <a:schemeClr val="bg1"/>
                </a:solidFill>
                <a:latin typeface="Work Sans Medium Roman"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a:t>#</a:t>
            </a:r>
          </a:p>
        </p:txBody>
      </p:sp>
      <p:sp>
        <p:nvSpPr>
          <p:cNvPr id="23" name="Text Placeholder 4">
            <a:extLst>
              <a:ext uri="{FF2B5EF4-FFF2-40B4-BE49-F238E27FC236}">
                <a16:creationId xmlns:a16="http://schemas.microsoft.com/office/drawing/2014/main" id="{CCE4A50A-55D9-4DC5-A643-1DC5A1522B90}"/>
              </a:ext>
            </a:extLst>
          </p:cNvPr>
          <p:cNvSpPr>
            <a:spLocks noGrp="1"/>
          </p:cNvSpPr>
          <p:nvPr>
            <p:ph type="body" sz="quarter" idx="27" hasCustomPrompt="1"/>
          </p:nvPr>
        </p:nvSpPr>
        <p:spPr>
          <a:xfrm>
            <a:off x="971549" y="5471484"/>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ext</a:t>
            </a:r>
          </a:p>
        </p:txBody>
      </p:sp>
      <p:sp>
        <p:nvSpPr>
          <p:cNvPr id="24" name="Text Placeholder 7">
            <a:extLst>
              <a:ext uri="{FF2B5EF4-FFF2-40B4-BE49-F238E27FC236}">
                <a16:creationId xmlns:a16="http://schemas.microsoft.com/office/drawing/2014/main" id="{C95057B2-70B1-4F7A-BABF-7CA1541DA2F6}"/>
              </a:ext>
            </a:extLst>
          </p:cNvPr>
          <p:cNvSpPr>
            <a:spLocks noGrp="1"/>
          </p:cNvSpPr>
          <p:nvPr>
            <p:ph type="body" sz="quarter" idx="28" hasCustomPrompt="1"/>
          </p:nvPr>
        </p:nvSpPr>
        <p:spPr>
          <a:xfrm>
            <a:off x="442913" y="5471484"/>
            <a:ext cx="376237" cy="276999"/>
          </a:xfrm>
        </p:spPr>
        <p:txBody>
          <a:bodyPr wrap="square">
            <a:spAutoFit/>
          </a:bodyPr>
          <a:lstStyle>
            <a:lvl1pPr marL="0" indent="0">
              <a:buNone/>
              <a:defRPr sz="2000">
                <a:solidFill>
                  <a:schemeClr val="bg1"/>
                </a:solidFill>
                <a:latin typeface="Work Sans Medium Roman"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a:t>#</a:t>
            </a:r>
          </a:p>
        </p:txBody>
      </p:sp>
    </p:spTree>
    <p:extLst>
      <p:ext uri="{BB962C8B-B14F-4D97-AF65-F5344CB8AC3E}">
        <p14:creationId xmlns:p14="http://schemas.microsoft.com/office/powerpoint/2010/main" val="1231532722"/>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1_Title Slide_White logo">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DA750E9-3CE5-45DE-B0E3-9357B1119808}"/>
              </a:ext>
            </a:extLst>
          </p:cNvPr>
          <p:cNvSpPr/>
          <p:nvPr userDrawn="1"/>
        </p:nvSpPr>
        <p:spPr>
          <a:xfrm>
            <a:off x="0" y="6308725"/>
            <a:ext cx="1279525" cy="549275"/>
          </a:xfrm>
          <a:prstGeom prst="rect">
            <a:avLst/>
          </a:pr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a:p>
        </p:txBody>
      </p:sp>
      <p:sp>
        <p:nvSpPr>
          <p:cNvPr id="14" name="Picture Placeholder 13">
            <a:extLst>
              <a:ext uri="{FF2B5EF4-FFF2-40B4-BE49-F238E27FC236}">
                <a16:creationId xmlns:a16="http://schemas.microsoft.com/office/drawing/2014/main" id="{F17ACFB9-2EDF-4944-A0E9-5A9584F12CDE}"/>
              </a:ext>
            </a:extLst>
          </p:cNvPr>
          <p:cNvSpPr>
            <a:spLocks noGrp="1"/>
          </p:cNvSpPr>
          <p:nvPr>
            <p:ph type="pic" sz="quarter" idx="13"/>
          </p:nvPr>
        </p:nvSpPr>
        <p:spPr>
          <a:xfrm>
            <a:off x="0" y="0"/>
            <a:ext cx="12192000" cy="6858000"/>
          </a:xfrm>
          <a:custGeom>
            <a:avLst/>
            <a:gdLst>
              <a:gd name="connsiteX0" fmla="*/ 811590 w 12192000"/>
              <a:gd name="connsiteY0" fmla="*/ 6423839 h 6858000"/>
              <a:gd name="connsiteX1" fmla="*/ 812551 w 12192000"/>
              <a:gd name="connsiteY1" fmla="*/ 6425983 h 6858000"/>
              <a:gd name="connsiteX2" fmla="*/ 842986 w 12192000"/>
              <a:gd name="connsiteY2" fmla="*/ 6528784 h 6858000"/>
              <a:gd name="connsiteX3" fmla="*/ 842084 w 12192000"/>
              <a:gd name="connsiteY3" fmla="*/ 6530809 h 6858000"/>
              <a:gd name="connsiteX4" fmla="*/ 841381 w 12192000"/>
              <a:gd name="connsiteY4" fmla="*/ 6530906 h 6858000"/>
              <a:gd name="connsiteX5" fmla="*/ 781809 w 12192000"/>
              <a:gd name="connsiteY5" fmla="*/ 6530906 h 6858000"/>
              <a:gd name="connsiteX6" fmla="*/ 780110 w 12192000"/>
              <a:gd name="connsiteY6" fmla="*/ 6529469 h 6858000"/>
              <a:gd name="connsiteX7" fmla="*/ 780205 w 12192000"/>
              <a:gd name="connsiteY7" fmla="*/ 6528784 h 6858000"/>
              <a:gd name="connsiteX8" fmla="*/ 810640 w 12192000"/>
              <a:gd name="connsiteY8" fmla="*/ 6425983 h 6858000"/>
              <a:gd name="connsiteX9" fmla="*/ 811590 w 12192000"/>
              <a:gd name="connsiteY9" fmla="*/ 6423839 h 6858000"/>
              <a:gd name="connsiteX10" fmla="*/ 587691 w 12192000"/>
              <a:gd name="connsiteY10" fmla="*/ 6423839 h 6858000"/>
              <a:gd name="connsiteX11" fmla="*/ 588641 w 12192000"/>
              <a:gd name="connsiteY11" fmla="*/ 6425983 h 6858000"/>
              <a:gd name="connsiteX12" fmla="*/ 619077 w 12192000"/>
              <a:gd name="connsiteY12" fmla="*/ 6528784 h 6858000"/>
              <a:gd name="connsiteX13" fmla="*/ 618198 w 12192000"/>
              <a:gd name="connsiteY13" fmla="*/ 6530804 h 6858000"/>
              <a:gd name="connsiteX14" fmla="*/ 617483 w 12192000"/>
              <a:gd name="connsiteY14" fmla="*/ 6530906 h 6858000"/>
              <a:gd name="connsiteX15" fmla="*/ 557911 w 12192000"/>
              <a:gd name="connsiteY15" fmla="*/ 6530906 h 6858000"/>
              <a:gd name="connsiteX16" fmla="*/ 556210 w 12192000"/>
              <a:gd name="connsiteY16" fmla="*/ 6529478 h 6858000"/>
              <a:gd name="connsiteX17" fmla="*/ 556306 w 12192000"/>
              <a:gd name="connsiteY17" fmla="*/ 6528784 h 6858000"/>
              <a:gd name="connsiteX18" fmla="*/ 586752 w 12192000"/>
              <a:gd name="connsiteY18" fmla="*/ 6425983 h 6858000"/>
              <a:gd name="connsiteX19" fmla="*/ 587691 w 12192000"/>
              <a:gd name="connsiteY19" fmla="*/ 6423839 h 6858000"/>
              <a:gd name="connsiteX20" fmla="*/ 543817 w 12192000"/>
              <a:gd name="connsiteY20" fmla="*/ 6352465 h 6858000"/>
              <a:gd name="connsiteX21" fmla="*/ 540861 w 12192000"/>
              <a:gd name="connsiteY21" fmla="*/ 6354577 h 6858000"/>
              <a:gd name="connsiteX22" fmla="*/ 443053 w 12192000"/>
              <a:gd name="connsiteY22" fmla="*/ 6633486 h 6858000"/>
              <a:gd name="connsiteX23" fmla="*/ 443767 w 12192000"/>
              <a:gd name="connsiteY23" fmla="*/ 6635455 h 6858000"/>
              <a:gd name="connsiteX24" fmla="*/ 444542 w 12192000"/>
              <a:gd name="connsiteY24" fmla="*/ 6635587 h 6858000"/>
              <a:gd name="connsiteX25" fmla="*/ 521743 w 12192000"/>
              <a:gd name="connsiteY25" fmla="*/ 6635587 h 6858000"/>
              <a:gd name="connsiteX26" fmla="*/ 524604 w 12192000"/>
              <a:gd name="connsiteY26" fmla="*/ 6633454 h 6858000"/>
              <a:gd name="connsiteX27" fmla="*/ 537103 w 12192000"/>
              <a:gd name="connsiteY27" fmla="*/ 6591713 h 6858000"/>
              <a:gd name="connsiteX28" fmla="*/ 539975 w 12192000"/>
              <a:gd name="connsiteY28" fmla="*/ 6589581 h 6858000"/>
              <a:gd name="connsiteX29" fmla="*/ 635419 w 12192000"/>
              <a:gd name="connsiteY29" fmla="*/ 6589581 h 6858000"/>
              <a:gd name="connsiteX30" fmla="*/ 638279 w 12192000"/>
              <a:gd name="connsiteY30" fmla="*/ 6591713 h 6858000"/>
              <a:gd name="connsiteX31" fmla="*/ 650789 w 12192000"/>
              <a:gd name="connsiteY31" fmla="*/ 6633454 h 6858000"/>
              <a:gd name="connsiteX32" fmla="*/ 653650 w 12192000"/>
              <a:gd name="connsiteY32" fmla="*/ 6635587 h 6858000"/>
              <a:gd name="connsiteX33" fmla="*/ 745642 w 12192000"/>
              <a:gd name="connsiteY33" fmla="*/ 6635587 h 6858000"/>
              <a:gd name="connsiteX34" fmla="*/ 748502 w 12192000"/>
              <a:gd name="connsiteY34" fmla="*/ 6633454 h 6858000"/>
              <a:gd name="connsiteX35" fmla="*/ 761012 w 12192000"/>
              <a:gd name="connsiteY35" fmla="*/ 6591713 h 6858000"/>
              <a:gd name="connsiteX36" fmla="*/ 763873 w 12192000"/>
              <a:gd name="connsiteY36" fmla="*/ 6589581 h 6858000"/>
              <a:gd name="connsiteX37" fmla="*/ 859328 w 12192000"/>
              <a:gd name="connsiteY37" fmla="*/ 6589581 h 6858000"/>
              <a:gd name="connsiteX38" fmla="*/ 862189 w 12192000"/>
              <a:gd name="connsiteY38" fmla="*/ 6591713 h 6858000"/>
              <a:gd name="connsiteX39" fmla="*/ 874677 w 12192000"/>
              <a:gd name="connsiteY39" fmla="*/ 6633454 h 6858000"/>
              <a:gd name="connsiteX40" fmla="*/ 877538 w 12192000"/>
              <a:gd name="connsiteY40" fmla="*/ 6635587 h 6858000"/>
              <a:gd name="connsiteX41" fmla="*/ 1009888 w 12192000"/>
              <a:gd name="connsiteY41" fmla="*/ 6635587 h 6858000"/>
              <a:gd name="connsiteX42" fmla="*/ 1012126 w 12192000"/>
              <a:gd name="connsiteY42" fmla="*/ 6633359 h 6858000"/>
              <a:gd name="connsiteX43" fmla="*/ 1012126 w 12192000"/>
              <a:gd name="connsiteY43" fmla="*/ 6558121 h 6858000"/>
              <a:gd name="connsiteX44" fmla="*/ 1013678 w 12192000"/>
              <a:gd name="connsiteY44" fmla="*/ 6554289 h 6858000"/>
              <a:gd name="connsiteX45" fmla="*/ 1042910 w 12192000"/>
              <a:gd name="connsiteY45" fmla="*/ 6524182 h 6858000"/>
              <a:gd name="connsiteX46" fmla="*/ 1045265 w 12192000"/>
              <a:gd name="connsiteY46" fmla="*/ 6523986 h 6858000"/>
              <a:gd name="connsiteX47" fmla="*/ 1045655 w 12192000"/>
              <a:gd name="connsiteY47" fmla="*/ 6524467 h 6858000"/>
              <a:gd name="connsiteX48" fmla="*/ 1114041 w 12192000"/>
              <a:gd name="connsiteY48" fmla="*/ 6633698 h 6858000"/>
              <a:gd name="connsiteX49" fmla="*/ 1117542 w 12192000"/>
              <a:gd name="connsiteY49" fmla="*/ 6635587 h 6858000"/>
              <a:gd name="connsiteX50" fmla="*/ 1214827 w 12192000"/>
              <a:gd name="connsiteY50" fmla="*/ 6635587 h 6858000"/>
              <a:gd name="connsiteX51" fmla="*/ 1215840 w 12192000"/>
              <a:gd name="connsiteY51" fmla="*/ 6633718 h 6858000"/>
              <a:gd name="connsiteX52" fmla="*/ 1106842 w 12192000"/>
              <a:gd name="connsiteY52" fmla="*/ 6465760 h 6858000"/>
              <a:gd name="connsiteX53" fmla="*/ 1107148 w 12192000"/>
              <a:gd name="connsiteY53" fmla="*/ 6462277 h 6858000"/>
              <a:gd name="connsiteX54" fmla="*/ 1207532 w 12192000"/>
              <a:gd name="connsiteY54" fmla="*/ 6354102 h 6858000"/>
              <a:gd name="connsiteX55" fmla="*/ 1206825 w 12192000"/>
              <a:gd name="connsiteY55" fmla="*/ 6352465 h 6858000"/>
              <a:gd name="connsiteX56" fmla="*/ 1109766 w 12192000"/>
              <a:gd name="connsiteY56" fmla="*/ 6352465 h 6858000"/>
              <a:gd name="connsiteX57" fmla="*/ 1106092 w 12192000"/>
              <a:gd name="connsiteY57" fmla="*/ 6354165 h 6858000"/>
              <a:gd name="connsiteX58" fmla="*/ 1013573 w 12192000"/>
              <a:gd name="connsiteY58" fmla="*/ 6461812 h 6858000"/>
              <a:gd name="connsiteX59" fmla="*/ 1012126 w 12192000"/>
              <a:gd name="connsiteY59" fmla="*/ 6461263 h 6858000"/>
              <a:gd name="connsiteX60" fmla="*/ 1012126 w 12192000"/>
              <a:gd name="connsiteY60" fmla="*/ 6354693 h 6858000"/>
              <a:gd name="connsiteX61" fmla="*/ 1009888 w 12192000"/>
              <a:gd name="connsiteY61" fmla="*/ 6352465 h 6858000"/>
              <a:gd name="connsiteX62" fmla="*/ 938134 w 12192000"/>
              <a:gd name="connsiteY62" fmla="*/ 6352465 h 6858000"/>
              <a:gd name="connsiteX63" fmla="*/ 935917 w 12192000"/>
              <a:gd name="connsiteY63" fmla="*/ 6354693 h 6858000"/>
              <a:gd name="connsiteX64" fmla="*/ 935917 w 12192000"/>
              <a:gd name="connsiteY64" fmla="*/ 6531687 h 6858000"/>
              <a:gd name="connsiteX65" fmla="*/ 954581 w 12192000"/>
              <a:gd name="connsiteY65" fmla="*/ 6580597 h 6858000"/>
              <a:gd name="connsiteX66" fmla="*/ 932169 w 12192000"/>
              <a:gd name="connsiteY66" fmla="*/ 6622233 h 6858000"/>
              <a:gd name="connsiteX67" fmla="*/ 909641 w 12192000"/>
              <a:gd name="connsiteY67" fmla="*/ 6578211 h 6858000"/>
              <a:gd name="connsiteX68" fmla="*/ 909641 w 12192000"/>
              <a:gd name="connsiteY68" fmla="*/ 6499616 h 6858000"/>
              <a:gd name="connsiteX69" fmla="*/ 859391 w 12192000"/>
              <a:gd name="connsiteY69" fmla="*/ 6354587 h 6858000"/>
              <a:gd name="connsiteX70" fmla="*/ 856435 w 12192000"/>
              <a:gd name="connsiteY70" fmla="*/ 6352465 h 6858000"/>
              <a:gd name="connsiteX71" fmla="*/ 767716 w 12192000"/>
              <a:gd name="connsiteY71" fmla="*/ 6352465 h 6858000"/>
              <a:gd name="connsiteX72" fmla="*/ 764760 w 12192000"/>
              <a:gd name="connsiteY72" fmla="*/ 6354577 h 6858000"/>
              <a:gd name="connsiteX73" fmla="*/ 700543 w 12192000"/>
              <a:gd name="connsiteY73" fmla="*/ 6537684 h 6858000"/>
              <a:gd name="connsiteX74" fmla="*/ 699087 w 12192000"/>
              <a:gd name="connsiteY74" fmla="*/ 6537684 h 6858000"/>
              <a:gd name="connsiteX75" fmla="*/ 635482 w 12192000"/>
              <a:gd name="connsiteY75" fmla="*/ 6354587 h 6858000"/>
              <a:gd name="connsiteX76" fmla="*/ 632526 w 12192000"/>
              <a:gd name="connsiteY76" fmla="*/ 6352465 h 6858000"/>
              <a:gd name="connsiteX77" fmla="*/ 0 w 12192000"/>
              <a:gd name="connsiteY77" fmla="*/ 0 h 6858000"/>
              <a:gd name="connsiteX78" fmla="*/ 12192000 w 12192000"/>
              <a:gd name="connsiteY78" fmla="*/ 0 h 6858000"/>
              <a:gd name="connsiteX79" fmla="*/ 12192000 w 12192000"/>
              <a:gd name="connsiteY79" fmla="*/ 6858000 h 6858000"/>
              <a:gd name="connsiteX80" fmla="*/ 0 w 12192000"/>
              <a:gd name="connsiteY8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2192000" h="6858000">
                <a:moveTo>
                  <a:pt x="811590" y="6423839"/>
                </a:moveTo>
                <a:cubicBezTo>
                  <a:pt x="811780" y="6423840"/>
                  <a:pt x="812213" y="6424811"/>
                  <a:pt x="812551" y="6425983"/>
                </a:cubicBezTo>
                <a:lnTo>
                  <a:pt x="842986" y="6528784"/>
                </a:lnTo>
                <a:cubicBezTo>
                  <a:pt x="843296" y="6529592"/>
                  <a:pt x="842892" y="6530499"/>
                  <a:pt x="842084" y="6530809"/>
                </a:cubicBezTo>
                <a:cubicBezTo>
                  <a:pt x="841861" y="6530894"/>
                  <a:pt x="841620" y="6530928"/>
                  <a:pt x="841381" y="6530906"/>
                </a:cubicBezTo>
                <a:lnTo>
                  <a:pt x="781809" y="6530906"/>
                </a:lnTo>
                <a:cubicBezTo>
                  <a:pt x="780943" y="6530979"/>
                  <a:pt x="780182" y="6530335"/>
                  <a:pt x="780110" y="6529469"/>
                </a:cubicBezTo>
                <a:cubicBezTo>
                  <a:pt x="780090" y="6529236"/>
                  <a:pt x="780123" y="6529003"/>
                  <a:pt x="780205" y="6528784"/>
                </a:cubicBezTo>
                <a:lnTo>
                  <a:pt x="810640" y="6425983"/>
                </a:lnTo>
                <a:cubicBezTo>
                  <a:pt x="810784" y="6425203"/>
                  <a:pt x="811109" y="6424469"/>
                  <a:pt x="811590" y="6423839"/>
                </a:cubicBezTo>
                <a:close/>
                <a:moveTo>
                  <a:pt x="587691" y="6423839"/>
                </a:moveTo>
                <a:cubicBezTo>
                  <a:pt x="588172" y="6424469"/>
                  <a:pt x="588498" y="6425203"/>
                  <a:pt x="588641" y="6425983"/>
                </a:cubicBezTo>
                <a:lnTo>
                  <a:pt x="619077" y="6528784"/>
                </a:lnTo>
                <a:cubicBezTo>
                  <a:pt x="619392" y="6529585"/>
                  <a:pt x="618999" y="6530489"/>
                  <a:pt x="618198" y="6530804"/>
                </a:cubicBezTo>
                <a:cubicBezTo>
                  <a:pt x="617971" y="6530894"/>
                  <a:pt x="617726" y="6530929"/>
                  <a:pt x="617483" y="6530906"/>
                </a:cubicBezTo>
                <a:lnTo>
                  <a:pt x="557911" y="6530906"/>
                </a:lnTo>
                <a:cubicBezTo>
                  <a:pt x="557047" y="6530981"/>
                  <a:pt x="556285" y="6530342"/>
                  <a:pt x="556210" y="6529478"/>
                </a:cubicBezTo>
                <a:cubicBezTo>
                  <a:pt x="556189" y="6529243"/>
                  <a:pt x="556222" y="6529005"/>
                  <a:pt x="556306" y="6528784"/>
                </a:cubicBezTo>
                <a:lnTo>
                  <a:pt x="586752" y="6425983"/>
                </a:lnTo>
                <a:cubicBezTo>
                  <a:pt x="586899" y="6425207"/>
                  <a:pt x="587221" y="6424474"/>
                  <a:pt x="587691" y="6423839"/>
                </a:cubicBezTo>
                <a:close/>
                <a:moveTo>
                  <a:pt x="543817" y="6352465"/>
                </a:moveTo>
                <a:cubicBezTo>
                  <a:pt x="542502" y="6352525"/>
                  <a:pt x="541345" y="6353352"/>
                  <a:pt x="540861" y="6354577"/>
                </a:cubicBezTo>
                <a:lnTo>
                  <a:pt x="443053" y="6633486"/>
                </a:lnTo>
                <a:cubicBezTo>
                  <a:pt x="442706" y="6634227"/>
                  <a:pt x="443026" y="6635108"/>
                  <a:pt x="443767" y="6635455"/>
                </a:cubicBezTo>
                <a:cubicBezTo>
                  <a:pt x="444008" y="6635568"/>
                  <a:pt x="444276" y="6635614"/>
                  <a:pt x="444542" y="6635587"/>
                </a:cubicBezTo>
                <a:lnTo>
                  <a:pt x="521743" y="6635587"/>
                </a:lnTo>
                <a:cubicBezTo>
                  <a:pt x="523044" y="6635530"/>
                  <a:pt x="524178" y="6634685"/>
                  <a:pt x="524604" y="6633454"/>
                </a:cubicBezTo>
                <a:lnTo>
                  <a:pt x="537103" y="6591713"/>
                </a:lnTo>
                <a:cubicBezTo>
                  <a:pt x="537532" y="6590480"/>
                  <a:pt x="538670" y="6589634"/>
                  <a:pt x="539975" y="6589581"/>
                </a:cubicBezTo>
                <a:lnTo>
                  <a:pt x="635419" y="6589581"/>
                </a:lnTo>
                <a:cubicBezTo>
                  <a:pt x="636718" y="6589641"/>
                  <a:pt x="637850" y="6590485"/>
                  <a:pt x="638279" y="6591713"/>
                </a:cubicBezTo>
                <a:lnTo>
                  <a:pt x="650789" y="6633454"/>
                </a:lnTo>
                <a:cubicBezTo>
                  <a:pt x="651218" y="6634683"/>
                  <a:pt x="652350" y="6635527"/>
                  <a:pt x="653650" y="6635587"/>
                </a:cubicBezTo>
                <a:lnTo>
                  <a:pt x="745642" y="6635587"/>
                </a:lnTo>
                <a:cubicBezTo>
                  <a:pt x="746942" y="6635530"/>
                  <a:pt x="748076" y="6634685"/>
                  <a:pt x="748502" y="6633454"/>
                </a:cubicBezTo>
                <a:lnTo>
                  <a:pt x="761012" y="6591713"/>
                </a:lnTo>
                <a:cubicBezTo>
                  <a:pt x="761433" y="6590479"/>
                  <a:pt x="762570" y="6589631"/>
                  <a:pt x="763873" y="6589581"/>
                </a:cubicBezTo>
                <a:lnTo>
                  <a:pt x="859328" y="6589581"/>
                </a:lnTo>
                <a:cubicBezTo>
                  <a:pt x="860627" y="6589641"/>
                  <a:pt x="861759" y="6590485"/>
                  <a:pt x="862189" y="6591713"/>
                </a:cubicBezTo>
                <a:lnTo>
                  <a:pt x="874677" y="6633454"/>
                </a:lnTo>
                <a:cubicBezTo>
                  <a:pt x="875108" y="6634681"/>
                  <a:pt x="876240" y="6635524"/>
                  <a:pt x="877538" y="6635587"/>
                </a:cubicBezTo>
                <a:lnTo>
                  <a:pt x="1009888" y="6635587"/>
                </a:lnTo>
                <a:cubicBezTo>
                  <a:pt x="1011119" y="6635584"/>
                  <a:pt x="1012118" y="6634590"/>
                  <a:pt x="1012126" y="6633359"/>
                </a:cubicBezTo>
                <a:lnTo>
                  <a:pt x="1012126" y="6558121"/>
                </a:lnTo>
                <a:cubicBezTo>
                  <a:pt x="1012196" y="6556706"/>
                  <a:pt x="1012743" y="6555355"/>
                  <a:pt x="1013678" y="6554289"/>
                </a:cubicBezTo>
                <a:lnTo>
                  <a:pt x="1042910" y="6524182"/>
                </a:lnTo>
                <a:cubicBezTo>
                  <a:pt x="1043506" y="6523478"/>
                  <a:pt x="1044560" y="6523390"/>
                  <a:pt x="1045265" y="6523986"/>
                </a:cubicBezTo>
                <a:cubicBezTo>
                  <a:pt x="1045423" y="6524121"/>
                  <a:pt x="1045555" y="6524284"/>
                  <a:pt x="1045655" y="6524467"/>
                </a:cubicBezTo>
                <a:lnTo>
                  <a:pt x="1114041" y="6633698"/>
                </a:lnTo>
                <a:cubicBezTo>
                  <a:pt x="1114797" y="6634897"/>
                  <a:pt x="1116125" y="6635613"/>
                  <a:pt x="1117542" y="6635587"/>
                </a:cubicBezTo>
                <a:lnTo>
                  <a:pt x="1214827" y="6635587"/>
                </a:lnTo>
                <a:cubicBezTo>
                  <a:pt x="1216062" y="6635587"/>
                  <a:pt x="1216516" y="6634743"/>
                  <a:pt x="1215840" y="6633718"/>
                </a:cubicBezTo>
                <a:lnTo>
                  <a:pt x="1106842" y="6465760"/>
                </a:lnTo>
                <a:cubicBezTo>
                  <a:pt x="1106173" y="6464657"/>
                  <a:pt x="1106296" y="6463247"/>
                  <a:pt x="1107148" y="6462277"/>
                </a:cubicBezTo>
                <a:lnTo>
                  <a:pt x="1207532" y="6354102"/>
                </a:lnTo>
                <a:cubicBezTo>
                  <a:pt x="1208366" y="6353204"/>
                  <a:pt x="1208049" y="6352465"/>
                  <a:pt x="1206825" y="6352465"/>
                </a:cubicBezTo>
                <a:lnTo>
                  <a:pt x="1109766" y="6352465"/>
                </a:lnTo>
                <a:cubicBezTo>
                  <a:pt x="1108370" y="6352546"/>
                  <a:pt x="1107057" y="6353153"/>
                  <a:pt x="1106092" y="6354165"/>
                </a:cubicBezTo>
                <a:lnTo>
                  <a:pt x="1013573" y="6461812"/>
                </a:lnTo>
                <a:cubicBezTo>
                  <a:pt x="1012770" y="6462741"/>
                  <a:pt x="1012126" y="6462488"/>
                  <a:pt x="1012126" y="6461263"/>
                </a:cubicBezTo>
                <a:lnTo>
                  <a:pt x="1012126" y="6354693"/>
                </a:lnTo>
                <a:cubicBezTo>
                  <a:pt x="1012117" y="6353462"/>
                  <a:pt x="1011119" y="6352468"/>
                  <a:pt x="1009888" y="6352465"/>
                </a:cubicBezTo>
                <a:lnTo>
                  <a:pt x="938134" y="6352465"/>
                </a:lnTo>
                <a:cubicBezTo>
                  <a:pt x="936911" y="6352478"/>
                  <a:pt x="935923" y="6353469"/>
                  <a:pt x="935917" y="6354693"/>
                </a:cubicBezTo>
                <a:lnTo>
                  <a:pt x="935917" y="6531687"/>
                </a:lnTo>
                <a:cubicBezTo>
                  <a:pt x="935526" y="6564445"/>
                  <a:pt x="942853" y="6560317"/>
                  <a:pt x="954581" y="6580597"/>
                </a:cubicBezTo>
                <a:cubicBezTo>
                  <a:pt x="964198" y="6597192"/>
                  <a:pt x="955996" y="6620596"/>
                  <a:pt x="932169" y="6622233"/>
                </a:cubicBezTo>
                <a:cubicBezTo>
                  <a:pt x="912291" y="6623605"/>
                  <a:pt x="894798" y="6600940"/>
                  <a:pt x="909641" y="6578211"/>
                </a:cubicBezTo>
                <a:cubicBezTo>
                  <a:pt x="925318" y="6554247"/>
                  <a:pt x="931895" y="6565342"/>
                  <a:pt x="909641" y="6499616"/>
                </a:cubicBezTo>
                <a:lnTo>
                  <a:pt x="859391" y="6354587"/>
                </a:lnTo>
                <a:cubicBezTo>
                  <a:pt x="858913" y="6353357"/>
                  <a:pt x="857754" y="6352525"/>
                  <a:pt x="856435" y="6352465"/>
                </a:cubicBezTo>
                <a:lnTo>
                  <a:pt x="767716" y="6352465"/>
                </a:lnTo>
                <a:cubicBezTo>
                  <a:pt x="766401" y="6352525"/>
                  <a:pt x="765243" y="6353352"/>
                  <a:pt x="764760" y="6354577"/>
                </a:cubicBezTo>
                <a:lnTo>
                  <a:pt x="700543" y="6537684"/>
                </a:lnTo>
                <a:cubicBezTo>
                  <a:pt x="700132" y="6538845"/>
                  <a:pt x="699477" y="6538845"/>
                  <a:pt x="699087" y="6537684"/>
                </a:cubicBezTo>
                <a:lnTo>
                  <a:pt x="635482" y="6354587"/>
                </a:lnTo>
                <a:cubicBezTo>
                  <a:pt x="635004" y="6353357"/>
                  <a:pt x="633844" y="6352525"/>
                  <a:pt x="632526" y="6352465"/>
                </a:cubicBezTo>
                <a:close/>
                <a:moveTo>
                  <a:pt x="0" y="0"/>
                </a:moveTo>
                <a:lnTo>
                  <a:pt x="12192000" y="0"/>
                </a:lnTo>
                <a:lnTo>
                  <a:pt x="12192000" y="6858000"/>
                </a:lnTo>
                <a:lnTo>
                  <a:pt x="0" y="6858000"/>
                </a:lnTo>
                <a:close/>
              </a:path>
            </a:pathLst>
          </a:custGeom>
          <a:solidFill>
            <a:schemeClr val="bg1">
              <a:lumMod val="85000"/>
            </a:schemeClr>
          </a:solidFill>
          <a:ln>
            <a:noFill/>
          </a:ln>
        </p:spPr>
        <p:txBody>
          <a:bodyPr wrap="square" lIns="0" tIns="3708000">
            <a:noAutofit/>
          </a:bodyPr>
          <a:lstStyle>
            <a:lvl1pPr marL="0" indent="0" algn="ctr">
              <a:buNone/>
              <a:defRPr i="1">
                <a:solidFill>
                  <a:schemeClr val="tx2"/>
                </a:solidFill>
              </a:defRPr>
            </a:lvl1pPr>
          </a:lstStyle>
          <a:p>
            <a:r>
              <a:rPr lang="en-US"/>
              <a:t>Click icon to add picture</a:t>
            </a:r>
          </a:p>
        </p:txBody>
      </p:sp>
      <p:sp>
        <p:nvSpPr>
          <p:cNvPr id="2" name="Title 1"/>
          <p:cNvSpPr>
            <a:spLocks noGrp="1"/>
          </p:cNvSpPr>
          <p:nvPr>
            <p:ph type="ctrTitle" hasCustomPrompt="1"/>
          </p:nvPr>
        </p:nvSpPr>
        <p:spPr>
          <a:xfrm>
            <a:off x="457200" y="998538"/>
            <a:ext cx="10637838" cy="1661993"/>
          </a:xfrm>
        </p:spPr>
        <p:txBody>
          <a:bodyPr>
            <a:noAutofit/>
          </a:bodyPr>
          <a:lstStyle>
            <a:lvl1pPr algn="l">
              <a:defRPr sz="6000">
                <a:solidFill>
                  <a:schemeClr val="bg1"/>
                </a:solidFill>
                <a:latin typeface="+mj-lt"/>
              </a:defRPr>
            </a:lvl1pPr>
          </a:lstStyle>
          <a:p>
            <a:r>
              <a:rPr lang="en-US" noProof="0"/>
              <a:t>Click to add presentation title</a:t>
            </a:r>
          </a:p>
        </p:txBody>
      </p:sp>
      <p:sp>
        <p:nvSpPr>
          <p:cNvPr id="3" name="Subtitle 2"/>
          <p:cNvSpPr>
            <a:spLocks noGrp="1"/>
          </p:cNvSpPr>
          <p:nvPr>
            <p:ph type="subTitle" idx="1"/>
          </p:nvPr>
        </p:nvSpPr>
        <p:spPr>
          <a:xfrm>
            <a:off x="457200" y="2776299"/>
            <a:ext cx="10637838" cy="387798"/>
          </a:xfrm>
        </p:spPr>
        <p:txBody>
          <a:bodyPr>
            <a:noAutofit/>
          </a:bodyPr>
          <a:lstStyle>
            <a:lvl1pPr marL="0" indent="0" algn="l">
              <a:buNone/>
              <a:defRPr sz="2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11CF42BA-903B-4F6C-A3FC-21044DC81208}" type="datetime1">
              <a:rPr lang="en-GB" smtClean="0"/>
              <a:t>18/06/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The Co-Development Company</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03DD7B-12C8-43B8-9F45-989336E79744}" type="slidenum">
              <a:rPr lang="en-US" smtClean="0"/>
              <a:pPr/>
              <a:t>‹#›</a:t>
            </a:fld>
            <a:endParaRPr lang="en-US"/>
          </a:p>
        </p:txBody>
      </p:sp>
    </p:spTree>
    <p:extLst>
      <p:ext uri="{BB962C8B-B14F-4D97-AF65-F5344CB8AC3E}">
        <p14:creationId xmlns:p14="http://schemas.microsoft.com/office/powerpoint/2010/main" val="3974210505"/>
      </p:ext>
    </p:extLst>
  </p:cSld>
  <p:clrMapOvr>
    <a:masterClrMapping/>
  </p:clrMapOvr>
  <p:hf sldNum="0" hdr="0" dt="0"/>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Picture right_White footer">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noProof="0"/>
              <a:t>The Co-Development Company</a:t>
            </a:r>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1219200"/>
            <a:ext cx="7273925" cy="4910138"/>
          </a:xfrm>
        </p:spPr>
        <p:txBody>
          <a:bodyPr/>
          <a:lstStyle>
            <a:lvl4pPr>
              <a:lnSpc>
                <a:spcPct val="90000"/>
              </a:lnSpc>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CC509639-F8F2-4A3B-8E77-BF2B3C0FB070}"/>
              </a:ext>
            </a:extLst>
          </p:cNvPr>
          <p:cNvSpPr>
            <a:spLocks noGrp="1"/>
          </p:cNvSpPr>
          <p:nvPr>
            <p:ph type="title"/>
          </p:nvPr>
        </p:nvSpPr>
        <p:spPr>
          <a:xfrm>
            <a:off x="442913" y="221456"/>
            <a:ext cx="7273925" cy="775597"/>
          </a:xfrm>
        </p:spPr>
        <p:txBody>
          <a:bodyPr/>
          <a:lstStyle/>
          <a:p>
            <a:r>
              <a:rPr lang="en-US"/>
              <a:t>Click to edit Master title style</a:t>
            </a:r>
          </a:p>
        </p:txBody>
      </p:sp>
      <p:sp>
        <p:nvSpPr>
          <p:cNvPr id="13" name="Picture Placeholder 12">
            <a:extLst>
              <a:ext uri="{FF2B5EF4-FFF2-40B4-BE49-F238E27FC236}">
                <a16:creationId xmlns:a16="http://schemas.microsoft.com/office/drawing/2014/main" id="{6E3AD4FA-B85C-4165-BD3B-78778C0EA996}"/>
              </a:ext>
            </a:extLst>
          </p:cNvPr>
          <p:cNvSpPr>
            <a:spLocks noGrp="1"/>
          </p:cNvSpPr>
          <p:nvPr>
            <p:ph type="pic" sz="quarter" idx="15"/>
          </p:nvPr>
        </p:nvSpPr>
        <p:spPr>
          <a:xfrm>
            <a:off x="8126413" y="0"/>
            <a:ext cx="4065587" cy="6858000"/>
          </a:xfrm>
          <a:custGeom>
            <a:avLst/>
            <a:gdLst>
              <a:gd name="connsiteX0" fmla="*/ 920567 w 4065587"/>
              <a:gd name="connsiteY0" fmla="*/ 0 h 6858000"/>
              <a:gd name="connsiteX1" fmla="*/ 4043657 w 4065587"/>
              <a:gd name="connsiteY1" fmla="*/ 0 h 6858000"/>
              <a:gd name="connsiteX2" fmla="*/ 4065587 w 4065587"/>
              <a:gd name="connsiteY2" fmla="*/ 0 h 6858000"/>
              <a:gd name="connsiteX3" fmla="*/ 4065587 w 4065587"/>
              <a:gd name="connsiteY3" fmla="*/ 6858000 h 6858000"/>
              <a:gd name="connsiteX4" fmla="*/ 391433 w 4065587"/>
              <a:gd name="connsiteY4" fmla="*/ 6858000 h 6858000"/>
              <a:gd name="connsiteX5" fmla="*/ 353297 w 4065587"/>
              <a:gd name="connsiteY5" fmla="*/ 3448050 h 6858000"/>
              <a:gd name="connsiteX6" fmla="*/ 920567 w 406558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5587" h="6858000">
                <a:moveTo>
                  <a:pt x="920567" y="0"/>
                </a:moveTo>
                <a:cubicBezTo>
                  <a:pt x="2582752" y="0"/>
                  <a:pt x="3517731" y="0"/>
                  <a:pt x="4043657" y="0"/>
                </a:cubicBezTo>
                <a:lnTo>
                  <a:pt x="4065587" y="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p>
        </p:txBody>
      </p:sp>
      <p:sp>
        <p:nvSpPr>
          <p:cNvPr id="4" name="Date Placeholder 3"/>
          <p:cNvSpPr>
            <a:spLocks noGrp="1"/>
          </p:cNvSpPr>
          <p:nvPr>
            <p:ph type="dt" sz="half" idx="10"/>
          </p:nvPr>
        </p:nvSpPr>
        <p:spPr/>
        <p:txBody>
          <a:bodyPr/>
          <a:lstStyle>
            <a:lvl1pPr>
              <a:defRPr>
                <a:solidFill>
                  <a:schemeClr val="bg1"/>
                </a:solidFill>
              </a:defRPr>
            </a:lvl1pPr>
          </a:lstStyle>
          <a:p>
            <a:fld id="{6FA88067-98B4-4934-B894-F3DCA26D4A52}" type="datetime1">
              <a:rPr lang="en-GB" smtClean="0"/>
              <a:t>18/06/2025</a:t>
            </a:fld>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03DD7B-12C8-43B8-9F45-989336E79744}" type="slidenum">
              <a:rPr lang="en-US" smtClean="0"/>
              <a:pPr/>
              <a:t>‹#›</a:t>
            </a:fld>
            <a:endParaRPr lang="en-US"/>
          </a:p>
        </p:txBody>
      </p:sp>
    </p:spTree>
    <p:extLst>
      <p:ext uri="{BB962C8B-B14F-4D97-AF65-F5344CB8AC3E}">
        <p14:creationId xmlns:p14="http://schemas.microsoft.com/office/powerpoint/2010/main" val="3049494212"/>
      </p:ext>
    </p:extLst>
  </p:cSld>
  <p:clrMapOvr>
    <a:masterClrMapping/>
  </p:clrMapOvr>
  <p:extLst>
    <p:ext uri="{DCECCB84-F9BA-43D5-87BE-67443E8EF086}">
      <p15:sldGuideLst xmlns:p15="http://schemas.microsoft.com/office/powerpoint/2012/main">
        <p15:guide id="1" pos="486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a:xfrm>
            <a:off x="10387406" y="6456641"/>
            <a:ext cx="782265" cy="184666"/>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30" normalizeH="0" baseline="0" noProof="0">
                <a:ln>
                  <a:noFill/>
                </a:ln>
                <a:solidFill>
                  <a:srgbClr val="2067CA"/>
                </a:solidFill>
                <a:effectLst/>
                <a:uLnTx/>
                <a:uFillTx/>
                <a:latin typeface="Work Sans Light"/>
                <a:ea typeface="+mn-ea"/>
                <a:cs typeface="+mn-cs"/>
              </a:rPr>
              <a:t>2018-03-22</a:t>
            </a: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30" normalizeH="0" baseline="0" noProof="0">
                <a:ln>
                  <a:noFill/>
                </a:ln>
                <a:solidFill>
                  <a:srgbClr val="2067CA"/>
                </a:solidFill>
                <a:effectLst/>
                <a:uLnTx/>
                <a:uFillTx/>
                <a:latin typeface="Work Sans Light"/>
                <a:ea typeface="+mn-ea"/>
                <a:cs typeface="+mn-cs"/>
              </a:rPr>
              <a:t>AAK Academy France 2018</a:t>
            </a:r>
          </a:p>
        </p:txBody>
      </p:sp>
      <p:sp>
        <p:nvSpPr>
          <p:cNvPr id="6" name="Slide Number Placeholder 5"/>
          <p:cNvSpPr>
            <a:spLocks noGrp="1"/>
          </p:cNvSpPr>
          <p:nvPr>
            <p:ph type="sldNum" sz="quarter" idx="12"/>
          </p:nvPr>
        </p:nvSpPr>
        <p:spPr/>
        <p:txBody>
          <a:bodyPr/>
          <a:lstStyle>
            <a:lvl1pPr>
              <a:defRPr>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2C63280-7450-40C6-A390-1C3D150B86C7}" type="slidenum">
              <a:rPr kumimoji="0" lang="sv-SE" sz="1200" b="0" i="0" u="none" strike="noStrike" kern="1200" cap="none" spc="-30" normalizeH="0" baseline="0" noProof="0" smtClean="0">
                <a:ln>
                  <a:noFill/>
                </a:ln>
                <a:solidFill>
                  <a:prstClr val="white">
                    <a:lumMod val="50000"/>
                  </a:prstClr>
                </a:solidFill>
                <a:effectLst/>
                <a:uLnTx/>
                <a:uFillTx/>
                <a:latin typeface="Work Sa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30" normalizeH="0" baseline="0" noProof="0">
              <a:ln>
                <a:noFill/>
              </a:ln>
              <a:solidFill>
                <a:prstClr val="white">
                  <a:lumMod val="50000"/>
                </a:prstClr>
              </a:solidFill>
              <a:effectLst/>
              <a:uLnTx/>
              <a:uFillTx/>
              <a:latin typeface="Work Sans Light"/>
              <a:ea typeface="+mn-ea"/>
              <a:cs typeface="+mn-cs"/>
            </a:endParaRPr>
          </a:p>
        </p:txBody>
      </p:sp>
    </p:spTree>
    <p:extLst>
      <p:ext uri="{BB962C8B-B14F-4D97-AF65-F5344CB8AC3E}">
        <p14:creationId xmlns:p14="http://schemas.microsoft.com/office/powerpoint/2010/main" val="28971414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1F4DF6B-371F-8748-4731-DA1026A96905}"/>
              </a:ext>
            </a:extLst>
          </p:cNvPr>
          <p:cNvGraphicFramePr>
            <a:graphicFrameLocks noChangeAspect="1"/>
          </p:cNvGraphicFramePr>
          <p:nvPr userDrawn="1">
            <p:custDataLst>
              <p:tags r:id="rId1"/>
            </p:custDataLst>
            <p:extLst>
              <p:ext uri="{D42A27DB-BD31-4B8C-83A1-F6EECF244321}">
                <p14:modId xmlns:p14="http://schemas.microsoft.com/office/powerpoint/2010/main" val="2492760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think-cell data - do not delete" hidden="1">
                        <a:extLst>
                          <a:ext uri="{FF2B5EF4-FFF2-40B4-BE49-F238E27FC236}">
                            <a16:creationId xmlns:a16="http://schemas.microsoft.com/office/drawing/2014/main" id="{41F4DF6B-371F-8748-4731-DA1026A969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53F5199E-3999-31BC-9797-34E535043E26}"/>
              </a:ext>
            </a:extLst>
          </p:cNvPr>
          <p:cNvSpPr>
            <a:spLocks/>
          </p:cNvSpPr>
          <p:nvPr userDrawn="1"/>
        </p:nvSpPr>
        <p:spPr>
          <a:xfrm>
            <a:off x="0" y="0"/>
            <a:ext cx="12192000" cy="6858000"/>
          </a:xfrm>
          <a:prstGeom prst="rect">
            <a:avLst/>
          </a:prstGeom>
          <a:solidFill>
            <a:schemeClr val="bg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22" name="Rectangle 21">
            <a:extLst>
              <a:ext uri="{FF2B5EF4-FFF2-40B4-BE49-F238E27FC236}">
                <a16:creationId xmlns:a16="http://schemas.microsoft.com/office/drawing/2014/main" id="{A2400EB2-FDDA-0CDF-9607-A85723C7E1F9}"/>
              </a:ext>
            </a:extLst>
          </p:cNvPr>
          <p:cNvSpPr>
            <a:spLocks/>
          </p:cNvSpPr>
          <p:nvPr userDrawn="1"/>
        </p:nvSpPr>
        <p:spPr>
          <a:xfrm>
            <a:off x="442911" y="3202702"/>
            <a:ext cx="11306178" cy="1074140"/>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The following layouts are for title and divider slides.</a:t>
            </a: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Do not use this slide)</a:t>
            </a:r>
            <a:endParaRPr kumimoji="0" lang="en-US" sz="11500" b="0" i="0" u="none" strike="noStrike" kern="1200" cap="none" spc="-30" normalizeH="0" baseline="0" noProof="0" dirty="0">
              <a:ln>
                <a:noFill/>
              </a:ln>
              <a:solidFill>
                <a:srgbClr val="00264E"/>
              </a:solidFill>
              <a:effectLst/>
              <a:uLnTx/>
              <a:uFillTx/>
              <a:latin typeface="Work Sans Medium" pitchFamily="2" charset="0"/>
              <a:ea typeface="+mn-ea"/>
              <a:cs typeface="+mn-cs"/>
            </a:endParaRPr>
          </a:p>
        </p:txBody>
      </p:sp>
      <p:sp>
        <p:nvSpPr>
          <p:cNvPr id="23" name="Rectangle 22">
            <a:extLst>
              <a:ext uri="{FF2B5EF4-FFF2-40B4-BE49-F238E27FC236}">
                <a16:creationId xmlns:a16="http://schemas.microsoft.com/office/drawing/2014/main" id="{D77B3FDF-EE1C-B6F0-5CFA-715199ECBACC}"/>
              </a:ext>
            </a:extLst>
          </p:cNvPr>
          <p:cNvSpPr>
            <a:spLocks/>
          </p:cNvSpPr>
          <p:nvPr userDrawn="1"/>
        </p:nvSpPr>
        <p:spPr>
          <a:xfrm>
            <a:off x="1102648" y="2202881"/>
            <a:ext cx="9986708" cy="914096"/>
          </a:xfrm>
          <a:prstGeom prst="rect">
            <a:avLst/>
          </a:prstGeom>
          <a:noFill/>
          <a:ln w="9525" cap="flat">
            <a:noFill/>
            <a:prstDash val="solid"/>
            <a:miter/>
          </a:ln>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6600" b="0" i="0" u="none" strike="noStrike" kern="1200" cap="none" spc="-30" normalizeH="0" baseline="0" noProof="0" dirty="0">
                <a:ln>
                  <a:noFill/>
                </a:ln>
                <a:solidFill>
                  <a:srgbClr val="00264E"/>
                </a:solidFill>
                <a:effectLst/>
                <a:uLnTx/>
                <a:uFillTx/>
                <a:latin typeface="Work Sans Medium" pitchFamily="2" charset="0"/>
                <a:ea typeface="+mn-ea"/>
                <a:cs typeface="+mn-cs"/>
              </a:rPr>
              <a:t>Title and divider layouts</a:t>
            </a:r>
          </a:p>
        </p:txBody>
      </p:sp>
    </p:spTree>
    <p:extLst>
      <p:ext uri="{BB962C8B-B14F-4D97-AF65-F5344CB8AC3E}">
        <p14:creationId xmlns:p14="http://schemas.microsoft.com/office/powerpoint/2010/main" val="12676012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_White logo">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90A70F0-0D66-E30E-ABE2-832F4257DB3C}"/>
              </a:ext>
            </a:extLst>
          </p:cNvPr>
          <p:cNvGraphicFramePr>
            <a:graphicFrameLocks noChangeAspect="1"/>
          </p:cNvGraphicFramePr>
          <p:nvPr userDrawn="1">
            <p:custDataLst>
              <p:tags r:id="rId1"/>
            </p:custDataLst>
            <p:extLst>
              <p:ext uri="{D42A27DB-BD31-4B8C-83A1-F6EECF244321}">
                <p14:modId xmlns:p14="http://schemas.microsoft.com/office/powerpoint/2010/main" val="352448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think-cell data - do not delete" hidden="1">
                        <a:extLst>
                          <a:ext uri="{FF2B5EF4-FFF2-40B4-BE49-F238E27FC236}">
                            <a16:creationId xmlns:a16="http://schemas.microsoft.com/office/drawing/2014/main" id="{290A70F0-0D66-E30E-ABE2-832F4257DB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ADA750E9-3CE5-45DE-B0E3-9357B1119808}"/>
              </a:ext>
            </a:extLst>
          </p:cNvPr>
          <p:cNvSpPr/>
          <p:nvPr userDrawn="1"/>
        </p:nvSpPr>
        <p:spPr>
          <a:xfrm>
            <a:off x="0" y="6308725"/>
            <a:ext cx="1279525" cy="549275"/>
          </a:xfrm>
          <a:prstGeom prst="rect">
            <a:avLst/>
          </a:pr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14" name="Picture Placeholder 13">
            <a:extLst>
              <a:ext uri="{FF2B5EF4-FFF2-40B4-BE49-F238E27FC236}">
                <a16:creationId xmlns:a16="http://schemas.microsoft.com/office/drawing/2014/main" id="{F17ACFB9-2EDF-4944-A0E9-5A9584F12CDE}"/>
              </a:ext>
            </a:extLst>
          </p:cNvPr>
          <p:cNvSpPr>
            <a:spLocks noGrp="1"/>
          </p:cNvSpPr>
          <p:nvPr>
            <p:ph type="pic" sz="quarter" idx="13"/>
          </p:nvPr>
        </p:nvSpPr>
        <p:spPr>
          <a:xfrm>
            <a:off x="0" y="0"/>
            <a:ext cx="12192000" cy="6858000"/>
          </a:xfrm>
          <a:custGeom>
            <a:avLst/>
            <a:gdLst>
              <a:gd name="connsiteX0" fmla="*/ 811590 w 12192000"/>
              <a:gd name="connsiteY0" fmla="*/ 6423839 h 6858000"/>
              <a:gd name="connsiteX1" fmla="*/ 812551 w 12192000"/>
              <a:gd name="connsiteY1" fmla="*/ 6425983 h 6858000"/>
              <a:gd name="connsiteX2" fmla="*/ 842986 w 12192000"/>
              <a:gd name="connsiteY2" fmla="*/ 6528784 h 6858000"/>
              <a:gd name="connsiteX3" fmla="*/ 842084 w 12192000"/>
              <a:gd name="connsiteY3" fmla="*/ 6530809 h 6858000"/>
              <a:gd name="connsiteX4" fmla="*/ 841381 w 12192000"/>
              <a:gd name="connsiteY4" fmla="*/ 6530906 h 6858000"/>
              <a:gd name="connsiteX5" fmla="*/ 781809 w 12192000"/>
              <a:gd name="connsiteY5" fmla="*/ 6530906 h 6858000"/>
              <a:gd name="connsiteX6" fmla="*/ 780110 w 12192000"/>
              <a:gd name="connsiteY6" fmla="*/ 6529469 h 6858000"/>
              <a:gd name="connsiteX7" fmla="*/ 780205 w 12192000"/>
              <a:gd name="connsiteY7" fmla="*/ 6528784 h 6858000"/>
              <a:gd name="connsiteX8" fmla="*/ 810640 w 12192000"/>
              <a:gd name="connsiteY8" fmla="*/ 6425983 h 6858000"/>
              <a:gd name="connsiteX9" fmla="*/ 811590 w 12192000"/>
              <a:gd name="connsiteY9" fmla="*/ 6423839 h 6858000"/>
              <a:gd name="connsiteX10" fmla="*/ 587691 w 12192000"/>
              <a:gd name="connsiteY10" fmla="*/ 6423839 h 6858000"/>
              <a:gd name="connsiteX11" fmla="*/ 588641 w 12192000"/>
              <a:gd name="connsiteY11" fmla="*/ 6425983 h 6858000"/>
              <a:gd name="connsiteX12" fmla="*/ 619077 w 12192000"/>
              <a:gd name="connsiteY12" fmla="*/ 6528784 h 6858000"/>
              <a:gd name="connsiteX13" fmla="*/ 618198 w 12192000"/>
              <a:gd name="connsiteY13" fmla="*/ 6530804 h 6858000"/>
              <a:gd name="connsiteX14" fmla="*/ 617483 w 12192000"/>
              <a:gd name="connsiteY14" fmla="*/ 6530906 h 6858000"/>
              <a:gd name="connsiteX15" fmla="*/ 557911 w 12192000"/>
              <a:gd name="connsiteY15" fmla="*/ 6530906 h 6858000"/>
              <a:gd name="connsiteX16" fmla="*/ 556210 w 12192000"/>
              <a:gd name="connsiteY16" fmla="*/ 6529478 h 6858000"/>
              <a:gd name="connsiteX17" fmla="*/ 556306 w 12192000"/>
              <a:gd name="connsiteY17" fmla="*/ 6528784 h 6858000"/>
              <a:gd name="connsiteX18" fmla="*/ 586752 w 12192000"/>
              <a:gd name="connsiteY18" fmla="*/ 6425983 h 6858000"/>
              <a:gd name="connsiteX19" fmla="*/ 587691 w 12192000"/>
              <a:gd name="connsiteY19" fmla="*/ 6423839 h 6858000"/>
              <a:gd name="connsiteX20" fmla="*/ 543817 w 12192000"/>
              <a:gd name="connsiteY20" fmla="*/ 6352465 h 6858000"/>
              <a:gd name="connsiteX21" fmla="*/ 540861 w 12192000"/>
              <a:gd name="connsiteY21" fmla="*/ 6354577 h 6858000"/>
              <a:gd name="connsiteX22" fmla="*/ 443053 w 12192000"/>
              <a:gd name="connsiteY22" fmla="*/ 6633486 h 6858000"/>
              <a:gd name="connsiteX23" fmla="*/ 443767 w 12192000"/>
              <a:gd name="connsiteY23" fmla="*/ 6635455 h 6858000"/>
              <a:gd name="connsiteX24" fmla="*/ 444542 w 12192000"/>
              <a:gd name="connsiteY24" fmla="*/ 6635587 h 6858000"/>
              <a:gd name="connsiteX25" fmla="*/ 521743 w 12192000"/>
              <a:gd name="connsiteY25" fmla="*/ 6635587 h 6858000"/>
              <a:gd name="connsiteX26" fmla="*/ 524604 w 12192000"/>
              <a:gd name="connsiteY26" fmla="*/ 6633454 h 6858000"/>
              <a:gd name="connsiteX27" fmla="*/ 537103 w 12192000"/>
              <a:gd name="connsiteY27" fmla="*/ 6591713 h 6858000"/>
              <a:gd name="connsiteX28" fmla="*/ 539975 w 12192000"/>
              <a:gd name="connsiteY28" fmla="*/ 6589581 h 6858000"/>
              <a:gd name="connsiteX29" fmla="*/ 635419 w 12192000"/>
              <a:gd name="connsiteY29" fmla="*/ 6589581 h 6858000"/>
              <a:gd name="connsiteX30" fmla="*/ 638279 w 12192000"/>
              <a:gd name="connsiteY30" fmla="*/ 6591713 h 6858000"/>
              <a:gd name="connsiteX31" fmla="*/ 650789 w 12192000"/>
              <a:gd name="connsiteY31" fmla="*/ 6633454 h 6858000"/>
              <a:gd name="connsiteX32" fmla="*/ 653650 w 12192000"/>
              <a:gd name="connsiteY32" fmla="*/ 6635587 h 6858000"/>
              <a:gd name="connsiteX33" fmla="*/ 745642 w 12192000"/>
              <a:gd name="connsiteY33" fmla="*/ 6635587 h 6858000"/>
              <a:gd name="connsiteX34" fmla="*/ 748502 w 12192000"/>
              <a:gd name="connsiteY34" fmla="*/ 6633454 h 6858000"/>
              <a:gd name="connsiteX35" fmla="*/ 761012 w 12192000"/>
              <a:gd name="connsiteY35" fmla="*/ 6591713 h 6858000"/>
              <a:gd name="connsiteX36" fmla="*/ 763873 w 12192000"/>
              <a:gd name="connsiteY36" fmla="*/ 6589581 h 6858000"/>
              <a:gd name="connsiteX37" fmla="*/ 859328 w 12192000"/>
              <a:gd name="connsiteY37" fmla="*/ 6589581 h 6858000"/>
              <a:gd name="connsiteX38" fmla="*/ 862189 w 12192000"/>
              <a:gd name="connsiteY38" fmla="*/ 6591713 h 6858000"/>
              <a:gd name="connsiteX39" fmla="*/ 874677 w 12192000"/>
              <a:gd name="connsiteY39" fmla="*/ 6633454 h 6858000"/>
              <a:gd name="connsiteX40" fmla="*/ 877538 w 12192000"/>
              <a:gd name="connsiteY40" fmla="*/ 6635587 h 6858000"/>
              <a:gd name="connsiteX41" fmla="*/ 1009888 w 12192000"/>
              <a:gd name="connsiteY41" fmla="*/ 6635587 h 6858000"/>
              <a:gd name="connsiteX42" fmla="*/ 1012126 w 12192000"/>
              <a:gd name="connsiteY42" fmla="*/ 6633359 h 6858000"/>
              <a:gd name="connsiteX43" fmla="*/ 1012126 w 12192000"/>
              <a:gd name="connsiteY43" fmla="*/ 6558121 h 6858000"/>
              <a:gd name="connsiteX44" fmla="*/ 1013678 w 12192000"/>
              <a:gd name="connsiteY44" fmla="*/ 6554289 h 6858000"/>
              <a:gd name="connsiteX45" fmla="*/ 1042910 w 12192000"/>
              <a:gd name="connsiteY45" fmla="*/ 6524182 h 6858000"/>
              <a:gd name="connsiteX46" fmla="*/ 1045265 w 12192000"/>
              <a:gd name="connsiteY46" fmla="*/ 6523986 h 6858000"/>
              <a:gd name="connsiteX47" fmla="*/ 1045655 w 12192000"/>
              <a:gd name="connsiteY47" fmla="*/ 6524467 h 6858000"/>
              <a:gd name="connsiteX48" fmla="*/ 1114041 w 12192000"/>
              <a:gd name="connsiteY48" fmla="*/ 6633698 h 6858000"/>
              <a:gd name="connsiteX49" fmla="*/ 1117542 w 12192000"/>
              <a:gd name="connsiteY49" fmla="*/ 6635587 h 6858000"/>
              <a:gd name="connsiteX50" fmla="*/ 1214827 w 12192000"/>
              <a:gd name="connsiteY50" fmla="*/ 6635587 h 6858000"/>
              <a:gd name="connsiteX51" fmla="*/ 1215840 w 12192000"/>
              <a:gd name="connsiteY51" fmla="*/ 6633718 h 6858000"/>
              <a:gd name="connsiteX52" fmla="*/ 1106842 w 12192000"/>
              <a:gd name="connsiteY52" fmla="*/ 6465760 h 6858000"/>
              <a:gd name="connsiteX53" fmla="*/ 1107148 w 12192000"/>
              <a:gd name="connsiteY53" fmla="*/ 6462277 h 6858000"/>
              <a:gd name="connsiteX54" fmla="*/ 1207532 w 12192000"/>
              <a:gd name="connsiteY54" fmla="*/ 6354102 h 6858000"/>
              <a:gd name="connsiteX55" fmla="*/ 1206825 w 12192000"/>
              <a:gd name="connsiteY55" fmla="*/ 6352465 h 6858000"/>
              <a:gd name="connsiteX56" fmla="*/ 1109766 w 12192000"/>
              <a:gd name="connsiteY56" fmla="*/ 6352465 h 6858000"/>
              <a:gd name="connsiteX57" fmla="*/ 1106092 w 12192000"/>
              <a:gd name="connsiteY57" fmla="*/ 6354165 h 6858000"/>
              <a:gd name="connsiteX58" fmla="*/ 1013573 w 12192000"/>
              <a:gd name="connsiteY58" fmla="*/ 6461812 h 6858000"/>
              <a:gd name="connsiteX59" fmla="*/ 1012126 w 12192000"/>
              <a:gd name="connsiteY59" fmla="*/ 6461263 h 6858000"/>
              <a:gd name="connsiteX60" fmla="*/ 1012126 w 12192000"/>
              <a:gd name="connsiteY60" fmla="*/ 6354693 h 6858000"/>
              <a:gd name="connsiteX61" fmla="*/ 1009888 w 12192000"/>
              <a:gd name="connsiteY61" fmla="*/ 6352465 h 6858000"/>
              <a:gd name="connsiteX62" fmla="*/ 938134 w 12192000"/>
              <a:gd name="connsiteY62" fmla="*/ 6352465 h 6858000"/>
              <a:gd name="connsiteX63" fmla="*/ 935917 w 12192000"/>
              <a:gd name="connsiteY63" fmla="*/ 6354693 h 6858000"/>
              <a:gd name="connsiteX64" fmla="*/ 935917 w 12192000"/>
              <a:gd name="connsiteY64" fmla="*/ 6531687 h 6858000"/>
              <a:gd name="connsiteX65" fmla="*/ 954581 w 12192000"/>
              <a:gd name="connsiteY65" fmla="*/ 6580597 h 6858000"/>
              <a:gd name="connsiteX66" fmla="*/ 932169 w 12192000"/>
              <a:gd name="connsiteY66" fmla="*/ 6622233 h 6858000"/>
              <a:gd name="connsiteX67" fmla="*/ 909641 w 12192000"/>
              <a:gd name="connsiteY67" fmla="*/ 6578211 h 6858000"/>
              <a:gd name="connsiteX68" fmla="*/ 909641 w 12192000"/>
              <a:gd name="connsiteY68" fmla="*/ 6499616 h 6858000"/>
              <a:gd name="connsiteX69" fmla="*/ 859391 w 12192000"/>
              <a:gd name="connsiteY69" fmla="*/ 6354587 h 6858000"/>
              <a:gd name="connsiteX70" fmla="*/ 856435 w 12192000"/>
              <a:gd name="connsiteY70" fmla="*/ 6352465 h 6858000"/>
              <a:gd name="connsiteX71" fmla="*/ 767716 w 12192000"/>
              <a:gd name="connsiteY71" fmla="*/ 6352465 h 6858000"/>
              <a:gd name="connsiteX72" fmla="*/ 764760 w 12192000"/>
              <a:gd name="connsiteY72" fmla="*/ 6354577 h 6858000"/>
              <a:gd name="connsiteX73" fmla="*/ 700543 w 12192000"/>
              <a:gd name="connsiteY73" fmla="*/ 6537684 h 6858000"/>
              <a:gd name="connsiteX74" fmla="*/ 699087 w 12192000"/>
              <a:gd name="connsiteY74" fmla="*/ 6537684 h 6858000"/>
              <a:gd name="connsiteX75" fmla="*/ 635482 w 12192000"/>
              <a:gd name="connsiteY75" fmla="*/ 6354587 h 6858000"/>
              <a:gd name="connsiteX76" fmla="*/ 632526 w 12192000"/>
              <a:gd name="connsiteY76" fmla="*/ 6352465 h 6858000"/>
              <a:gd name="connsiteX77" fmla="*/ 0 w 12192000"/>
              <a:gd name="connsiteY77" fmla="*/ 0 h 6858000"/>
              <a:gd name="connsiteX78" fmla="*/ 12192000 w 12192000"/>
              <a:gd name="connsiteY78" fmla="*/ 0 h 6858000"/>
              <a:gd name="connsiteX79" fmla="*/ 12192000 w 12192000"/>
              <a:gd name="connsiteY79" fmla="*/ 6858000 h 6858000"/>
              <a:gd name="connsiteX80" fmla="*/ 0 w 12192000"/>
              <a:gd name="connsiteY8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2192000" h="6858000">
                <a:moveTo>
                  <a:pt x="811590" y="6423839"/>
                </a:moveTo>
                <a:cubicBezTo>
                  <a:pt x="811780" y="6423840"/>
                  <a:pt x="812213" y="6424811"/>
                  <a:pt x="812551" y="6425983"/>
                </a:cubicBezTo>
                <a:lnTo>
                  <a:pt x="842986" y="6528784"/>
                </a:lnTo>
                <a:cubicBezTo>
                  <a:pt x="843296" y="6529592"/>
                  <a:pt x="842892" y="6530499"/>
                  <a:pt x="842084" y="6530809"/>
                </a:cubicBezTo>
                <a:cubicBezTo>
                  <a:pt x="841861" y="6530894"/>
                  <a:pt x="841620" y="6530928"/>
                  <a:pt x="841381" y="6530906"/>
                </a:cubicBezTo>
                <a:lnTo>
                  <a:pt x="781809" y="6530906"/>
                </a:lnTo>
                <a:cubicBezTo>
                  <a:pt x="780943" y="6530979"/>
                  <a:pt x="780182" y="6530335"/>
                  <a:pt x="780110" y="6529469"/>
                </a:cubicBezTo>
                <a:cubicBezTo>
                  <a:pt x="780090" y="6529236"/>
                  <a:pt x="780123" y="6529003"/>
                  <a:pt x="780205" y="6528784"/>
                </a:cubicBezTo>
                <a:lnTo>
                  <a:pt x="810640" y="6425983"/>
                </a:lnTo>
                <a:cubicBezTo>
                  <a:pt x="810784" y="6425203"/>
                  <a:pt x="811109" y="6424469"/>
                  <a:pt x="811590" y="6423839"/>
                </a:cubicBezTo>
                <a:close/>
                <a:moveTo>
                  <a:pt x="587691" y="6423839"/>
                </a:moveTo>
                <a:cubicBezTo>
                  <a:pt x="588172" y="6424469"/>
                  <a:pt x="588498" y="6425203"/>
                  <a:pt x="588641" y="6425983"/>
                </a:cubicBezTo>
                <a:lnTo>
                  <a:pt x="619077" y="6528784"/>
                </a:lnTo>
                <a:cubicBezTo>
                  <a:pt x="619392" y="6529585"/>
                  <a:pt x="618999" y="6530489"/>
                  <a:pt x="618198" y="6530804"/>
                </a:cubicBezTo>
                <a:cubicBezTo>
                  <a:pt x="617971" y="6530894"/>
                  <a:pt x="617726" y="6530929"/>
                  <a:pt x="617483" y="6530906"/>
                </a:cubicBezTo>
                <a:lnTo>
                  <a:pt x="557911" y="6530906"/>
                </a:lnTo>
                <a:cubicBezTo>
                  <a:pt x="557047" y="6530981"/>
                  <a:pt x="556285" y="6530342"/>
                  <a:pt x="556210" y="6529478"/>
                </a:cubicBezTo>
                <a:cubicBezTo>
                  <a:pt x="556189" y="6529243"/>
                  <a:pt x="556222" y="6529005"/>
                  <a:pt x="556306" y="6528784"/>
                </a:cubicBezTo>
                <a:lnTo>
                  <a:pt x="586752" y="6425983"/>
                </a:lnTo>
                <a:cubicBezTo>
                  <a:pt x="586899" y="6425207"/>
                  <a:pt x="587221" y="6424474"/>
                  <a:pt x="587691" y="6423839"/>
                </a:cubicBezTo>
                <a:close/>
                <a:moveTo>
                  <a:pt x="543817" y="6352465"/>
                </a:moveTo>
                <a:cubicBezTo>
                  <a:pt x="542502" y="6352525"/>
                  <a:pt x="541345" y="6353352"/>
                  <a:pt x="540861" y="6354577"/>
                </a:cubicBezTo>
                <a:lnTo>
                  <a:pt x="443053" y="6633486"/>
                </a:lnTo>
                <a:cubicBezTo>
                  <a:pt x="442706" y="6634227"/>
                  <a:pt x="443026" y="6635108"/>
                  <a:pt x="443767" y="6635455"/>
                </a:cubicBezTo>
                <a:cubicBezTo>
                  <a:pt x="444008" y="6635568"/>
                  <a:pt x="444276" y="6635614"/>
                  <a:pt x="444542" y="6635587"/>
                </a:cubicBezTo>
                <a:lnTo>
                  <a:pt x="521743" y="6635587"/>
                </a:lnTo>
                <a:cubicBezTo>
                  <a:pt x="523044" y="6635530"/>
                  <a:pt x="524178" y="6634685"/>
                  <a:pt x="524604" y="6633454"/>
                </a:cubicBezTo>
                <a:lnTo>
                  <a:pt x="537103" y="6591713"/>
                </a:lnTo>
                <a:cubicBezTo>
                  <a:pt x="537532" y="6590480"/>
                  <a:pt x="538670" y="6589634"/>
                  <a:pt x="539975" y="6589581"/>
                </a:cubicBezTo>
                <a:lnTo>
                  <a:pt x="635419" y="6589581"/>
                </a:lnTo>
                <a:cubicBezTo>
                  <a:pt x="636718" y="6589641"/>
                  <a:pt x="637850" y="6590485"/>
                  <a:pt x="638279" y="6591713"/>
                </a:cubicBezTo>
                <a:lnTo>
                  <a:pt x="650789" y="6633454"/>
                </a:lnTo>
                <a:cubicBezTo>
                  <a:pt x="651218" y="6634683"/>
                  <a:pt x="652350" y="6635527"/>
                  <a:pt x="653650" y="6635587"/>
                </a:cubicBezTo>
                <a:lnTo>
                  <a:pt x="745642" y="6635587"/>
                </a:lnTo>
                <a:cubicBezTo>
                  <a:pt x="746942" y="6635530"/>
                  <a:pt x="748076" y="6634685"/>
                  <a:pt x="748502" y="6633454"/>
                </a:cubicBezTo>
                <a:lnTo>
                  <a:pt x="761012" y="6591713"/>
                </a:lnTo>
                <a:cubicBezTo>
                  <a:pt x="761433" y="6590479"/>
                  <a:pt x="762570" y="6589631"/>
                  <a:pt x="763873" y="6589581"/>
                </a:cubicBezTo>
                <a:lnTo>
                  <a:pt x="859328" y="6589581"/>
                </a:lnTo>
                <a:cubicBezTo>
                  <a:pt x="860627" y="6589641"/>
                  <a:pt x="861759" y="6590485"/>
                  <a:pt x="862189" y="6591713"/>
                </a:cubicBezTo>
                <a:lnTo>
                  <a:pt x="874677" y="6633454"/>
                </a:lnTo>
                <a:cubicBezTo>
                  <a:pt x="875108" y="6634681"/>
                  <a:pt x="876240" y="6635524"/>
                  <a:pt x="877538" y="6635587"/>
                </a:cubicBezTo>
                <a:lnTo>
                  <a:pt x="1009888" y="6635587"/>
                </a:lnTo>
                <a:cubicBezTo>
                  <a:pt x="1011119" y="6635584"/>
                  <a:pt x="1012118" y="6634590"/>
                  <a:pt x="1012126" y="6633359"/>
                </a:cubicBezTo>
                <a:lnTo>
                  <a:pt x="1012126" y="6558121"/>
                </a:lnTo>
                <a:cubicBezTo>
                  <a:pt x="1012196" y="6556706"/>
                  <a:pt x="1012743" y="6555355"/>
                  <a:pt x="1013678" y="6554289"/>
                </a:cubicBezTo>
                <a:lnTo>
                  <a:pt x="1042910" y="6524182"/>
                </a:lnTo>
                <a:cubicBezTo>
                  <a:pt x="1043506" y="6523478"/>
                  <a:pt x="1044560" y="6523390"/>
                  <a:pt x="1045265" y="6523986"/>
                </a:cubicBezTo>
                <a:cubicBezTo>
                  <a:pt x="1045423" y="6524121"/>
                  <a:pt x="1045555" y="6524284"/>
                  <a:pt x="1045655" y="6524467"/>
                </a:cubicBezTo>
                <a:lnTo>
                  <a:pt x="1114041" y="6633698"/>
                </a:lnTo>
                <a:cubicBezTo>
                  <a:pt x="1114797" y="6634897"/>
                  <a:pt x="1116125" y="6635613"/>
                  <a:pt x="1117542" y="6635587"/>
                </a:cubicBezTo>
                <a:lnTo>
                  <a:pt x="1214827" y="6635587"/>
                </a:lnTo>
                <a:cubicBezTo>
                  <a:pt x="1216062" y="6635587"/>
                  <a:pt x="1216516" y="6634743"/>
                  <a:pt x="1215840" y="6633718"/>
                </a:cubicBezTo>
                <a:lnTo>
                  <a:pt x="1106842" y="6465760"/>
                </a:lnTo>
                <a:cubicBezTo>
                  <a:pt x="1106173" y="6464657"/>
                  <a:pt x="1106296" y="6463247"/>
                  <a:pt x="1107148" y="6462277"/>
                </a:cubicBezTo>
                <a:lnTo>
                  <a:pt x="1207532" y="6354102"/>
                </a:lnTo>
                <a:cubicBezTo>
                  <a:pt x="1208366" y="6353204"/>
                  <a:pt x="1208049" y="6352465"/>
                  <a:pt x="1206825" y="6352465"/>
                </a:cubicBezTo>
                <a:lnTo>
                  <a:pt x="1109766" y="6352465"/>
                </a:lnTo>
                <a:cubicBezTo>
                  <a:pt x="1108370" y="6352546"/>
                  <a:pt x="1107057" y="6353153"/>
                  <a:pt x="1106092" y="6354165"/>
                </a:cubicBezTo>
                <a:lnTo>
                  <a:pt x="1013573" y="6461812"/>
                </a:lnTo>
                <a:cubicBezTo>
                  <a:pt x="1012770" y="6462741"/>
                  <a:pt x="1012126" y="6462488"/>
                  <a:pt x="1012126" y="6461263"/>
                </a:cubicBezTo>
                <a:lnTo>
                  <a:pt x="1012126" y="6354693"/>
                </a:lnTo>
                <a:cubicBezTo>
                  <a:pt x="1012117" y="6353462"/>
                  <a:pt x="1011119" y="6352468"/>
                  <a:pt x="1009888" y="6352465"/>
                </a:cubicBezTo>
                <a:lnTo>
                  <a:pt x="938134" y="6352465"/>
                </a:lnTo>
                <a:cubicBezTo>
                  <a:pt x="936911" y="6352478"/>
                  <a:pt x="935923" y="6353469"/>
                  <a:pt x="935917" y="6354693"/>
                </a:cubicBezTo>
                <a:lnTo>
                  <a:pt x="935917" y="6531687"/>
                </a:lnTo>
                <a:cubicBezTo>
                  <a:pt x="935526" y="6564445"/>
                  <a:pt x="942853" y="6560317"/>
                  <a:pt x="954581" y="6580597"/>
                </a:cubicBezTo>
                <a:cubicBezTo>
                  <a:pt x="964198" y="6597192"/>
                  <a:pt x="955996" y="6620596"/>
                  <a:pt x="932169" y="6622233"/>
                </a:cubicBezTo>
                <a:cubicBezTo>
                  <a:pt x="912291" y="6623605"/>
                  <a:pt x="894798" y="6600940"/>
                  <a:pt x="909641" y="6578211"/>
                </a:cubicBezTo>
                <a:cubicBezTo>
                  <a:pt x="925318" y="6554247"/>
                  <a:pt x="931895" y="6565342"/>
                  <a:pt x="909641" y="6499616"/>
                </a:cubicBezTo>
                <a:lnTo>
                  <a:pt x="859391" y="6354587"/>
                </a:lnTo>
                <a:cubicBezTo>
                  <a:pt x="858913" y="6353357"/>
                  <a:pt x="857754" y="6352525"/>
                  <a:pt x="856435" y="6352465"/>
                </a:cubicBezTo>
                <a:lnTo>
                  <a:pt x="767716" y="6352465"/>
                </a:lnTo>
                <a:cubicBezTo>
                  <a:pt x="766401" y="6352525"/>
                  <a:pt x="765243" y="6353352"/>
                  <a:pt x="764760" y="6354577"/>
                </a:cubicBezTo>
                <a:lnTo>
                  <a:pt x="700543" y="6537684"/>
                </a:lnTo>
                <a:cubicBezTo>
                  <a:pt x="700132" y="6538845"/>
                  <a:pt x="699477" y="6538845"/>
                  <a:pt x="699087" y="6537684"/>
                </a:cubicBezTo>
                <a:lnTo>
                  <a:pt x="635482" y="6354587"/>
                </a:lnTo>
                <a:cubicBezTo>
                  <a:pt x="635004" y="6353357"/>
                  <a:pt x="633844" y="6352525"/>
                  <a:pt x="632526" y="6352465"/>
                </a:cubicBezTo>
                <a:close/>
                <a:moveTo>
                  <a:pt x="0" y="0"/>
                </a:moveTo>
                <a:lnTo>
                  <a:pt x="12192000" y="0"/>
                </a:lnTo>
                <a:lnTo>
                  <a:pt x="12192000" y="6858000"/>
                </a:lnTo>
                <a:lnTo>
                  <a:pt x="0" y="6858000"/>
                </a:lnTo>
                <a:close/>
              </a:path>
            </a:pathLst>
          </a:custGeom>
          <a:solidFill>
            <a:schemeClr val="bg1">
              <a:lumMod val="85000"/>
            </a:schemeClr>
          </a:solidFill>
          <a:ln>
            <a:noFill/>
          </a:ln>
        </p:spPr>
        <p:txBody>
          <a:bodyPr wrap="square" lIns="0" tIns="3708000">
            <a:noAutofit/>
          </a:bodyPr>
          <a:lstStyle>
            <a:lvl1pPr marL="0" indent="0" algn="ctr">
              <a:buNone/>
              <a:defRPr i="1">
                <a:solidFill>
                  <a:schemeClr val="tx2"/>
                </a:solidFill>
              </a:defRPr>
            </a:lvl1pPr>
          </a:lstStyle>
          <a:p>
            <a:r>
              <a:rPr lang="en-US"/>
              <a:t>Click icon to add picture</a:t>
            </a:r>
            <a:endParaRPr lang="en-US" dirty="0"/>
          </a:p>
        </p:txBody>
      </p:sp>
      <p:sp>
        <p:nvSpPr>
          <p:cNvPr id="2" name="Title 1"/>
          <p:cNvSpPr>
            <a:spLocks noGrp="1"/>
          </p:cNvSpPr>
          <p:nvPr>
            <p:ph type="ctrTitle" hasCustomPrompt="1"/>
          </p:nvPr>
        </p:nvSpPr>
        <p:spPr>
          <a:xfrm>
            <a:off x="457200" y="998538"/>
            <a:ext cx="10637838" cy="1661993"/>
          </a:xfrm>
        </p:spPr>
        <p:txBody>
          <a:bodyPr vert="horz" lIns="0" tIns="0" rIns="0" bIns="0" rtlCol="0" anchor="b">
            <a:noAutofit/>
          </a:bodyPr>
          <a:lstStyle>
            <a:lvl1pPr>
              <a:defRPr lang="en-US" sz="6000" noProof="0" dirty="0">
                <a:solidFill>
                  <a:schemeClr val="bg1"/>
                </a:solidFill>
                <a:latin typeface="Playfair Display Black" pitchFamily="2" charset="0"/>
              </a:defRPr>
            </a:lvl1pPr>
          </a:lstStyle>
          <a:p>
            <a:pPr lvl="0"/>
            <a:r>
              <a:rPr lang="en-US" noProof="0" dirty="0"/>
              <a:t>Click to add slide title</a:t>
            </a:r>
          </a:p>
        </p:txBody>
      </p:sp>
      <p:sp>
        <p:nvSpPr>
          <p:cNvPr id="17" name="Date Placeholder 19">
            <a:extLst>
              <a:ext uri="{FF2B5EF4-FFF2-40B4-BE49-F238E27FC236}">
                <a16:creationId xmlns:a16="http://schemas.microsoft.com/office/drawing/2014/main" id="{7872CEA6-5EF6-165D-8403-233463D0994D}"/>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chemeClr val="bg1"/>
                </a:solidFill>
              </a:defRPr>
            </a:lvl1pPr>
          </a:lstStyle>
          <a:p>
            <a:fld id="{684B2894-3B84-4879-8F4C-FB2CBD9FC7AC}" type="datetimeFigureOut">
              <a:rPr lang="en-GB" smtClean="0"/>
              <a:pPr/>
              <a:t>18/06/2025</a:t>
            </a:fld>
            <a:endParaRPr lang="en-GB" dirty="0"/>
          </a:p>
        </p:txBody>
      </p:sp>
      <p:sp>
        <p:nvSpPr>
          <p:cNvPr id="18" name="Slide Number Placeholder 20">
            <a:extLst>
              <a:ext uri="{FF2B5EF4-FFF2-40B4-BE49-F238E27FC236}">
                <a16:creationId xmlns:a16="http://schemas.microsoft.com/office/drawing/2014/main" id="{2457E5B6-2CAC-BAD7-099E-23366E453542}"/>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chemeClr val="bg1"/>
                </a:solidFill>
              </a:defRPr>
            </a:lvl1pPr>
          </a:lstStyle>
          <a:p>
            <a:pPr algn="r"/>
            <a:fld id="{EDF3706E-DB9C-4B59-A485-1194C2A6AD28}" type="slidenum">
              <a:rPr lang="en-GB" smtClean="0"/>
              <a:pPr algn="r"/>
              <a:t>‹#›</a:t>
            </a:fld>
            <a:endParaRPr lang="en-GB"/>
          </a:p>
        </p:txBody>
      </p:sp>
      <p:sp>
        <p:nvSpPr>
          <p:cNvPr id="6" name="Text Placeholder 4">
            <a:extLst>
              <a:ext uri="{FF2B5EF4-FFF2-40B4-BE49-F238E27FC236}">
                <a16:creationId xmlns:a16="http://schemas.microsoft.com/office/drawing/2014/main" id="{49BBB778-99D0-F081-51C7-BC0738361348}"/>
              </a:ext>
            </a:extLst>
          </p:cNvPr>
          <p:cNvSpPr>
            <a:spLocks noGrp="1"/>
          </p:cNvSpPr>
          <p:nvPr>
            <p:ph type="body" sz="quarter" idx="14" hasCustomPrompt="1"/>
          </p:nvPr>
        </p:nvSpPr>
        <p:spPr>
          <a:xfrm>
            <a:off x="457200" y="2776299"/>
            <a:ext cx="10652125" cy="360000"/>
          </a:xfrm>
        </p:spPr>
        <p:txBody>
          <a:bodyPr/>
          <a:lstStyle>
            <a:lvl1pPr marL="0" indent="0">
              <a:buNone/>
              <a:defRPr sz="2800">
                <a:solidFill>
                  <a:schemeClr val="bg1"/>
                </a:solidFill>
              </a:defRPr>
            </a:lvl1pPr>
          </a:lstStyle>
          <a:p>
            <a:pPr lvl="0"/>
            <a:r>
              <a:rPr lang="en-US" dirty="0"/>
              <a:t>Click to add presentation title sub-text</a:t>
            </a:r>
            <a:endParaRPr lang="en-GB" dirty="0"/>
          </a:p>
        </p:txBody>
      </p:sp>
      <p:sp>
        <p:nvSpPr>
          <p:cNvPr id="3" name="Footer Placeholder 2">
            <a:extLst>
              <a:ext uri="{FF2B5EF4-FFF2-40B4-BE49-F238E27FC236}">
                <a16:creationId xmlns:a16="http://schemas.microsoft.com/office/drawing/2014/main" id="{2742B455-E561-7DD9-8B54-6872620C7E1F}"/>
              </a:ext>
            </a:extLst>
          </p:cNvPr>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17887574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_Illustrated_White logo">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90A70F0-0D66-E30E-ABE2-832F4257DB3C}"/>
              </a:ext>
            </a:extLst>
          </p:cNvPr>
          <p:cNvGraphicFramePr>
            <a:graphicFrameLocks noChangeAspect="1"/>
          </p:cNvGraphicFramePr>
          <p:nvPr userDrawn="1">
            <p:custDataLst>
              <p:tags r:id="rId1"/>
            </p:custDataLst>
            <p:extLst>
              <p:ext uri="{D42A27DB-BD31-4B8C-83A1-F6EECF244321}">
                <p14:modId xmlns:p14="http://schemas.microsoft.com/office/powerpoint/2010/main" val="1451238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think-cell data - do not delete" hidden="1">
                        <a:extLst>
                          <a:ext uri="{FF2B5EF4-FFF2-40B4-BE49-F238E27FC236}">
                            <a16:creationId xmlns:a16="http://schemas.microsoft.com/office/drawing/2014/main" id="{290A70F0-0D66-E30E-ABE2-832F4257DB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83" descr="A group of yellow flowers&#10;&#10;Description automatically generated with medium confidence">
            <a:extLst>
              <a:ext uri="{FF2B5EF4-FFF2-40B4-BE49-F238E27FC236}">
                <a16:creationId xmlns:a16="http://schemas.microsoft.com/office/drawing/2014/main" id="{FB1D1476-7AF5-2553-80DF-13AF14CAC8B7}"/>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3071982" y="4861912"/>
            <a:ext cx="2155129" cy="1393961"/>
          </a:xfrm>
          <a:prstGeom prst="rect">
            <a:avLst/>
          </a:prstGeom>
        </p:spPr>
      </p:pic>
      <p:pic>
        <p:nvPicPr>
          <p:cNvPr id="5" name="Picture 83" descr="A group of yellow flowers&#10;&#10;Description automatically generated with medium confidence">
            <a:extLst>
              <a:ext uri="{FF2B5EF4-FFF2-40B4-BE49-F238E27FC236}">
                <a16:creationId xmlns:a16="http://schemas.microsoft.com/office/drawing/2014/main" id="{5C3B8887-EDFE-A774-F1E7-2C7303E9663E}"/>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flipH="1">
            <a:off x="312689" y="5002122"/>
            <a:ext cx="2155129" cy="1393961"/>
          </a:xfrm>
          <a:prstGeom prst="rect">
            <a:avLst/>
          </a:prstGeom>
        </p:spPr>
      </p:pic>
      <p:pic>
        <p:nvPicPr>
          <p:cNvPr id="6" name="Picture 156" descr="A group of yellow flowers&#10;&#10;Description automatically generated with medium confidence">
            <a:extLst>
              <a:ext uri="{FF2B5EF4-FFF2-40B4-BE49-F238E27FC236}">
                <a16:creationId xmlns:a16="http://schemas.microsoft.com/office/drawing/2014/main" id="{D4DC7A26-8D51-9A51-BDBE-CE9BBED7ADFF}"/>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l="72279"/>
          <a:stretch/>
        </p:blipFill>
        <p:spPr>
          <a:xfrm>
            <a:off x="2467818" y="5065497"/>
            <a:ext cx="597434" cy="1393962"/>
          </a:xfrm>
          <a:prstGeom prst="rect">
            <a:avLst/>
          </a:prstGeom>
        </p:spPr>
      </p:pic>
      <p:pic>
        <p:nvPicPr>
          <p:cNvPr id="7" name="Bildobjekt 8">
            <a:extLst>
              <a:ext uri="{FF2B5EF4-FFF2-40B4-BE49-F238E27FC236}">
                <a16:creationId xmlns:a16="http://schemas.microsoft.com/office/drawing/2014/main" id="{6E7903CB-ECDD-7DDD-1FAD-3824BD672A15}"/>
              </a:ext>
            </a:extLst>
          </p:cNvPr>
          <p:cNvPicPr>
            <a:picLocks noChangeAspect="1"/>
          </p:cNvPicPr>
          <p:nvPr userDrawn="1"/>
        </p:nvPicPr>
        <p:blipFill>
          <a:blip r:embed="rId6"/>
          <a:stretch>
            <a:fillRect/>
          </a:stretch>
        </p:blipFill>
        <p:spPr>
          <a:xfrm>
            <a:off x="9997268" y="4230459"/>
            <a:ext cx="1732871" cy="1412836"/>
          </a:xfrm>
          <a:prstGeom prst="rect">
            <a:avLst/>
          </a:prstGeom>
        </p:spPr>
      </p:pic>
      <p:pic>
        <p:nvPicPr>
          <p:cNvPr id="11" name="Bildobjekt 9">
            <a:extLst>
              <a:ext uri="{FF2B5EF4-FFF2-40B4-BE49-F238E27FC236}">
                <a16:creationId xmlns:a16="http://schemas.microsoft.com/office/drawing/2014/main" id="{20321F56-FABE-1225-413A-C4FBEC5C7A81}"/>
              </a:ext>
            </a:extLst>
          </p:cNvPr>
          <p:cNvPicPr>
            <a:picLocks noChangeAspect="1"/>
          </p:cNvPicPr>
          <p:nvPr userDrawn="1"/>
        </p:nvPicPr>
        <p:blipFill>
          <a:blip r:embed="rId7"/>
          <a:srcRect r="330" b="83895"/>
          <a:stretch/>
        </p:blipFill>
        <p:spPr>
          <a:xfrm flipH="1">
            <a:off x="0" y="5121494"/>
            <a:ext cx="12192000" cy="1736506"/>
          </a:xfrm>
          <a:prstGeom prst="rect">
            <a:avLst/>
          </a:prstGeom>
        </p:spPr>
      </p:pic>
      <p:sp>
        <p:nvSpPr>
          <p:cNvPr id="13" name="Title 1">
            <a:extLst>
              <a:ext uri="{FF2B5EF4-FFF2-40B4-BE49-F238E27FC236}">
                <a16:creationId xmlns:a16="http://schemas.microsoft.com/office/drawing/2014/main" id="{D174F43C-BA0E-F9F8-9C98-332FA94D435E}"/>
              </a:ext>
            </a:extLst>
          </p:cNvPr>
          <p:cNvSpPr>
            <a:spLocks noGrp="1"/>
          </p:cNvSpPr>
          <p:nvPr>
            <p:ph type="ctrTitle" hasCustomPrompt="1"/>
          </p:nvPr>
        </p:nvSpPr>
        <p:spPr>
          <a:xfrm>
            <a:off x="457200" y="2321312"/>
            <a:ext cx="10637838" cy="1661993"/>
          </a:xfrm>
        </p:spPr>
        <p:txBody>
          <a:bodyPr vert="horz" anchor="b">
            <a:noAutofit/>
          </a:bodyPr>
          <a:lstStyle>
            <a:lvl1pPr algn="l">
              <a:defRPr sz="6000">
                <a:solidFill>
                  <a:srgbClr val="00264E"/>
                </a:solidFill>
                <a:latin typeface="Playfair Display Black" pitchFamily="2" charset="0"/>
              </a:defRPr>
            </a:lvl1pPr>
          </a:lstStyle>
          <a:p>
            <a:r>
              <a:rPr lang="en-US" noProof="0" dirty="0"/>
              <a:t>Click to add slide title</a:t>
            </a:r>
          </a:p>
        </p:txBody>
      </p:sp>
      <p:pic>
        <p:nvPicPr>
          <p:cNvPr id="19" name="Picture 87" descr="A picture containing diagram&#10;&#10;Description automatically generated">
            <a:extLst>
              <a:ext uri="{FF2B5EF4-FFF2-40B4-BE49-F238E27FC236}">
                <a16:creationId xmlns:a16="http://schemas.microsoft.com/office/drawing/2014/main" id="{D8425EA0-54D2-1509-3122-DB653E9AFEF6}"/>
              </a:ext>
            </a:extLst>
          </p:cNvPr>
          <p:cNvPicPr>
            <a:picLocks noChangeAspect="1"/>
          </p:cNvPicPr>
          <p:nvPr userDrawn="1"/>
        </p:nvPicPr>
        <p:blipFill>
          <a:blip r:embed="rId8" cstate="hqprint">
            <a:extLst>
              <a:ext uri="{28A0092B-C50C-407E-A947-70E740481C1C}">
                <a14:useLocalDpi xmlns:a14="http://schemas.microsoft.com/office/drawing/2010/main"/>
              </a:ext>
            </a:extLst>
          </a:blip>
          <a:srcRect l="61642" r="27580" b="86470"/>
          <a:stretch/>
        </p:blipFill>
        <p:spPr>
          <a:xfrm>
            <a:off x="8686705" y="786248"/>
            <a:ext cx="1487188" cy="1188776"/>
          </a:xfrm>
          <a:prstGeom prst="rect">
            <a:avLst/>
          </a:prstGeom>
        </p:spPr>
      </p:pic>
      <p:pic>
        <p:nvPicPr>
          <p:cNvPr id="20" name="Picture 87" descr="A picture containing diagram&#10;&#10;Description automatically generated">
            <a:extLst>
              <a:ext uri="{FF2B5EF4-FFF2-40B4-BE49-F238E27FC236}">
                <a16:creationId xmlns:a16="http://schemas.microsoft.com/office/drawing/2014/main" id="{8CFD19F5-FBD8-D38A-6B27-CEC20465CA80}"/>
              </a:ext>
            </a:extLst>
          </p:cNvPr>
          <p:cNvPicPr>
            <a:picLocks noChangeAspect="1"/>
          </p:cNvPicPr>
          <p:nvPr userDrawn="1"/>
        </p:nvPicPr>
        <p:blipFill>
          <a:blip r:embed="rId8" cstate="hqprint">
            <a:extLst>
              <a:ext uri="{28A0092B-C50C-407E-A947-70E740481C1C}">
                <a14:useLocalDpi xmlns:a14="http://schemas.microsoft.com/office/drawing/2010/main"/>
              </a:ext>
            </a:extLst>
          </a:blip>
          <a:srcRect l="68451" t="12540" r="17334" b="79103"/>
          <a:stretch/>
        </p:blipFill>
        <p:spPr>
          <a:xfrm rot="502737">
            <a:off x="2696373" y="1511250"/>
            <a:ext cx="1843204" cy="689953"/>
          </a:xfrm>
          <a:prstGeom prst="rect">
            <a:avLst/>
          </a:prstGeom>
        </p:spPr>
      </p:pic>
      <p:sp>
        <p:nvSpPr>
          <p:cNvPr id="2" name="Date Placeholder 19">
            <a:extLst>
              <a:ext uri="{FF2B5EF4-FFF2-40B4-BE49-F238E27FC236}">
                <a16:creationId xmlns:a16="http://schemas.microsoft.com/office/drawing/2014/main" id="{832AC3E4-AD64-AC61-E584-5D301D22228F}"/>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3" name="Slide Number Placeholder 20">
            <a:extLst>
              <a:ext uri="{FF2B5EF4-FFF2-40B4-BE49-F238E27FC236}">
                <a16:creationId xmlns:a16="http://schemas.microsoft.com/office/drawing/2014/main" id="{88C587D2-4810-F7A1-1D61-8A42DA87EF24}"/>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9" name="Graphic 21">
            <a:extLst>
              <a:ext uri="{FF2B5EF4-FFF2-40B4-BE49-F238E27FC236}">
                <a16:creationId xmlns:a16="http://schemas.microsoft.com/office/drawing/2014/main" id="{63FCBB46-36FA-5963-BF0C-3812A79A8EEA}"/>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Work Sans Light"/>
              <a:ea typeface="+mn-ea"/>
              <a:cs typeface="+mn-cs"/>
            </a:endParaRPr>
          </a:p>
        </p:txBody>
      </p:sp>
      <p:sp>
        <p:nvSpPr>
          <p:cNvPr id="12" name="Text Placeholder 4">
            <a:extLst>
              <a:ext uri="{FF2B5EF4-FFF2-40B4-BE49-F238E27FC236}">
                <a16:creationId xmlns:a16="http://schemas.microsoft.com/office/drawing/2014/main" id="{B13471D3-D5AE-4E40-D66D-AB5BAE3D25D4}"/>
              </a:ext>
            </a:extLst>
          </p:cNvPr>
          <p:cNvSpPr>
            <a:spLocks noGrp="1"/>
          </p:cNvSpPr>
          <p:nvPr>
            <p:ph type="body" sz="quarter" idx="14" hasCustomPrompt="1"/>
          </p:nvPr>
        </p:nvSpPr>
        <p:spPr>
          <a:xfrm>
            <a:off x="457200" y="4097474"/>
            <a:ext cx="10652125" cy="360000"/>
          </a:xfrm>
        </p:spPr>
        <p:txBody>
          <a:bodyPr/>
          <a:lstStyle>
            <a:lvl1pPr marL="0" indent="0">
              <a:buNone/>
              <a:defRPr sz="2800">
                <a:solidFill>
                  <a:srgbClr val="00264E"/>
                </a:solidFill>
              </a:defRPr>
            </a:lvl1pPr>
          </a:lstStyle>
          <a:p>
            <a:pPr lvl="0"/>
            <a:r>
              <a:rPr lang="en-US" dirty="0"/>
              <a:t>Click to add presentation title sub-text</a:t>
            </a:r>
            <a:endParaRPr lang="en-GB" dirty="0"/>
          </a:p>
        </p:txBody>
      </p:sp>
      <p:sp>
        <p:nvSpPr>
          <p:cNvPr id="10" name="Footer Placeholder 9">
            <a:extLst>
              <a:ext uri="{FF2B5EF4-FFF2-40B4-BE49-F238E27FC236}">
                <a16:creationId xmlns:a16="http://schemas.microsoft.com/office/drawing/2014/main" id="{2A5E36D5-C28C-6DF9-CB3A-803D96652408}"/>
              </a:ext>
            </a:extLst>
          </p:cNvPr>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2145278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resenter">
    <p:spTree>
      <p:nvGrpSpPr>
        <p:cNvPr id="1" name=""/>
        <p:cNvGrpSpPr/>
        <p:nvPr/>
      </p:nvGrpSpPr>
      <p:grpSpPr>
        <a:xfrm>
          <a:off x="0" y="0"/>
          <a:ext cx="0" cy="0"/>
          <a:chOff x="0" y="0"/>
          <a:chExt cx="0" cy="0"/>
        </a:xfrm>
      </p:grpSpPr>
      <p:grpSp>
        <p:nvGrpSpPr>
          <p:cNvPr id="3" name="Gruppe 4">
            <a:extLst>
              <a:ext uri="{FF2B5EF4-FFF2-40B4-BE49-F238E27FC236}">
                <a16:creationId xmlns:a16="http://schemas.microsoft.com/office/drawing/2014/main" id="{39CCBD25-DCC8-8E5D-4DB2-12AE59C46E73}"/>
              </a:ext>
            </a:extLst>
          </p:cNvPr>
          <p:cNvGrpSpPr/>
          <p:nvPr userDrawn="1"/>
        </p:nvGrpSpPr>
        <p:grpSpPr>
          <a:xfrm>
            <a:off x="11324533" y="189915"/>
            <a:ext cx="777354" cy="426258"/>
            <a:chOff x="10987983" y="408990"/>
            <a:chExt cx="777354" cy="426258"/>
          </a:xfrm>
        </p:grpSpPr>
        <p:sp>
          <p:nvSpPr>
            <p:cNvPr id="6" name="TextBox 31">
              <a:extLst>
                <a:ext uri="{FF2B5EF4-FFF2-40B4-BE49-F238E27FC236}">
                  <a16:creationId xmlns:a16="http://schemas.microsoft.com/office/drawing/2014/main" id="{B1C559E9-5137-B72C-3EF0-2BDF8A74C80B}"/>
                </a:ext>
              </a:extLst>
            </p:cNvPr>
            <p:cNvSpPr txBox="1">
              <a:spLocks/>
            </p:cNvSpPr>
            <p:nvPr/>
          </p:nvSpPr>
          <p:spPr>
            <a:xfrm>
              <a:off x="10987983" y="408990"/>
              <a:ext cx="777354" cy="55400"/>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 dirty="0">
                  <a:solidFill>
                    <a:schemeClr val="tx1"/>
                  </a:solidFill>
                </a:rPr>
                <a:t>This is Work Sans Light</a:t>
              </a:r>
            </a:p>
          </p:txBody>
        </p:sp>
        <p:sp>
          <p:nvSpPr>
            <p:cNvPr id="7" name="TextBox 52">
              <a:extLst>
                <a:ext uri="{FF2B5EF4-FFF2-40B4-BE49-F238E27FC236}">
                  <a16:creationId xmlns:a16="http://schemas.microsoft.com/office/drawing/2014/main" id="{50AB2BF0-32C4-86B2-2D62-CED9303E4905}"/>
                </a:ext>
              </a:extLst>
            </p:cNvPr>
            <p:cNvSpPr txBox="1">
              <a:spLocks/>
            </p:cNvSpPr>
            <p:nvPr/>
          </p:nvSpPr>
          <p:spPr>
            <a:xfrm>
              <a:off x="10987983" y="483162"/>
              <a:ext cx="777354" cy="55400"/>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 dirty="0">
                  <a:solidFill>
                    <a:schemeClr val="tx1"/>
                  </a:solidFill>
                  <a:latin typeface="Work Sans" pitchFamily="2" charset="0"/>
                </a:rPr>
                <a:t>This is Work Sans</a:t>
              </a:r>
            </a:p>
          </p:txBody>
        </p:sp>
        <p:sp>
          <p:nvSpPr>
            <p:cNvPr id="8" name="TextBox 32">
              <a:extLst>
                <a:ext uri="{FF2B5EF4-FFF2-40B4-BE49-F238E27FC236}">
                  <a16:creationId xmlns:a16="http://schemas.microsoft.com/office/drawing/2014/main" id="{273CD956-8C50-7D8C-DE6C-F67CC04263F8}"/>
                </a:ext>
              </a:extLst>
            </p:cNvPr>
            <p:cNvSpPr txBox="1">
              <a:spLocks/>
            </p:cNvSpPr>
            <p:nvPr/>
          </p:nvSpPr>
          <p:spPr>
            <a:xfrm>
              <a:off x="10987983" y="557333"/>
              <a:ext cx="777354" cy="55400"/>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 dirty="0">
                  <a:solidFill>
                    <a:schemeClr val="tx1"/>
                  </a:solidFill>
                  <a:latin typeface="Work Sans Medium" pitchFamily="2" charset="0"/>
                </a:rPr>
                <a:t>This is Work Sans Medium</a:t>
              </a:r>
            </a:p>
          </p:txBody>
        </p:sp>
        <p:sp>
          <p:nvSpPr>
            <p:cNvPr id="10" name="TextBox 53">
              <a:extLst>
                <a:ext uri="{FF2B5EF4-FFF2-40B4-BE49-F238E27FC236}">
                  <a16:creationId xmlns:a16="http://schemas.microsoft.com/office/drawing/2014/main" id="{16CB78C2-E962-2844-F12E-032B16E79D6D}"/>
                </a:ext>
              </a:extLst>
            </p:cNvPr>
            <p:cNvSpPr txBox="1">
              <a:spLocks/>
            </p:cNvSpPr>
            <p:nvPr/>
          </p:nvSpPr>
          <p:spPr>
            <a:xfrm>
              <a:off x="10987983" y="631505"/>
              <a:ext cx="777354" cy="55400"/>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 dirty="0">
                  <a:solidFill>
                    <a:schemeClr val="tx1"/>
                  </a:solidFill>
                  <a:latin typeface="Work Sans SemiBold" pitchFamily="2" charset="0"/>
                </a:rPr>
                <a:t>This is Work Sans Semibold</a:t>
              </a:r>
            </a:p>
          </p:txBody>
        </p:sp>
        <p:sp>
          <p:nvSpPr>
            <p:cNvPr id="12" name="TextBox 54">
              <a:extLst>
                <a:ext uri="{FF2B5EF4-FFF2-40B4-BE49-F238E27FC236}">
                  <a16:creationId xmlns:a16="http://schemas.microsoft.com/office/drawing/2014/main" id="{118B6DE6-E96D-182F-9D1A-E2DA807F7682}"/>
                </a:ext>
              </a:extLst>
            </p:cNvPr>
            <p:cNvSpPr txBox="1">
              <a:spLocks/>
            </p:cNvSpPr>
            <p:nvPr/>
          </p:nvSpPr>
          <p:spPr>
            <a:xfrm>
              <a:off x="10987983" y="705677"/>
              <a:ext cx="777354" cy="55400"/>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 dirty="0">
                  <a:solidFill>
                    <a:schemeClr val="tx1"/>
                  </a:solidFill>
                  <a:latin typeface="Playfair Display" pitchFamily="2" charset="0"/>
                </a:rPr>
                <a:t>This is Playfair Display</a:t>
              </a:r>
            </a:p>
          </p:txBody>
        </p:sp>
        <p:sp>
          <p:nvSpPr>
            <p:cNvPr id="13" name="TextBox 56">
              <a:extLst>
                <a:ext uri="{FF2B5EF4-FFF2-40B4-BE49-F238E27FC236}">
                  <a16:creationId xmlns:a16="http://schemas.microsoft.com/office/drawing/2014/main" id="{AB571DC3-44CB-6AE7-3DC1-3FAB9DAFFC91}"/>
                </a:ext>
              </a:extLst>
            </p:cNvPr>
            <p:cNvSpPr txBox="1">
              <a:spLocks/>
            </p:cNvSpPr>
            <p:nvPr/>
          </p:nvSpPr>
          <p:spPr>
            <a:xfrm>
              <a:off x="10987983" y="779848"/>
              <a:ext cx="777354" cy="55400"/>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 dirty="0">
                  <a:solidFill>
                    <a:schemeClr val="tx1"/>
                  </a:solidFill>
                  <a:latin typeface="Playfair Display Black" pitchFamily="2" charset="0"/>
                </a:rPr>
                <a:t>This is Playfair Display Black</a:t>
              </a:r>
            </a:p>
          </p:txBody>
        </p:sp>
      </p:grpSp>
      <p:sp>
        <p:nvSpPr>
          <p:cNvPr id="15" name="Rectangle 14">
            <a:extLst>
              <a:ext uri="{FF2B5EF4-FFF2-40B4-BE49-F238E27FC236}">
                <a16:creationId xmlns:a16="http://schemas.microsoft.com/office/drawing/2014/main" id="{F130B4A2-C6FA-1C77-1F42-7D27246BF191}"/>
              </a:ext>
            </a:extLst>
          </p:cNvPr>
          <p:cNvSpPr>
            <a:spLocks/>
          </p:cNvSpPr>
          <p:nvPr userDrawn="1"/>
        </p:nvSpPr>
        <p:spPr>
          <a:xfrm>
            <a:off x="0" y="0"/>
            <a:ext cx="12192000" cy="6858000"/>
          </a:xfrm>
          <a:prstGeom prst="rect">
            <a:avLst/>
          </a:prstGeom>
          <a:solidFill>
            <a:schemeClr val="bg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16" name="Rectangle 15">
            <a:extLst>
              <a:ext uri="{FF2B5EF4-FFF2-40B4-BE49-F238E27FC236}">
                <a16:creationId xmlns:a16="http://schemas.microsoft.com/office/drawing/2014/main" id="{68B326CD-4917-68D3-DC0F-D717F0A27B42}"/>
              </a:ext>
            </a:extLst>
          </p:cNvPr>
          <p:cNvSpPr>
            <a:spLocks/>
          </p:cNvSpPr>
          <p:nvPr userDrawn="1"/>
        </p:nvSpPr>
        <p:spPr>
          <a:xfrm>
            <a:off x="442911" y="3202702"/>
            <a:ext cx="11306178" cy="1074140"/>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The following layouts are for presenter slides.</a:t>
            </a: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Do not use this slide)</a:t>
            </a:r>
            <a:endParaRPr kumimoji="0" lang="en-US" sz="11500" b="0" i="0" u="none" strike="noStrike" kern="1200" cap="none" spc="-30" normalizeH="0" baseline="0" noProof="0" dirty="0">
              <a:ln>
                <a:noFill/>
              </a:ln>
              <a:solidFill>
                <a:srgbClr val="00264E"/>
              </a:solidFill>
              <a:effectLst/>
              <a:uLnTx/>
              <a:uFillTx/>
              <a:latin typeface="Work Sans Medium" pitchFamily="2" charset="0"/>
              <a:ea typeface="+mn-ea"/>
              <a:cs typeface="+mn-cs"/>
            </a:endParaRPr>
          </a:p>
        </p:txBody>
      </p:sp>
      <p:sp>
        <p:nvSpPr>
          <p:cNvPr id="17" name="Rectangle 16">
            <a:extLst>
              <a:ext uri="{FF2B5EF4-FFF2-40B4-BE49-F238E27FC236}">
                <a16:creationId xmlns:a16="http://schemas.microsoft.com/office/drawing/2014/main" id="{1B2855F0-6CF4-A1C3-EFD4-BE8F19490969}"/>
              </a:ext>
            </a:extLst>
          </p:cNvPr>
          <p:cNvSpPr>
            <a:spLocks/>
          </p:cNvSpPr>
          <p:nvPr userDrawn="1"/>
        </p:nvSpPr>
        <p:spPr>
          <a:xfrm>
            <a:off x="2459428" y="2202881"/>
            <a:ext cx="7273145" cy="914096"/>
          </a:xfrm>
          <a:prstGeom prst="rect">
            <a:avLst/>
          </a:prstGeom>
          <a:noFill/>
          <a:ln w="9525" cap="flat">
            <a:noFill/>
            <a:prstDash val="solid"/>
            <a:miter/>
          </a:ln>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6600" b="0" i="0" u="none" strike="noStrike" kern="1200" cap="none" spc="-30" normalizeH="0" baseline="0" noProof="0" dirty="0">
                <a:ln>
                  <a:noFill/>
                </a:ln>
                <a:solidFill>
                  <a:srgbClr val="00264E"/>
                </a:solidFill>
                <a:effectLst/>
                <a:uLnTx/>
                <a:uFillTx/>
                <a:latin typeface="Work Sans Medium" pitchFamily="2" charset="0"/>
                <a:ea typeface="+mn-ea"/>
                <a:cs typeface="+mn-cs"/>
              </a:rPr>
              <a:t>Presenter layouts</a:t>
            </a:r>
          </a:p>
        </p:txBody>
      </p:sp>
    </p:spTree>
    <p:extLst>
      <p:ext uri="{BB962C8B-B14F-4D97-AF65-F5344CB8AC3E}">
        <p14:creationId xmlns:p14="http://schemas.microsoft.com/office/powerpoint/2010/main" val="225967725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_Clean_Blue logo">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90A70F0-0D66-E30E-ABE2-832F4257DB3C}"/>
              </a:ext>
            </a:extLst>
          </p:cNvPr>
          <p:cNvGraphicFramePr>
            <a:graphicFrameLocks noChangeAspect="1"/>
          </p:cNvGraphicFramePr>
          <p:nvPr userDrawn="1">
            <p:custDataLst>
              <p:tags r:id="rId1"/>
            </p:custDataLst>
            <p:extLst>
              <p:ext uri="{D42A27DB-BD31-4B8C-83A1-F6EECF244321}">
                <p14:modId xmlns:p14="http://schemas.microsoft.com/office/powerpoint/2010/main" val="2578588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think-cell data - do not delete" hidden="1">
                        <a:extLst>
                          <a:ext uri="{FF2B5EF4-FFF2-40B4-BE49-F238E27FC236}">
                            <a16:creationId xmlns:a16="http://schemas.microsoft.com/office/drawing/2014/main" id="{290A70F0-0D66-E30E-ABE2-832F4257DB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D174F43C-BA0E-F9F8-9C98-332FA94D435E}"/>
              </a:ext>
            </a:extLst>
          </p:cNvPr>
          <p:cNvSpPr>
            <a:spLocks noGrp="1"/>
          </p:cNvSpPr>
          <p:nvPr>
            <p:ph type="ctrTitle" hasCustomPrompt="1"/>
          </p:nvPr>
        </p:nvSpPr>
        <p:spPr>
          <a:xfrm>
            <a:off x="457200" y="2321312"/>
            <a:ext cx="10637838" cy="1661993"/>
          </a:xfrm>
        </p:spPr>
        <p:txBody>
          <a:bodyPr vert="horz" anchor="b">
            <a:noAutofit/>
          </a:bodyPr>
          <a:lstStyle>
            <a:lvl1pPr algn="l">
              <a:defRPr sz="6000">
                <a:solidFill>
                  <a:srgbClr val="00264E"/>
                </a:solidFill>
                <a:latin typeface="Playfair Display Black" pitchFamily="2" charset="0"/>
              </a:defRPr>
            </a:lvl1pPr>
          </a:lstStyle>
          <a:p>
            <a:r>
              <a:rPr lang="en-US" noProof="0" dirty="0"/>
              <a:t>Click to add slide title</a:t>
            </a:r>
          </a:p>
        </p:txBody>
      </p:sp>
      <p:sp>
        <p:nvSpPr>
          <p:cNvPr id="18" name="Graphic 21">
            <a:extLst>
              <a:ext uri="{FF2B5EF4-FFF2-40B4-BE49-F238E27FC236}">
                <a16:creationId xmlns:a16="http://schemas.microsoft.com/office/drawing/2014/main" id="{8379A582-7FF2-0C31-5B4D-9CFE5788B4AA}"/>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Work Sans Light"/>
              <a:ea typeface="+mn-ea"/>
              <a:cs typeface="+mn-cs"/>
            </a:endParaRPr>
          </a:p>
        </p:txBody>
      </p:sp>
      <p:sp>
        <p:nvSpPr>
          <p:cNvPr id="2" name="Date Placeholder 19">
            <a:extLst>
              <a:ext uri="{FF2B5EF4-FFF2-40B4-BE49-F238E27FC236}">
                <a16:creationId xmlns:a16="http://schemas.microsoft.com/office/drawing/2014/main" id="{27226491-E3E6-76D6-73B3-38D2B2DD1292}"/>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3" name="Slide Number Placeholder 20">
            <a:extLst>
              <a:ext uri="{FF2B5EF4-FFF2-40B4-BE49-F238E27FC236}">
                <a16:creationId xmlns:a16="http://schemas.microsoft.com/office/drawing/2014/main" id="{E5B1C79F-BDE9-E02D-F6B0-7CABB2C4C265}"/>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4" name="Text Placeholder 4">
            <a:extLst>
              <a:ext uri="{FF2B5EF4-FFF2-40B4-BE49-F238E27FC236}">
                <a16:creationId xmlns:a16="http://schemas.microsoft.com/office/drawing/2014/main" id="{EE6EC5AB-2728-CDF7-FB4D-9AB490A8468C}"/>
              </a:ext>
            </a:extLst>
          </p:cNvPr>
          <p:cNvSpPr>
            <a:spLocks noGrp="1"/>
          </p:cNvSpPr>
          <p:nvPr>
            <p:ph type="body" sz="quarter" idx="14" hasCustomPrompt="1"/>
          </p:nvPr>
        </p:nvSpPr>
        <p:spPr>
          <a:xfrm>
            <a:off x="457200" y="4097474"/>
            <a:ext cx="10652125" cy="360000"/>
          </a:xfrm>
        </p:spPr>
        <p:txBody>
          <a:bodyPr/>
          <a:lstStyle>
            <a:lvl1pPr marL="0" indent="0">
              <a:buNone/>
              <a:defRPr sz="2800">
                <a:solidFill>
                  <a:srgbClr val="00264E"/>
                </a:solidFill>
              </a:defRPr>
            </a:lvl1pPr>
          </a:lstStyle>
          <a:p>
            <a:pPr lvl="0"/>
            <a:r>
              <a:rPr lang="en-US" dirty="0"/>
              <a:t>Click to add presentation title sub-text</a:t>
            </a:r>
            <a:endParaRPr lang="en-GB" dirty="0"/>
          </a:p>
        </p:txBody>
      </p:sp>
      <p:sp>
        <p:nvSpPr>
          <p:cNvPr id="5" name="Footer Placeholder 4">
            <a:extLst>
              <a:ext uri="{FF2B5EF4-FFF2-40B4-BE49-F238E27FC236}">
                <a16:creationId xmlns:a16="http://schemas.microsoft.com/office/drawing/2014/main" id="{79E5882B-B710-CF20-C575-7D7C51D1E986}"/>
              </a:ext>
            </a:extLst>
          </p:cNvPr>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151504372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_Black Olive Navy_White logo">
    <p:bg>
      <p:bgPr>
        <a:solidFill>
          <a:srgbClr val="00264E"/>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072D443-A688-866B-F67B-CE3BDEFF30C2}"/>
              </a:ext>
            </a:extLst>
          </p:cNvPr>
          <p:cNvGraphicFramePr>
            <a:graphicFrameLocks noChangeAspect="1"/>
          </p:cNvGraphicFramePr>
          <p:nvPr userDrawn="1">
            <p:custDataLst>
              <p:tags r:id="rId1"/>
            </p:custDataLst>
            <p:extLst>
              <p:ext uri="{D42A27DB-BD31-4B8C-83A1-F6EECF244321}">
                <p14:modId xmlns:p14="http://schemas.microsoft.com/office/powerpoint/2010/main" val="3287866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5072D443-A688-866B-F67B-CE3BDEFF30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0CB4B7DD-28BF-400A-9C18-DD61B9CDAD76}"/>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endParaRPr lang="en-US" dirty="0"/>
          </a:p>
        </p:txBody>
      </p:sp>
      <p:sp>
        <p:nvSpPr>
          <p:cNvPr id="11" name="Title 1">
            <a:extLst>
              <a:ext uri="{FF2B5EF4-FFF2-40B4-BE49-F238E27FC236}">
                <a16:creationId xmlns:a16="http://schemas.microsoft.com/office/drawing/2014/main" id="{64F78264-5633-44C8-8401-B155BECB19CB}"/>
              </a:ext>
            </a:extLst>
          </p:cNvPr>
          <p:cNvSpPr>
            <a:spLocks noGrp="1"/>
          </p:cNvSpPr>
          <p:nvPr>
            <p:ph type="title" hasCustomPrompt="1"/>
          </p:nvPr>
        </p:nvSpPr>
        <p:spPr>
          <a:xfrm>
            <a:off x="442914" y="216693"/>
            <a:ext cx="3600449" cy="3212307"/>
          </a:xfrm>
        </p:spPr>
        <p:txBody>
          <a:bodyPr vert="horz" anchor="b">
            <a:noAutofit/>
          </a:bodyPr>
          <a:lstStyle>
            <a:lvl1pPr algn="l">
              <a:lnSpc>
                <a:spcPct val="90000"/>
              </a:lnSpc>
              <a:spcBef>
                <a:spcPts val="600"/>
              </a:spcBef>
              <a:spcAft>
                <a:spcPts val="0"/>
              </a:spcAft>
              <a:defRPr sz="4000" spc="0" baseline="0">
                <a:solidFill>
                  <a:schemeClr val="bg1"/>
                </a:solidFill>
                <a:latin typeface="Playfair Display Black" pitchFamily="2" charset="0"/>
              </a:defRPr>
            </a:lvl1pPr>
          </a:lstStyle>
          <a:p>
            <a:r>
              <a:rPr lang="en-US" noProof="0" dirty="0"/>
              <a:t>Click to add slide title</a:t>
            </a:r>
          </a:p>
        </p:txBody>
      </p:sp>
      <p:sp>
        <p:nvSpPr>
          <p:cNvPr id="9" name="Graphic 21">
            <a:extLst>
              <a:ext uri="{FF2B5EF4-FFF2-40B4-BE49-F238E27FC236}">
                <a16:creationId xmlns:a16="http://schemas.microsoft.com/office/drawing/2014/main" id="{05EB7591-792F-497E-BC19-17F9D3F0DD27}"/>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chemeClr val="bg1"/>
          </a:solidFill>
          <a:ln w="9525" cap="flat">
            <a:noFill/>
            <a:prstDash val="solid"/>
            <a:miter/>
          </a:ln>
        </p:spPr>
        <p:txBody>
          <a:bodyPr rtlCol="0" anchor="ctr"/>
          <a:lstStyle/>
          <a:p>
            <a:endParaRPr lang="en-US" dirty="0"/>
          </a:p>
        </p:txBody>
      </p:sp>
      <p:sp>
        <p:nvSpPr>
          <p:cNvPr id="2" name="Date Placeholder 19">
            <a:extLst>
              <a:ext uri="{FF2B5EF4-FFF2-40B4-BE49-F238E27FC236}">
                <a16:creationId xmlns:a16="http://schemas.microsoft.com/office/drawing/2014/main" id="{614D7794-1644-53D6-8E19-F07490F15086}"/>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chemeClr val="bg1"/>
                </a:solidFill>
              </a:defRPr>
            </a:lvl1pPr>
          </a:lstStyle>
          <a:p>
            <a:fld id="{684B2894-3B84-4879-8F4C-FB2CBD9FC7AC}" type="datetimeFigureOut">
              <a:rPr lang="en-GB" smtClean="0"/>
              <a:pPr/>
              <a:t>18/06/2025</a:t>
            </a:fld>
            <a:endParaRPr lang="en-GB" dirty="0"/>
          </a:p>
        </p:txBody>
      </p:sp>
      <p:sp>
        <p:nvSpPr>
          <p:cNvPr id="3" name="Slide Number Placeholder 20">
            <a:extLst>
              <a:ext uri="{FF2B5EF4-FFF2-40B4-BE49-F238E27FC236}">
                <a16:creationId xmlns:a16="http://schemas.microsoft.com/office/drawing/2014/main" id="{643D3CFA-8D33-69F0-42B1-CDCA552D922B}"/>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chemeClr val="bg1"/>
                </a:solidFill>
              </a:defRPr>
            </a:lvl1pPr>
          </a:lstStyle>
          <a:p>
            <a:pPr algn="r"/>
            <a:fld id="{EDF3706E-DB9C-4B59-A485-1194C2A6AD28}" type="slidenum">
              <a:rPr lang="en-GB" smtClean="0"/>
              <a:pPr algn="r"/>
              <a:t>‹#›</a:t>
            </a:fld>
            <a:endParaRPr lang="en-GB"/>
          </a:p>
        </p:txBody>
      </p:sp>
      <p:sp>
        <p:nvSpPr>
          <p:cNvPr id="6" name="Text Placeholder 4">
            <a:extLst>
              <a:ext uri="{FF2B5EF4-FFF2-40B4-BE49-F238E27FC236}">
                <a16:creationId xmlns:a16="http://schemas.microsoft.com/office/drawing/2014/main" id="{9912F470-7270-421B-0793-2FFA7727B6A2}"/>
              </a:ext>
            </a:extLst>
          </p:cNvPr>
          <p:cNvSpPr>
            <a:spLocks noGrp="1"/>
          </p:cNvSpPr>
          <p:nvPr>
            <p:ph type="body" sz="quarter" idx="15" hasCustomPrompt="1"/>
          </p:nvPr>
        </p:nvSpPr>
        <p:spPr>
          <a:xfrm>
            <a:off x="442914" y="3509464"/>
            <a:ext cx="3600450" cy="1175657"/>
          </a:xfrm>
        </p:spPr>
        <p:txBody>
          <a:bodyPr/>
          <a:lstStyle>
            <a:lvl1pPr marL="0" indent="0">
              <a:buNone/>
              <a:defRPr sz="2400">
                <a:solidFill>
                  <a:schemeClr val="bg1"/>
                </a:solidFill>
              </a:defRPr>
            </a:lvl1pPr>
          </a:lstStyle>
          <a:p>
            <a:pPr lvl="0"/>
            <a:r>
              <a:rPr lang="en-US" dirty="0"/>
              <a:t>Click to add presentation title sub-text</a:t>
            </a:r>
            <a:endParaRPr lang="en-GB" dirty="0"/>
          </a:p>
        </p:txBody>
      </p:sp>
      <p:sp>
        <p:nvSpPr>
          <p:cNvPr id="4" name="Footer Placeholder 3">
            <a:extLst>
              <a:ext uri="{FF2B5EF4-FFF2-40B4-BE49-F238E27FC236}">
                <a16:creationId xmlns:a16="http://schemas.microsoft.com/office/drawing/2014/main" id="{AAD2743A-280F-400A-17E3-E3A2C96A7B9B}"/>
              </a:ext>
            </a:extLst>
          </p:cNvPr>
          <p:cNvSpPr>
            <a:spLocks noGrp="1"/>
          </p:cNvSpPr>
          <p:nvPr>
            <p:ph type="ftr" sz="quarter" idx="16"/>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1965324460"/>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resenter">
    <p:spTree>
      <p:nvGrpSpPr>
        <p:cNvPr id="1" name=""/>
        <p:cNvGrpSpPr/>
        <p:nvPr/>
      </p:nvGrpSpPr>
      <p:grpSpPr>
        <a:xfrm>
          <a:off x="0" y="0"/>
          <a:ext cx="0" cy="0"/>
          <a:chOff x="0" y="0"/>
          <a:chExt cx="0" cy="0"/>
        </a:xfrm>
      </p:grpSpPr>
      <p:grpSp>
        <p:nvGrpSpPr>
          <p:cNvPr id="3" name="Gruppe 4">
            <a:extLst>
              <a:ext uri="{FF2B5EF4-FFF2-40B4-BE49-F238E27FC236}">
                <a16:creationId xmlns:a16="http://schemas.microsoft.com/office/drawing/2014/main" id="{39CCBD25-DCC8-8E5D-4DB2-12AE59C46E73}"/>
              </a:ext>
            </a:extLst>
          </p:cNvPr>
          <p:cNvGrpSpPr/>
          <p:nvPr userDrawn="1"/>
        </p:nvGrpSpPr>
        <p:grpSpPr>
          <a:xfrm>
            <a:off x="11324533" y="189915"/>
            <a:ext cx="777354" cy="426258"/>
            <a:chOff x="10987983" y="408990"/>
            <a:chExt cx="777354" cy="426258"/>
          </a:xfrm>
        </p:grpSpPr>
        <p:sp>
          <p:nvSpPr>
            <p:cNvPr id="6" name="TextBox 31">
              <a:extLst>
                <a:ext uri="{FF2B5EF4-FFF2-40B4-BE49-F238E27FC236}">
                  <a16:creationId xmlns:a16="http://schemas.microsoft.com/office/drawing/2014/main" id="{B1C559E9-5137-B72C-3EF0-2BDF8A74C80B}"/>
                </a:ext>
              </a:extLst>
            </p:cNvPr>
            <p:cNvSpPr txBox="1">
              <a:spLocks/>
            </p:cNvSpPr>
            <p:nvPr/>
          </p:nvSpPr>
          <p:spPr>
            <a:xfrm>
              <a:off x="10987983" y="408990"/>
              <a:ext cx="777354" cy="55400"/>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 dirty="0">
                  <a:solidFill>
                    <a:schemeClr val="tx1"/>
                  </a:solidFill>
                </a:rPr>
                <a:t>This is Work Sans Light</a:t>
              </a:r>
            </a:p>
          </p:txBody>
        </p:sp>
        <p:sp>
          <p:nvSpPr>
            <p:cNvPr id="7" name="TextBox 52">
              <a:extLst>
                <a:ext uri="{FF2B5EF4-FFF2-40B4-BE49-F238E27FC236}">
                  <a16:creationId xmlns:a16="http://schemas.microsoft.com/office/drawing/2014/main" id="{50AB2BF0-32C4-86B2-2D62-CED9303E4905}"/>
                </a:ext>
              </a:extLst>
            </p:cNvPr>
            <p:cNvSpPr txBox="1">
              <a:spLocks/>
            </p:cNvSpPr>
            <p:nvPr/>
          </p:nvSpPr>
          <p:spPr>
            <a:xfrm>
              <a:off x="10987983" y="483162"/>
              <a:ext cx="777354" cy="55400"/>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 dirty="0">
                  <a:solidFill>
                    <a:schemeClr val="tx1"/>
                  </a:solidFill>
                  <a:latin typeface="Work Sans" pitchFamily="2" charset="0"/>
                </a:rPr>
                <a:t>This is Work Sans</a:t>
              </a:r>
            </a:p>
          </p:txBody>
        </p:sp>
        <p:sp>
          <p:nvSpPr>
            <p:cNvPr id="8" name="TextBox 32">
              <a:extLst>
                <a:ext uri="{FF2B5EF4-FFF2-40B4-BE49-F238E27FC236}">
                  <a16:creationId xmlns:a16="http://schemas.microsoft.com/office/drawing/2014/main" id="{273CD956-8C50-7D8C-DE6C-F67CC04263F8}"/>
                </a:ext>
              </a:extLst>
            </p:cNvPr>
            <p:cNvSpPr txBox="1">
              <a:spLocks/>
            </p:cNvSpPr>
            <p:nvPr/>
          </p:nvSpPr>
          <p:spPr>
            <a:xfrm>
              <a:off x="10987983" y="557333"/>
              <a:ext cx="777354" cy="55400"/>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 dirty="0">
                  <a:solidFill>
                    <a:schemeClr val="tx1"/>
                  </a:solidFill>
                  <a:latin typeface="Work Sans Medium" pitchFamily="2" charset="0"/>
                </a:rPr>
                <a:t>This is Work Sans Medium</a:t>
              </a:r>
            </a:p>
          </p:txBody>
        </p:sp>
        <p:sp>
          <p:nvSpPr>
            <p:cNvPr id="10" name="TextBox 53">
              <a:extLst>
                <a:ext uri="{FF2B5EF4-FFF2-40B4-BE49-F238E27FC236}">
                  <a16:creationId xmlns:a16="http://schemas.microsoft.com/office/drawing/2014/main" id="{16CB78C2-E962-2844-F12E-032B16E79D6D}"/>
                </a:ext>
              </a:extLst>
            </p:cNvPr>
            <p:cNvSpPr txBox="1">
              <a:spLocks/>
            </p:cNvSpPr>
            <p:nvPr/>
          </p:nvSpPr>
          <p:spPr>
            <a:xfrm>
              <a:off x="10987983" y="631505"/>
              <a:ext cx="777354" cy="55400"/>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 dirty="0">
                  <a:solidFill>
                    <a:schemeClr val="tx1"/>
                  </a:solidFill>
                  <a:latin typeface="Work Sans SemiBold" pitchFamily="2" charset="0"/>
                </a:rPr>
                <a:t>This is Work Sans Semibold</a:t>
              </a:r>
            </a:p>
          </p:txBody>
        </p:sp>
        <p:sp>
          <p:nvSpPr>
            <p:cNvPr id="12" name="TextBox 54">
              <a:extLst>
                <a:ext uri="{FF2B5EF4-FFF2-40B4-BE49-F238E27FC236}">
                  <a16:creationId xmlns:a16="http://schemas.microsoft.com/office/drawing/2014/main" id="{118B6DE6-E96D-182F-9D1A-E2DA807F7682}"/>
                </a:ext>
              </a:extLst>
            </p:cNvPr>
            <p:cNvSpPr txBox="1">
              <a:spLocks/>
            </p:cNvSpPr>
            <p:nvPr/>
          </p:nvSpPr>
          <p:spPr>
            <a:xfrm>
              <a:off x="10987983" y="705677"/>
              <a:ext cx="777354" cy="55400"/>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 dirty="0">
                  <a:solidFill>
                    <a:schemeClr val="tx1"/>
                  </a:solidFill>
                  <a:latin typeface="Playfair Display" pitchFamily="2" charset="0"/>
                </a:rPr>
                <a:t>This is Playfair Display</a:t>
              </a:r>
            </a:p>
          </p:txBody>
        </p:sp>
        <p:sp>
          <p:nvSpPr>
            <p:cNvPr id="13" name="TextBox 56">
              <a:extLst>
                <a:ext uri="{FF2B5EF4-FFF2-40B4-BE49-F238E27FC236}">
                  <a16:creationId xmlns:a16="http://schemas.microsoft.com/office/drawing/2014/main" id="{AB571DC3-44CB-6AE7-3DC1-3FAB9DAFFC91}"/>
                </a:ext>
              </a:extLst>
            </p:cNvPr>
            <p:cNvSpPr txBox="1">
              <a:spLocks/>
            </p:cNvSpPr>
            <p:nvPr/>
          </p:nvSpPr>
          <p:spPr>
            <a:xfrm>
              <a:off x="10987983" y="779848"/>
              <a:ext cx="777354" cy="55400"/>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 dirty="0">
                  <a:solidFill>
                    <a:schemeClr val="tx1"/>
                  </a:solidFill>
                  <a:latin typeface="Playfair Display Black" pitchFamily="2" charset="0"/>
                </a:rPr>
                <a:t>This is Playfair Display Black</a:t>
              </a:r>
            </a:p>
          </p:txBody>
        </p:sp>
      </p:grpSp>
      <p:sp>
        <p:nvSpPr>
          <p:cNvPr id="15" name="Rectangle 14">
            <a:extLst>
              <a:ext uri="{FF2B5EF4-FFF2-40B4-BE49-F238E27FC236}">
                <a16:creationId xmlns:a16="http://schemas.microsoft.com/office/drawing/2014/main" id="{F130B4A2-C6FA-1C77-1F42-7D27246BF191}"/>
              </a:ext>
            </a:extLst>
          </p:cNvPr>
          <p:cNvSpPr>
            <a:spLocks/>
          </p:cNvSpPr>
          <p:nvPr userDrawn="1"/>
        </p:nvSpPr>
        <p:spPr>
          <a:xfrm>
            <a:off x="0" y="0"/>
            <a:ext cx="12192000" cy="6858000"/>
          </a:xfrm>
          <a:prstGeom prst="rect">
            <a:avLst/>
          </a:prstGeom>
          <a:solidFill>
            <a:schemeClr val="bg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16" name="Rectangle 15">
            <a:extLst>
              <a:ext uri="{FF2B5EF4-FFF2-40B4-BE49-F238E27FC236}">
                <a16:creationId xmlns:a16="http://schemas.microsoft.com/office/drawing/2014/main" id="{68B326CD-4917-68D3-DC0F-D717F0A27B42}"/>
              </a:ext>
            </a:extLst>
          </p:cNvPr>
          <p:cNvSpPr>
            <a:spLocks/>
          </p:cNvSpPr>
          <p:nvPr userDrawn="1"/>
        </p:nvSpPr>
        <p:spPr>
          <a:xfrm>
            <a:off x="442911" y="3202702"/>
            <a:ext cx="11306178" cy="1074140"/>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The following layouts are for presenter slides.</a:t>
            </a: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Do not use this slide)</a:t>
            </a:r>
            <a:endParaRPr kumimoji="0" lang="en-US" sz="11500" b="0" i="0" u="none" strike="noStrike" kern="1200" cap="none" spc="-30" normalizeH="0" baseline="0" noProof="0" dirty="0">
              <a:ln>
                <a:noFill/>
              </a:ln>
              <a:solidFill>
                <a:srgbClr val="00264E"/>
              </a:solidFill>
              <a:effectLst/>
              <a:uLnTx/>
              <a:uFillTx/>
              <a:latin typeface="Work Sans Medium" pitchFamily="2" charset="0"/>
              <a:ea typeface="+mn-ea"/>
              <a:cs typeface="+mn-cs"/>
            </a:endParaRPr>
          </a:p>
        </p:txBody>
      </p:sp>
      <p:sp>
        <p:nvSpPr>
          <p:cNvPr id="17" name="Rectangle 16">
            <a:extLst>
              <a:ext uri="{FF2B5EF4-FFF2-40B4-BE49-F238E27FC236}">
                <a16:creationId xmlns:a16="http://schemas.microsoft.com/office/drawing/2014/main" id="{1B2855F0-6CF4-A1C3-EFD4-BE8F19490969}"/>
              </a:ext>
            </a:extLst>
          </p:cNvPr>
          <p:cNvSpPr>
            <a:spLocks/>
          </p:cNvSpPr>
          <p:nvPr userDrawn="1"/>
        </p:nvSpPr>
        <p:spPr>
          <a:xfrm>
            <a:off x="2459428" y="2202881"/>
            <a:ext cx="7273145" cy="914096"/>
          </a:xfrm>
          <a:prstGeom prst="rect">
            <a:avLst/>
          </a:prstGeom>
          <a:noFill/>
          <a:ln w="9525" cap="flat">
            <a:noFill/>
            <a:prstDash val="solid"/>
            <a:miter/>
          </a:ln>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6600" b="0" i="0" u="none" strike="noStrike" kern="1200" cap="none" spc="-30" normalizeH="0" baseline="0" noProof="0" dirty="0">
                <a:ln>
                  <a:noFill/>
                </a:ln>
                <a:solidFill>
                  <a:srgbClr val="00264E"/>
                </a:solidFill>
                <a:effectLst/>
                <a:uLnTx/>
                <a:uFillTx/>
                <a:latin typeface="Work Sans Medium" pitchFamily="2" charset="0"/>
                <a:ea typeface="+mn-ea"/>
                <a:cs typeface="+mn-cs"/>
              </a:rPr>
              <a:t>Presenter layouts</a:t>
            </a:r>
          </a:p>
        </p:txBody>
      </p:sp>
    </p:spTree>
    <p:extLst>
      <p:ext uri="{BB962C8B-B14F-4D97-AF65-F5344CB8AC3E}">
        <p14:creationId xmlns:p14="http://schemas.microsoft.com/office/powerpoint/2010/main" val="374545846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resenter layout_Four people">
    <p:bg>
      <p:bgPr>
        <a:solidFill>
          <a:srgbClr val="F2F3F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0D28EC-17F6-8468-7C96-4FB31D9FD0BA}"/>
              </a:ext>
            </a:extLst>
          </p:cNvPr>
          <p:cNvGraphicFramePr>
            <a:graphicFrameLocks noChangeAspect="1"/>
          </p:cNvGraphicFramePr>
          <p:nvPr userDrawn="1">
            <p:custDataLst>
              <p:tags r:id="rId1"/>
            </p:custDataLst>
            <p:extLst>
              <p:ext uri="{D42A27DB-BD31-4B8C-83A1-F6EECF244321}">
                <p14:modId xmlns:p14="http://schemas.microsoft.com/office/powerpoint/2010/main" val="3385059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680D28EC-17F6-8468-7C96-4FB31D9FD0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9">
            <a:extLst>
              <a:ext uri="{FF2B5EF4-FFF2-40B4-BE49-F238E27FC236}">
                <a16:creationId xmlns:a16="http://schemas.microsoft.com/office/drawing/2014/main" id="{A2D48AB2-EFAF-4793-A8A5-250513B21E07}"/>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19" name="Slide Number Placeholder 20">
            <a:extLst>
              <a:ext uri="{FF2B5EF4-FFF2-40B4-BE49-F238E27FC236}">
                <a16:creationId xmlns:a16="http://schemas.microsoft.com/office/drawing/2014/main" id="{8EEC7DD3-5720-B601-C3F4-86BA708392C7}"/>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4" name="Picture Placeholder 53">
            <a:extLst>
              <a:ext uri="{FF2B5EF4-FFF2-40B4-BE49-F238E27FC236}">
                <a16:creationId xmlns:a16="http://schemas.microsoft.com/office/drawing/2014/main" id="{D9A5FD3A-739C-00D2-8CED-5128DA4ADD87}"/>
              </a:ext>
            </a:extLst>
          </p:cNvPr>
          <p:cNvSpPr>
            <a:spLocks noGrp="1"/>
          </p:cNvSpPr>
          <p:nvPr>
            <p:ph type="pic" sz="quarter" idx="10" hasCustomPrompt="1"/>
          </p:nvPr>
        </p:nvSpPr>
        <p:spPr>
          <a:xfrm>
            <a:off x="1253665" y="1473200"/>
            <a:ext cx="1872000" cy="1872000"/>
          </a:xfrm>
          <a:prstGeom prst="ellipse">
            <a:avLst/>
          </a:prstGeom>
          <a:solidFill>
            <a:srgbClr val="F2F3F7"/>
          </a:solidFill>
          <a:effectLst>
            <a:outerShdw dist="50800" dir="2700000" algn="tl" rotWithShape="0">
              <a:srgbClr val="BFC9D3"/>
            </a:outerShdw>
          </a:effectLst>
        </p:spPr>
        <p:txBody>
          <a:bodyPr anchor="ctr"/>
          <a:lstStyle>
            <a:lvl1pPr marL="0" indent="0" algn="ctr">
              <a:buNone/>
              <a:defRPr/>
            </a:lvl1pPr>
          </a:lstStyle>
          <a:p>
            <a:r>
              <a:rPr lang="en-GB" dirty="0"/>
              <a:t>Add profile picture</a:t>
            </a:r>
          </a:p>
        </p:txBody>
      </p:sp>
      <p:sp>
        <p:nvSpPr>
          <p:cNvPr id="55" name="Title 1">
            <a:extLst>
              <a:ext uri="{FF2B5EF4-FFF2-40B4-BE49-F238E27FC236}">
                <a16:creationId xmlns:a16="http://schemas.microsoft.com/office/drawing/2014/main" id="{7ACBFD12-A58F-E7A1-6101-94363F07C61C}"/>
              </a:ext>
            </a:extLst>
          </p:cNvPr>
          <p:cNvSpPr>
            <a:spLocks noGrp="1"/>
          </p:cNvSpPr>
          <p:nvPr>
            <p:ph type="title"/>
          </p:nvPr>
        </p:nvSpPr>
        <p:spPr>
          <a:xfrm>
            <a:off x="442913" y="221456"/>
            <a:ext cx="11306175" cy="775597"/>
          </a:xfrm>
        </p:spPr>
        <p:txBody>
          <a:bodyPr/>
          <a:lstStyle>
            <a:lvl1pPr>
              <a:defRPr/>
            </a:lvl1pPr>
          </a:lstStyle>
          <a:p>
            <a:r>
              <a:rPr lang="en-US" noProof="0"/>
              <a:t>Click to edit Master title style</a:t>
            </a:r>
            <a:endParaRPr lang="en-US" noProof="0" dirty="0"/>
          </a:p>
        </p:txBody>
      </p:sp>
      <p:sp>
        <p:nvSpPr>
          <p:cNvPr id="56" name="Picture Placeholder 53">
            <a:extLst>
              <a:ext uri="{FF2B5EF4-FFF2-40B4-BE49-F238E27FC236}">
                <a16:creationId xmlns:a16="http://schemas.microsoft.com/office/drawing/2014/main" id="{760C777F-BE30-1E91-2A59-B6FF4E97E2DB}"/>
              </a:ext>
            </a:extLst>
          </p:cNvPr>
          <p:cNvSpPr>
            <a:spLocks noGrp="1"/>
          </p:cNvSpPr>
          <p:nvPr>
            <p:ph type="pic" sz="quarter" idx="11" hasCustomPrompt="1"/>
          </p:nvPr>
        </p:nvSpPr>
        <p:spPr>
          <a:xfrm>
            <a:off x="3855463" y="1473200"/>
            <a:ext cx="1872000" cy="1872000"/>
          </a:xfrm>
          <a:prstGeom prst="ellipse">
            <a:avLst/>
          </a:prstGeom>
          <a:solidFill>
            <a:srgbClr val="F2F3F7"/>
          </a:solidFill>
          <a:effectLst>
            <a:outerShdw dist="50800" dir="2700000" algn="tl" rotWithShape="0">
              <a:srgbClr val="BFC9D3"/>
            </a:outerShdw>
          </a:effectLst>
        </p:spPr>
        <p:txBody>
          <a:bodyPr anchor="ctr"/>
          <a:lstStyle>
            <a:lvl1pPr marL="0" indent="0" algn="ctr">
              <a:buNone/>
              <a:defRPr/>
            </a:lvl1pPr>
          </a:lstStyle>
          <a:p>
            <a:r>
              <a:rPr lang="en-GB" dirty="0"/>
              <a:t>Add profile picture</a:t>
            </a:r>
          </a:p>
        </p:txBody>
      </p:sp>
      <p:sp>
        <p:nvSpPr>
          <p:cNvPr id="57" name="Picture Placeholder 53">
            <a:extLst>
              <a:ext uri="{FF2B5EF4-FFF2-40B4-BE49-F238E27FC236}">
                <a16:creationId xmlns:a16="http://schemas.microsoft.com/office/drawing/2014/main" id="{7373399E-FEE8-2ABE-2628-D41AB3CE97FB}"/>
              </a:ext>
            </a:extLst>
          </p:cNvPr>
          <p:cNvSpPr>
            <a:spLocks noGrp="1"/>
          </p:cNvSpPr>
          <p:nvPr>
            <p:ph type="pic" sz="quarter" idx="12" hasCustomPrompt="1"/>
          </p:nvPr>
        </p:nvSpPr>
        <p:spPr>
          <a:xfrm>
            <a:off x="6457261" y="1473200"/>
            <a:ext cx="1872000" cy="1872000"/>
          </a:xfrm>
          <a:prstGeom prst="ellipse">
            <a:avLst/>
          </a:prstGeom>
          <a:solidFill>
            <a:srgbClr val="F2F3F7"/>
          </a:solidFill>
          <a:effectLst>
            <a:outerShdw dist="50800" dir="2700000" algn="tl" rotWithShape="0">
              <a:srgbClr val="BFC9D3"/>
            </a:outerShdw>
          </a:effectLst>
        </p:spPr>
        <p:txBody>
          <a:bodyPr anchor="ctr"/>
          <a:lstStyle>
            <a:lvl1pPr marL="0" indent="0" algn="ctr">
              <a:buNone/>
              <a:defRPr/>
            </a:lvl1pPr>
          </a:lstStyle>
          <a:p>
            <a:r>
              <a:rPr lang="en-GB" dirty="0"/>
              <a:t>Add profile picture</a:t>
            </a:r>
          </a:p>
        </p:txBody>
      </p:sp>
      <p:sp>
        <p:nvSpPr>
          <p:cNvPr id="58" name="Picture Placeholder 53">
            <a:extLst>
              <a:ext uri="{FF2B5EF4-FFF2-40B4-BE49-F238E27FC236}">
                <a16:creationId xmlns:a16="http://schemas.microsoft.com/office/drawing/2014/main" id="{8F4BC058-75E1-430C-62DD-2E78135BB30A}"/>
              </a:ext>
            </a:extLst>
          </p:cNvPr>
          <p:cNvSpPr>
            <a:spLocks noGrp="1"/>
          </p:cNvSpPr>
          <p:nvPr>
            <p:ph type="pic" sz="quarter" idx="13" hasCustomPrompt="1"/>
          </p:nvPr>
        </p:nvSpPr>
        <p:spPr>
          <a:xfrm>
            <a:off x="9059058" y="1473200"/>
            <a:ext cx="1872000" cy="1872000"/>
          </a:xfrm>
          <a:prstGeom prst="ellipse">
            <a:avLst/>
          </a:prstGeom>
          <a:solidFill>
            <a:srgbClr val="F2F3F7"/>
          </a:solidFill>
          <a:effectLst>
            <a:outerShdw dist="50800" dir="2700000" algn="tl" rotWithShape="0">
              <a:srgbClr val="BFC9D3"/>
            </a:outerShdw>
          </a:effectLst>
        </p:spPr>
        <p:txBody>
          <a:bodyPr anchor="ctr"/>
          <a:lstStyle>
            <a:lvl1pPr marL="0" indent="0" algn="ctr">
              <a:buNone/>
              <a:defRPr/>
            </a:lvl1pPr>
          </a:lstStyle>
          <a:p>
            <a:r>
              <a:rPr lang="en-GB" dirty="0"/>
              <a:t>Add profile picture</a:t>
            </a:r>
          </a:p>
        </p:txBody>
      </p:sp>
      <p:sp>
        <p:nvSpPr>
          <p:cNvPr id="60" name="Text Placeholder 59">
            <a:extLst>
              <a:ext uri="{FF2B5EF4-FFF2-40B4-BE49-F238E27FC236}">
                <a16:creationId xmlns:a16="http://schemas.microsoft.com/office/drawing/2014/main" id="{4E634458-A515-0634-1E3F-DF276A263C2D}"/>
              </a:ext>
            </a:extLst>
          </p:cNvPr>
          <p:cNvSpPr>
            <a:spLocks noGrp="1"/>
          </p:cNvSpPr>
          <p:nvPr>
            <p:ph type="body" sz="quarter" idx="14" hasCustomPrompt="1"/>
          </p:nvPr>
        </p:nvSpPr>
        <p:spPr>
          <a:xfrm>
            <a:off x="1253512" y="3695310"/>
            <a:ext cx="1872000" cy="556184"/>
          </a:xfrm>
        </p:spPr>
        <p:txBody>
          <a:bodyPr anchor="t"/>
          <a:lstStyle>
            <a:lvl1pPr marL="0" indent="0" algn="ctr">
              <a:lnSpc>
                <a:spcPct val="110000"/>
              </a:lnSpc>
              <a:spcBef>
                <a:spcPts val="0"/>
              </a:spcBef>
              <a:buNone/>
              <a:defRPr>
                <a:latin typeface="Playfair Display" pitchFamily="2" charset="0"/>
              </a:defRPr>
            </a:lvl1pPr>
          </a:lstStyle>
          <a:p>
            <a:pPr lvl="0"/>
            <a:r>
              <a:rPr lang="en-US" dirty="0"/>
              <a:t>Add name and title</a:t>
            </a:r>
            <a:endParaRPr lang="en-GB" dirty="0"/>
          </a:p>
        </p:txBody>
      </p:sp>
      <p:sp>
        <p:nvSpPr>
          <p:cNvPr id="61" name="Text Placeholder 59">
            <a:extLst>
              <a:ext uri="{FF2B5EF4-FFF2-40B4-BE49-F238E27FC236}">
                <a16:creationId xmlns:a16="http://schemas.microsoft.com/office/drawing/2014/main" id="{33565502-2EF8-0A42-8B2F-B7BB544C6F76}"/>
              </a:ext>
            </a:extLst>
          </p:cNvPr>
          <p:cNvSpPr>
            <a:spLocks noGrp="1"/>
          </p:cNvSpPr>
          <p:nvPr>
            <p:ph type="body" sz="quarter" idx="15" hasCustomPrompt="1"/>
          </p:nvPr>
        </p:nvSpPr>
        <p:spPr>
          <a:xfrm>
            <a:off x="3855463" y="3695310"/>
            <a:ext cx="1872000" cy="556184"/>
          </a:xfrm>
        </p:spPr>
        <p:txBody>
          <a:bodyPr anchor="t"/>
          <a:lstStyle>
            <a:lvl1pPr marL="0" indent="0" algn="ctr">
              <a:lnSpc>
                <a:spcPct val="110000"/>
              </a:lnSpc>
              <a:spcBef>
                <a:spcPts val="0"/>
              </a:spcBef>
              <a:buNone/>
              <a:defRPr>
                <a:latin typeface="Playfair Display" pitchFamily="2" charset="0"/>
              </a:defRPr>
            </a:lvl1pPr>
          </a:lstStyle>
          <a:p>
            <a:pPr lvl="0"/>
            <a:r>
              <a:rPr lang="en-US" dirty="0"/>
              <a:t>Add name and title</a:t>
            </a:r>
            <a:endParaRPr lang="en-GB" dirty="0"/>
          </a:p>
        </p:txBody>
      </p:sp>
      <p:sp>
        <p:nvSpPr>
          <p:cNvPr id="62" name="Text Placeholder 59">
            <a:extLst>
              <a:ext uri="{FF2B5EF4-FFF2-40B4-BE49-F238E27FC236}">
                <a16:creationId xmlns:a16="http://schemas.microsoft.com/office/drawing/2014/main" id="{7A05B3F3-D87E-BF6C-90DB-EA0EECD59B69}"/>
              </a:ext>
            </a:extLst>
          </p:cNvPr>
          <p:cNvSpPr>
            <a:spLocks noGrp="1"/>
          </p:cNvSpPr>
          <p:nvPr>
            <p:ph type="body" sz="quarter" idx="16" hasCustomPrompt="1"/>
          </p:nvPr>
        </p:nvSpPr>
        <p:spPr>
          <a:xfrm>
            <a:off x="6457261" y="3695310"/>
            <a:ext cx="1872000" cy="556184"/>
          </a:xfrm>
        </p:spPr>
        <p:txBody>
          <a:bodyPr anchor="t"/>
          <a:lstStyle>
            <a:lvl1pPr marL="0" indent="0" algn="ctr">
              <a:lnSpc>
                <a:spcPct val="110000"/>
              </a:lnSpc>
              <a:spcBef>
                <a:spcPts val="0"/>
              </a:spcBef>
              <a:buNone/>
              <a:defRPr>
                <a:latin typeface="Playfair Display" pitchFamily="2" charset="0"/>
              </a:defRPr>
            </a:lvl1pPr>
          </a:lstStyle>
          <a:p>
            <a:pPr lvl="0"/>
            <a:r>
              <a:rPr lang="en-US" dirty="0"/>
              <a:t>Add name and title</a:t>
            </a:r>
            <a:endParaRPr lang="en-GB" dirty="0"/>
          </a:p>
        </p:txBody>
      </p:sp>
      <p:sp>
        <p:nvSpPr>
          <p:cNvPr id="63" name="Text Placeholder 59">
            <a:extLst>
              <a:ext uri="{FF2B5EF4-FFF2-40B4-BE49-F238E27FC236}">
                <a16:creationId xmlns:a16="http://schemas.microsoft.com/office/drawing/2014/main" id="{922520A6-9626-B00C-53EE-0A3092CA2F4D}"/>
              </a:ext>
            </a:extLst>
          </p:cNvPr>
          <p:cNvSpPr>
            <a:spLocks noGrp="1"/>
          </p:cNvSpPr>
          <p:nvPr>
            <p:ph type="body" sz="quarter" idx="17" hasCustomPrompt="1"/>
          </p:nvPr>
        </p:nvSpPr>
        <p:spPr>
          <a:xfrm>
            <a:off x="9059058" y="3695310"/>
            <a:ext cx="1872000" cy="556184"/>
          </a:xfrm>
        </p:spPr>
        <p:txBody>
          <a:bodyPr anchor="t"/>
          <a:lstStyle>
            <a:lvl1pPr marL="0" indent="0" algn="ctr">
              <a:lnSpc>
                <a:spcPct val="110000"/>
              </a:lnSpc>
              <a:spcBef>
                <a:spcPts val="0"/>
              </a:spcBef>
              <a:buNone/>
              <a:defRPr>
                <a:latin typeface="Playfair Display" pitchFamily="2" charset="0"/>
              </a:defRPr>
            </a:lvl1pPr>
          </a:lstStyle>
          <a:p>
            <a:pPr lvl="0"/>
            <a:r>
              <a:rPr lang="en-US" dirty="0"/>
              <a:t>Add name and title</a:t>
            </a:r>
            <a:endParaRPr lang="en-GB" dirty="0"/>
          </a:p>
        </p:txBody>
      </p:sp>
      <p:sp>
        <p:nvSpPr>
          <p:cNvPr id="3" name="Footer Placeholder 2">
            <a:extLst>
              <a:ext uri="{FF2B5EF4-FFF2-40B4-BE49-F238E27FC236}">
                <a16:creationId xmlns:a16="http://schemas.microsoft.com/office/drawing/2014/main" id="{D38A1D08-FEBF-6696-A5FE-2DDDD0921AB0}"/>
              </a:ext>
            </a:extLst>
          </p:cNvPr>
          <p:cNvSpPr>
            <a:spLocks noGrp="1"/>
          </p:cNvSpPr>
          <p:nvPr>
            <p:ph type="ftr" sz="quarter" idx="18"/>
          </p:nvPr>
        </p:nvSpPr>
        <p:spPr/>
        <p:txBody>
          <a:bodyPr/>
          <a:lstStyle/>
          <a:p>
            <a:endParaRPr lang="en-GB"/>
          </a:p>
        </p:txBody>
      </p:sp>
    </p:spTree>
    <p:extLst>
      <p:ext uri="{BB962C8B-B14F-4D97-AF65-F5344CB8AC3E}">
        <p14:creationId xmlns:p14="http://schemas.microsoft.com/office/powerpoint/2010/main" val="2825987520"/>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resenter layout_Three people">
    <p:bg>
      <p:bgPr>
        <a:solidFill>
          <a:srgbClr val="F2F3F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0D28EC-17F6-8468-7C96-4FB31D9FD0BA}"/>
              </a:ext>
            </a:extLst>
          </p:cNvPr>
          <p:cNvGraphicFramePr>
            <a:graphicFrameLocks noChangeAspect="1"/>
          </p:cNvGraphicFramePr>
          <p:nvPr userDrawn="1">
            <p:custDataLst>
              <p:tags r:id="rId1"/>
            </p:custDataLst>
            <p:extLst>
              <p:ext uri="{D42A27DB-BD31-4B8C-83A1-F6EECF244321}">
                <p14:modId xmlns:p14="http://schemas.microsoft.com/office/powerpoint/2010/main" val="3385059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680D28EC-17F6-8468-7C96-4FB31D9FD0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9">
            <a:extLst>
              <a:ext uri="{FF2B5EF4-FFF2-40B4-BE49-F238E27FC236}">
                <a16:creationId xmlns:a16="http://schemas.microsoft.com/office/drawing/2014/main" id="{A2D48AB2-EFAF-4793-A8A5-250513B21E07}"/>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19" name="Slide Number Placeholder 20">
            <a:extLst>
              <a:ext uri="{FF2B5EF4-FFF2-40B4-BE49-F238E27FC236}">
                <a16:creationId xmlns:a16="http://schemas.microsoft.com/office/drawing/2014/main" id="{8EEC7DD3-5720-B601-C3F4-86BA708392C7}"/>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4" name="Picture Placeholder 53">
            <a:extLst>
              <a:ext uri="{FF2B5EF4-FFF2-40B4-BE49-F238E27FC236}">
                <a16:creationId xmlns:a16="http://schemas.microsoft.com/office/drawing/2014/main" id="{D9A5FD3A-739C-00D2-8CED-5128DA4ADD87}"/>
              </a:ext>
            </a:extLst>
          </p:cNvPr>
          <p:cNvSpPr>
            <a:spLocks noGrp="1"/>
          </p:cNvSpPr>
          <p:nvPr>
            <p:ph type="pic" sz="quarter" idx="10" hasCustomPrompt="1"/>
          </p:nvPr>
        </p:nvSpPr>
        <p:spPr>
          <a:xfrm>
            <a:off x="2563989" y="1473200"/>
            <a:ext cx="1872000" cy="1872000"/>
          </a:xfrm>
          <a:prstGeom prst="ellipse">
            <a:avLst/>
          </a:prstGeom>
          <a:solidFill>
            <a:srgbClr val="F2F3F7"/>
          </a:solidFill>
          <a:effectLst>
            <a:outerShdw dist="50800" dir="2700000" algn="tl" rotWithShape="0">
              <a:srgbClr val="BFC9D3"/>
            </a:outerShdw>
          </a:effectLst>
        </p:spPr>
        <p:txBody>
          <a:bodyPr anchor="ctr"/>
          <a:lstStyle>
            <a:lvl1pPr marL="0" indent="0" algn="ctr">
              <a:buNone/>
              <a:defRPr/>
            </a:lvl1pPr>
          </a:lstStyle>
          <a:p>
            <a:r>
              <a:rPr lang="en-GB" dirty="0"/>
              <a:t>Add profile picture</a:t>
            </a:r>
          </a:p>
        </p:txBody>
      </p:sp>
      <p:sp>
        <p:nvSpPr>
          <p:cNvPr id="55" name="Title 1">
            <a:extLst>
              <a:ext uri="{FF2B5EF4-FFF2-40B4-BE49-F238E27FC236}">
                <a16:creationId xmlns:a16="http://schemas.microsoft.com/office/drawing/2014/main" id="{7ACBFD12-A58F-E7A1-6101-94363F07C61C}"/>
              </a:ext>
            </a:extLst>
          </p:cNvPr>
          <p:cNvSpPr>
            <a:spLocks noGrp="1"/>
          </p:cNvSpPr>
          <p:nvPr>
            <p:ph type="title"/>
          </p:nvPr>
        </p:nvSpPr>
        <p:spPr>
          <a:xfrm>
            <a:off x="442913" y="221456"/>
            <a:ext cx="11306175" cy="775597"/>
          </a:xfrm>
        </p:spPr>
        <p:txBody>
          <a:bodyPr/>
          <a:lstStyle>
            <a:lvl1pPr>
              <a:defRPr/>
            </a:lvl1pPr>
          </a:lstStyle>
          <a:p>
            <a:r>
              <a:rPr lang="en-US" noProof="0"/>
              <a:t>Click to edit Master title style</a:t>
            </a:r>
            <a:endParaRPr lang="en-US" noProof="0" dirty="0"/>
          </a:p>
        </p:txBody>
      </p:sp>
      <p:sp>
        <p:nvSpPr>
          <p:cNvPr id="56" name="Picture Placeholder 53">
            <a:extLst>
              <a:ext uri="{FF2B5EF4-FFF2-40B4-BE49-F238E27FC236}">
                <a16:creationId xmlns:a16="http://schemas.microsoft.com/office/drawing/2014/main" id="{760C777F-BE30-1E91-2A59-B6FF4E97E2DB}"/>
              </a:ext>
            </a:extLst>
          </p:cNvPr>
          <p:cNvSpPr>
            <a:spLocks noGrp="1"/>
          </p:cNvSpPr>
          <p:nvPr>
            <p:ph type="pic" sz="quarter" idx="11" hasCustomPrompt="1"/>
          </p:nvPr>
        </p:nvSpPr>
        <p:spPr>
          <a:xfrm>
            <a:off x="5165787" y="1473200"/>
            <a:ext cx="1872000" cy="1872000"/>
          </a:xfrm>
          <a:prstGeom prst="ellipse">
            <a:avLst/>
          </a:prstGeom>
          <a:solidFill>
            <a:srgbClr val="F2F3F7"/>
          </a:solidFill>
          <a:effectLst>
            <a:outerShdw dist="50800" dir="2700000" algn="tl" rotWithShape="0">
              <a:srgbClr val="BFC9D3"/>
            </a:outerShdw>
          </a:effectLst>
        </p:spPr>
        <p:txBody>
          <a:bodyPr anchor="ctr"/>
          <a:lstStyle>
            <a:lvl1pPr marL="0" indent="0" algn="ctr">
              <a:buNone/>
              <a:defRPr/>
            </a:lvl1pPr>
          </a:lstStyle>
          <a:p>
            <a:r>
              <a:rPr lang="en-GB" dirty="0"/>
              <a:t>Add profile picture</a:t>
            </a:r>
          </a:p>
        </p:txBody>
      </p:sp>
      <p:sp>
        <p:nvSpPr>
          <p:cNvPr id="57" name="Picture Placeholder 53">
            <a:extLst>
              <a:ext uri="{FF2B5EF4-FFF2-40B4-BE49-F238E27FC236}">
                <a16:creationId xmlns:a16="http://schemas.microsoft.com/office/drawing/2014/main" id="{7373399E-FEE8-2ABE-2628-D41AB3CE97FB}"/>
              </a:ext>
            </a:extLst>
          </p:cNvPr>
          <p:cNvSpPr>
            <a:spLocks noGrp="1"/>
          </p:cNvSpPr>
          <p:nvPr>
            <p:ph type="pic" sz="quarter" idx="12" hasCustomPrompt="1"/>
          </p:nvPr>
        </p:nvSpPr>
        <p:spPr>
          <a:xfrm>
            <a:off x="7767585" y="1473200"/>
            <a:ext cx="1872000" cy="1872000"/>
          </a:xfrm>
          <a:prstGeom prst="ellipse">
            <a:avLst/>
          </a:prstGeom>
          <a:solidFill>
            <a:srgbClr val="F2F3F7"/>
          </a:solidFill>
          <a:effectLst>
            <a:outerShdw dist="50800" dir="2700000" algn="tl" rotWithShape="0">
              <a:srgbClr val="BFC9D3"/>
            </a:outerShdw>
          </a:effectLst>
        </p:spPr>
        <p:txBody>
          <a:bodyPr anchor="ctr"/>
          <a:lstStyle>
            <a:lvl1pPr marL="0" indent="0" algn="ctr">
              <a:buNone/>
              <a:defRPr/>
            </a:lvl1pPr>
          </a:lstStyle>
          <a:p>
            <a:r>
              <a:rPr lang="en-GB" dirty="0"/>
              <a:t>Add profile picture</a:t>
            </a:r>
          </a:p>
        </p:txBody>
      </p:sp>
      <p:sp>
        <p:nvSpPr>
          <p:cNvPr id="60" name="Text Placeholder 59">
            <a:extLst>
              <a:ext uri="{FF2B5EF4-FFF2-40B4-BE49-F238E27FC236}">
                <a16:creationId xmlns:a16="http://schemas.microsoft.com/office/drawing/2014/main" id="{4E634458-A515-0634-1E3F-DF276A263C2D}"/>
              </a:ext>
            </a:extLst>
          </p:cNvPr>
          <p:cNvSpPr>
            <a:spLocks noGrp="1"/>
          </p:cNvSpPr>
          <p:nvPr>
            <p:ph type="body" sz="quarter" idx="14" hasCustomPrompt="1"/>
          </p:nvPr>
        </p:nvSpPr>
        <p:spPr>
          <a:xfrm>
            <a:off x="2563836" y="3695310"/>
            <a:ext cx="1872000" cy="556184"/>
          </a:xfrm>
        </p:spPr>
        <p:txBody>
          <a:bodyPr anchor="t"/>
          <a:lstStyle>
            <a:lvl1pPr marL="0" indent="0" algn="ctr">
              <a:lnSpc>
                <a:spcPct val="110000"/>
              </a:lnSpc>
              <a:spcBef>
                <a:spcPts val="0"/>
              </a:spcBef>
              <a:buNone/>
              <a:defRPr>
                <a:latin typeface="Playfair Display" pitchFamily="2" charset="0"/>
              </a:defRPr>
            </a:lvl1pPr>
          </a:lstStyle>
          <a:p>
            <a:pPr lvl="0"/>
            <a:r>
              <a:rPr lang="en-US" dirty="0"/>
              <a:t>Add name and title</a:t>
            </a:r>
            <a:endParaRPr lang="en-GB" dirty="0"/>
          </a:p>
        </p:txBody>
      </p:sp>
      <p:sp>
        <p:nvSpPr>
          <p:cNvPr id="61" name="Text Placeholder 59">
            <a:extLst>
              <a:ext uri="{FF2B5EF4-FFF2-40B4-BE49-F238E27FC236}">
                <a16:creationId xmlns:a16="http://schemas.microsoft.com/office/drawing/2014/main" id="{33565502-2EF8-0A42-8B2F-B7BB544C6F76}"/>
              </a:ext>
            </a:extLst>
          </p:cNvPr>
          <p:cNvSpPr>
            <a:spLocks noGrp="1"/>
          </p:cNvSpPr>
          <p:nvPr>
            <p:ph type="body" sz="quarter" idx="15" hasCustomPrompt="1"/>
          </p:nvPr>
        </p:nvSpPr>
        <p:spPr>
          <a:xfrm>
            <a:off x="5165787" y="3695310"/>
            <a:ext cx="1872000" cy="556184"/>
          </a:xfrm>
        </p:spPr>
        <p:txBody>
          <a:bodyPr anchor="t"/>
          <a:lstStyle>
            <a:lvl1pPr marL="0" indent="0" algn="ctr">
              <a:lnSpc>
                <a:spcPct val="110000"/>
              </a:lnSpc>
              <a:spcBef>
                <a:spcPts val="0"/>
              </a:spcBef>
              <a:buNone/>
              <a:defRPr>
                <a:latin typeface="Playfair Display" pitchFamily="2" charset="0"/>
              </a:defRPr>
            </a:lvl1pPr>
          </a:lstStyle>
          <a:p>
            <a:pPr lvl="0"/>
            <a:r>
              <a:rPr lang="en-US" dirty="0"/>
              <a:t>Add name and title</a:t>
            </a:r>
            <a:endParaRPr lang="en-GB" dirty="0"/>
          </a:p>
        </p:txBody>
      </p:sp>
      <p:sp>
        <p:nvSpPr>
          <p:cNvPr id="62" name="Text Placeholder 59">
            <a:extLst>
              <a:ext uri="{FF2B5EF4-FFF2-40B4-BE49-F238E27FC236}">
                <a16:creationId xmlns:a16="http://schemas.microsoft.com/office/drawing/2014/main" id="{7A05B3F3-D87E-BF6C-90DB-EA0EECD59B69}"/>
              </a:ext>
            </a:extLst>
          </p:cNvPr>
          <p:cNvSpPr>
            <a:spLocks noGrp="1"/>
          </p:cNvSpPr>
          <p:nvPr>
            <p:ph type="body" sz="quarter" idx="16" hasCustomPrompt="1"/>
          </p:nvPr>
        </p:nvSpPr>
        <p:spPr>
          <a:xfrm>
            <a:off x="7767585" y="3695310"/>
            <a:ext cx="1872000" cy="556184"/>
          </a:xfrm>
        </p:spPr>
        <p:txBody>
          <a:bodyPr anchor="t"/>
          <a:lstStyle>
            <a:lvl1pPr marL="0" indent="0" algn="ctr">
              <a:lnSpc>
                <a:spcPct val="110000"/>
              </a:lnSpc>
              <a:spcBef>
                <a:spcPts val="0"/>
              </a:spcBef>
              <a:buNone/>
              <a:defRPr>
                <a:latin typeface="Playfair Display" pitchFamily="2" charset="0"/>
              </a:defRPr>
            </a:lvl1pPr>
          </a:lstStyle>
          <a:p>
            <a:pPr lvl="0"/>
            <a:r>
              <a:rPr lang="en-US" dirty="0"/>
              <a:t>Add name and title</a:t>
            </a:r>
            <a:endParaRPr lang="en-GB" dirty="0"/>
          </a:p>
        </p:txBody>
      </p:sp>
      <p:sp>
        <p:nvSpPr>
          <p:cNvPr id="3" name="Footer Placeholder 2">
            <a:extLst>
              <a:ext uri="{FF2B5EF4-FFF2-40B4-BE49-F238E27FC236}">
                <a16:creationId xmlns:a16="http://schemas.microsoft.com/office/drawing/2014/main" id="{59CF5D1F-52E2-309B-CABD-560BE18414C9}"/>
              </a:ext>
            </a:extLst>
          </p:cNvPr>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2508866124"/>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2271935-9D7E-C21F-20F3-3A5A469A4D38}"/>
              </a:ext>
            </a:extLst>
          </p:cNvPr>
          <p:cNvSpPr>
            <a:spLocks/>
          </p:cNvSpPr>
          <p:nvPr userDrawn="1"/>
        </p:nvSpPr>
        <p:spPr>
          <a:xfrm>
            <a:off x="0" y="0"/>
            <a:ext cx="12192000" cy="6858000"/>
          </a:xfrm>
          <a:prstGeom prst="rect">
            <a:avLst/>
          </a:prstGeom>
          <a:solidFill>
            <a:schemeClr val="bg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14" name="Rectangle 13">
            <a:extLst>
              <a:ext uri="{FF2B5EF4-FFF2-40B4-BE49-F238E27FC236}">
                <a16:creationId xmlns:a16="http://schemas.microsoft.com/office/drawing/2014/main" id="{03CDEE1C-81AA-3DD2-0F38-135FB802F3F8}"/>
              </a:ext>
            </a:extLst>
          </p:cNvPr>
          <p:cNvSpPr>
            <a:spLocks/>
          </p:cNvSpPr>
          <p:nvPr userDrawn="1"/>
        </p:nvSpPr>
        <p:spPr>
          <a:xfrm>
            <a:off x="442911" y="3202702"/>
            <a:ext cx="11306178" cy="1074140"/>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The following layouts are for agenda slides.</a:t>
            </a: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Do not use this slide)</a:t>
            </a:r>
            <a:endParaRPr kumimoji="0" lang="en-US" sz="11500" b="0" i="0" u="none" strike="noStrike" kern="1200" cap="none" spc="-30" normalizeH="0" baseline="0" noProof="0" dirty="0">
              <a:ln>
                <a:noFill/>
              </a:ln>
              <a:solidFill>
                <a:srgbClr val="00264E"/>
              </a:solidFill>
              <a:effectLst/>
              <a:uLnTx/>
              <a:uFillTx/>
              <a:latin typeface="Work Sans Medium" pitchFamily="2" charset="0"/>
              <a:ea typeface="+mn-ea"/>
              <a:cs typeface="+mn-cs"/>
            </a:endParaRPr>
          </a:p>
        </p:txBody>
      </p:sp>
      <p:sp>
        <p:nvSpPr>
          <p:cNvPr id="15" name="Rectangle 14">
            <a:extLst>
              <a:ext uri="{FF2B5EF4-FFF2-40B4-BE49-F238E27FC236}">
                <a16:creationId xmlns:a16="http://schemas.microsoft.com/office/drawing/2014/main" id="{B71096FC-EE7B-D0C0-F369-3E74CB2934A4}"/>
              </a:ext>
            </a:extLst>
          </p:cNvPr>
          <p:cNvSpPr>
            <a:spLocks/>
          </p:cNvSpPr>
          <p:nvPr userDrawn="1"/>
        </p:nvSpPr>
        <p:spPr>
          <a:xfrm>
            <a:off x="2270916" y="2008981"/>
            <a:ext cx="7650172" cy="1107996"/>
          </a:xfrm>
          <a:prstGeom prst="rect">
            <a:avLst/>
          </a:prstGeom>
          <a:noFill/>
          <a:ln w="9525" cap="flat">
            <a:noFill/>
            <a:prstDash val="solid"/>
            <a:miter/>
          </a:ln>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8000" b="0" i="0" u="none" strike="noStrike" kern="1200" cap="none" spc="-30" normalizeH="0" baseline="0" noProof="0" dirty="0">
                <a:ln>
                  <a:noFill/>
                </a:ln>
                <a:solidFill>
                  <a:srgbClr val="00264E"/>
                </a:solidFill>
                <a:effectLst/>
                <a:uLnTx/>
                <a:uFillTx/>
                <a:latin typeface="Work Sans Medium" pitchFamily="2" charset="0"/>
                <a:ea typeface="+mn-ea"/>
                <a:cs typeface="+mn-cs"/>
              </a:rPr>
              <a:t>Agenda layouts</a:t>
            </a:r>
          </a:p>
        </p:txBody>
      </p:sp>
    </p:spTree>
    <p:extLst>
      <p:ext uri="{BB962C8B-B14F-4D97-AF65-F5344CB8AC3E}">
        <p14:creationId xmlns:p14="http://schemas.microsoft.com/office/powerpoint/2010/main" val="37071101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layout_curve">
    <p:bg>
      <p:bgPr>
        <a:solidFill>
          <a:srgbClr val="F2F3F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0D28EC-17F6-8468-7C96-4FB31D9FD0BA}"/>
              </a:ext>
            </a:extLst>
          </p:cNvPr>
          <p:cNvGraphicFramePr>
            <a:graphicFrameLocks noChangeAspect="1"/>
          </p:cNvGraphicFramePr>
          <p:nvPr userDrawn="1">
            <p:custDataLst>
              <p:tags r:id="rId1"/>
            </p:custDataLst>
            <p:extLst>
              <p:ext uri="{D42A27DB-BD31-4B8C-83A1-F6EECF244321}">
                <p14:modId xmlns:p14="http://schemas.microsoft.com/office/powerpoint/2010/main" val="223776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680D28EC-17F6-8468-7C96-4FB31D9FD0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6896B9EB-9957-53B9-4C78-DB5CD09A2DE7}"/>
              </a:ext>
            </a:extLst>
          </p:cNvPr>
          <p:cNvSpPr>
            <a:spLocks noGrp="1"/>
          </p:cNvSpPr>
          <p:nvPr>
            <p:ph type="title"/>
          </p:nvPr>
        </p:nvSpPr>
        <p:spPr>
          <a:xfrm>
            <a:off x="678584" y="3230097"/>
            <a:ext cx="3600450" cy="775597"/>
          </a:xfrm>
        </p:spPr>
        <p:txBody>
          <a:bodyPr vert="horz"/>
          <a:lstStyle>
            <a:lvl1pPr algn="ctr">
              <a:defRPr>
                <a:solidFill>
                  <a:srgbClr val="00264E"/>
                </a:solidFill>
                <a:latin typeface="Playfair Display Black" pitchFamily="2" charset="0"/>
              </a:defRPr>
            </a:lvl1pPr>
          </a:lstStyle>
          <a:p>
            <a:r>
              <a:rPr lang="en-US"/>
              <a:t>Click to edit Master title style</a:t>
            </a:r>
            <a:endParaRPr lang="en-US" dirty="0"/>
          </a:p>
        </p:txBody>
      </p:sp>
      <p:sp>
        <p:nvSpPr>
          <p:cNvPr id="7" name="Text Placeholder 4">
            <a:extLst>
              <a:ext uri="{FF2B5EF4-FFF2-40B4-BE49-F238E27FC236}">
                <a16:creationId xmlns:a16="http://schemas.microsoft.com/office/drawing/2014/main" id="{79D3FB05-BBAB-D255-A64E-AC565C7F5497}"/>
              </a:ext>
            </a:extLst>
          </p:cNvPr>
          <p:cNvSpPr>
            <a:spLocks noGrp="1"/>
          </p:cNvSpPr>
          <p:nvPr>
            <p:ph type="body" sz="quarter" idx="15" hasCustomPrompt="1"/>
          </p:nvPr>
        </p:nvSpPr>
        <p:spPr>
          <a:xfrm>
            <a:off x="6778461" y="1496739"/>
            <a:ext cx="3624974" cy="276999"/>
          </a:xfrm>
        </p:spPr>
        <p:txBody>
          <a:bodyPr wrap="square">
            <a:spAutoFit/>
          </a:bodyPr>
          <a:lstStyle>
            <a:lvl1pPr marL="0" indent="0">
              <a:lnSpc>
                <a:spcPct val="90000"/>
              </a:lnSpc>
              <a:spcBef>
                <a:spcPts val="300"/>
              </a:spcBef>
              <a:spcAft>
                <a:spcPts val="0"/>
              </a:spcAft>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8" name="Text Placeholder 7">
            <a:extLst>
              <a:ext uri="{FF2B5EF4-FFF2-40B4-BE49-F238E27FC236}">
                <a16:creationId xmlns:a16="http://schemas.microsoft.com/office/drawing/2014/main" id="{5D39C42A-1944-F6FB-2047-D1E399A8CAE1}"/>
              </a:ext>
            </a:extLst>
          </p:cNvPr>
          <p:cNvSpPr>
            <a:spLocks noGrp="1"/>
          </p:cNvSpPr>
          <p:nvPr>
            <p:ph type="body" sz="quarter" idx="16" hasCustomPrompt="1"/>
          </p:nvPr>
        </p:nvSpPr>
        <p:spPr>
          <a:xfrm>
            <a:off x="6249825" y="1496739"/>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9" name="Text Placeholder 4">
            <a:extLst>
              <a:ext uri="{FF2B5EF4-FFF2-40B4-BE49-F238E27FC236}">
                <a16:creationId xmlns:a16="http://schemas.microsoft.com/office/drawing/2014/main" id="{16F89D70-136D-8588-2518-6B44F35C6EB3}"/>
              </a:ext>
            </a:extLst>
          </p:cNvPr>
          <p:cNvSpPr>
            <a:spLocks noGrp="1"/>
          </p:cNvSpPr>
          <p:nvPr>
            <p:ph type="body" sz="quarter" idx="17" hasCustomPrompt="1"/>
          </p:nvPr>
        </p:nvSpPr>
        <p:spPr>
          <a:xfrm>
            <a:off x="6778461" y="2157625"/>
            <a:ext cx="3624974" cy="276999"/>
          </a:xfrm>
        </p:spPr>
        <p:txBody>
          <a:bodyPr wrap="square">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10" name="Text Placeholder 7">
            <a:extLst>
              <a:ext uri="{FF2B5EF4-FFF2-40B4-BE49-F238E27FC236}">
                <a16:creationId xmlns:a16="http://schemas.microsoft.com/office/drawing/2014/main" id="{F9885965-1012-4870-6B94-240567CC6583}"/>
              </a:ext>
            </a:extLst>
          </p:cNvPr>
          <p:cNvSpPr>
            <a:spLocks noGrp="1"/>
          </p:cNvSpPr>
          <p:nvPr>
            <p:ph type="body" sz="quarter" idx="18" hasCustomPrompt="1"/>
          </p:nvPr>
        </p:nvSpPr>
        <p:spPr>
          <a:xfrm>
            <a:off x="6249825" y="2157625"/>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11" name="Text Placeholder 4">
            <a:extLst>
              <a:ext uri="{FF2B5EF4-FFF2-40B4-BE49-F238E27FC236}">
                <a16:creationId xmlns:a16="http://schemas.microsoft.com/office/drawing/2014/main" id="{B305A7E2-B0B5-087C-9997-6E931C2AFB3B}"/>
              </a:ext>
            </a:extLst>
          </p:cNvPr>
          <p:cNvSpPr>
            <a:spLocks noGrp="1"/>
          </p:cNvSpPr>
          <p:nvPr>
            <p:ph type="body" sz="quarter" idx="19" hasCustomPrompt="1"/>
          </p:nvPr>
        </p:nvSpPr>
        <p:spPr>
          <a:xfrm>
            <a:off x="6778461" y="2818511"/>
            <a:ext cx="3624974" cy="276999"/>
          </a:xfrm>
        </p:spPr>
        <p:txBody>
          <a:bodyPr wrap="square">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12" name="Text Placeholder 7">
            <a:extLst>
              <a:ext uri="{FF2B5EF4-FFF2-40B4-BE49-F238E27FC236}">
                <a16:creationId xmlns:a16="http://schemas.microsoft.com/office/drawing/2014/main" id="{586EEDB8-1E04-2160-CA2B-BB9925D080C4}"/>
              </a:ext>
            </a:extLst>
          </p:cNvPr>
          <p:cNvSpPr>
            <a:spLocks noGrp="1"/>
          </p:cNvSpPr>
          <p:nvPr>
            <p:ph type="body" sz="quarter" idx="20" hasCustomPrompt="1"/>
          </p:nvPr>
        </p:nvSpPr>
        <p:spPr>
          <a:xfrm>
            <a:off x="6249825" y="2818511"/>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13" name="Text Placeholder 4">
            <a:extLst>
              <a:ext uri="{FF2B5EF4-FFF2-40B4-BE49-F238E27FC236}">
                <a16:creationId xmlns:a16="http://schemas.microsoft.com/office/drawing/2014/main" id="{F704C185-C4C5-90E1-DD6E-152A211384B7}"/>
              </a:ext>
            </a:extLst>
          </p:cNvPr>
          <p:cNvSpPr>
            <a:spLocks noGrp="1"/>
          </p:cNvSpPr>
          <p:nvPr>
            <p:ph type="body" sz="quarter" idx="21" hasCustomPrompt="1"/>
          </p:nvPr>
        </p:nvSpPr>
        <p:spPr>
          <a:xfrm>
            <a:off x="6778461" y="3479397"/>
            <a:ext cx="3624974" cy="276999"/>
          </a:xfrm>
        </p:spPr>
        <p:txBody>
          <a:bodyPr wrap="square">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14" name="Text Placeholder 7">
            <a:extLst>
              <a:ext uri="{FF2B5EF4-FFF2-40B4-BE49-F238E27FC236}">
                <a16:creationId xmlns:a16="http://schemas.microsoft.com/office/drawing/2014/main" id="{7F06C1D1-B81E-7C8A-BA8D-E0F2F9BA14A0}"/>
              </a:ext>
            </a:extLst>
          </p:cNvPr>
          <p:cNvSpPr>
            <a:spLocks noGrp="1"/>
          </p:cNvSpPr>
          <p:nvPr>
            <p:ph type="body" sz="quarter" idx="22" hasCustomPrompt="1"/>
          </p:nvPr>
        </p:nvSpPr>
        <p:spPr>
          <a:xfrm>
            <a:off x="6249825" y="3479397"/>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15" name="Text Placeholder 4">
            <a:extLst>
              <a:ext uri="{FF2B5EF4-FFF2-40B4-BE49-F238E27FC236}">
                <a16:creationId xmlns:a16="http://schemas.microsoft.com/office/drawing/2014/main" id="{D63AF855-24B5-B5D7-C734-73B19A5FF999}"/>
              </a:ext>
            </a:extLst>
          </p:cNvPr>
          <p:cNvSpPr>
            <a:spLocks noGrp="1"/>
          </p:cNvSpPr>
          <p:nvPr>
            <p:ph type="body" sz="quarter" idx="23" hasCustomPrompt="1"/>
          </p:nvPr>
        </p:nvSpPr>
        <p:spPr>
          <a:xfrm>
            <a:off x="6778461" y="4140283"/>
            <a:ext cx="3624974" cy="276999"/>
          </a:xfrm>
        </p:spPr>
        <p:txBody>
          <a:bodyPr wrap="square">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16" name="Text Placeholder 7">
            <a:extLst>
              <a:ext uri="{FF2B5EF4-FFF2-40B4-BE49-F238E27FC236}">
                <a16:creationId xmlns:a16="http://schemas.microsoft.com/office/drawing/2014/main" id="{F53BB475-0FC8-99A3-7FD5-B34BEAF0B045}"/>
              </a:ext>
            </a:extLst>
          </p:cNvPr>
          <p:cNvSpPr>
            <a:spLocks noGrp="1"/>
          </p:cNvSpPr>
          <p:nvPr>
            <p:ph type="body" sz="quarter" idx="24" hasCustomPrompt="1"/>
          </p:nvPr>
        </p:nvSpPr>
        <p:spPr>
          <a:xfrm>
            <a:off x="6249825" y="4140283"/>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17" name="Text Placeholder 4">
            <a:extLst>
              <a:ext uri="{FF2B5EF4-FFF2-40B4-BE49-F238E27FC236}">
                <a16:creationId xmlns:a16="http://schemas.microsoft.com/office/drawing/2014/main" id="{BDCE62CE-249F-3743-92B2-E004030DC0C7}"/>
              </a:ext>
            </a:extLst>
          </p:cNvPr>
          <p:cNvSpPr>
            <a:spLocks noGrp="1"/>
          </p:cNvSpPr>
          <p:nvPr>
            <p:ph type="body" sz="quarter" idx="25" hasCustomPrompt="1"/>
          </p:nvPr>
        </p:nvSpPr>
        <p:spPr>
          <a:xfrm>
            <a:off x="6778461" y="4801169"/>
            <a:ext cx="3624974" cy="276999"/>
          </a:xfrm>
        </p:spPr>
        <p:txBody>
          <a:bodyPr wrap="square">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18" name="Text Placeholder 7">
            <a:extLst>
              <a:ext uri="{FF2B5EF4-FFF2-40B4-BE49-F238E27FC236}">
                <a16:creationId xmlns:a16="http://schemas.microsoft.com/office/drawing/2014/main" id="{9E86E868-FFB0-5659-E15D-088572974B47}"/>
              </a:ext>
            </a:extLst>
          </p:cNvPr>
          <p:cNvSpPr>
            <a:spLocks noGrp="1"/>
          </p:cNvSpPr>
          <p:nvPr>
            <p:ph type="body" sz="quarter" idx="26" hasCustomPrompt="1"/>
          </p:nvPr>
        </p:nvSpPr>
        <p:spPr>
          <a:xfrm>
            <a:off x="6249825" y="4801169"/>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0" name="Text Placeholder 4">
            <a:extLst>
              <a:ext uri="{FF2B5EF4-FFF2-40B4-BE49-F238E27FC236}">
                <a16:creationId xmlns:a16="http://schemas.microsoft.com/office/drawing/2014/main" id="{E5BCCCC8-CE1A-EA8A-18A5-72EE19E3048A}"/>
              </a:ext>
            </a:extLst>
          </p:cNvPr>
          <p:cNvSpPr>
            <a:spLocks noGrp="1"/>
          </p:cNvSpPr>
          <p:nvPr>
            <p:ph type="body" sz="quarter" idx="27" hasCustomPrompt="1"/>
          </p:nvPr>
        </p:nvSpPr>
        <p:spPr>
          <a:xfrm>
            <a:off x="6778461" y="5462058"/>
            <a:ext cx="3624974" cy="276999"/>
          </a:xfrm>
        </p:spPr>
        <p:txBody>
          <a:bodyPr wrap="square">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1" name="Text Placeholder 7">
            <a:extLst>
              <a:ext uri="{FF2B5EF4-FFF2-40B4-BE49-F238E27FC236}">
                <a16:creationId xmlns:a16="http://schemas.microsoft.com/office/drawing/2014/main" id="{F520A370-9401-EC10-9C06-66241610FBDF}"/>
              </a:ext>
            </a:extLst>
          </p:cNvPr>
          <p:cNvSpPr>
            <a:spLocks noGrp="1"/>
          </p:cNvSpPr>
          <p:nvPr>
            <p:ph type="body" sz="quarter" idx="28" hasCustomPrompt="1"/>
          </p:nvPr>
        </p:nvSpPr>
        <p:spPr>
          <a:xfrm>
            <a:off x="6249825" y="5462058"/>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2" name="Bild 7">
            <a:extLst>
              <a:ext uri="{FF2B5EF4-FFF2-40B4-BE49-F238E27FC236}">
                <a16:creationId xmlns:a16="http://schemas.microsoft.com/office/drawing/2014/main" id="{9A173953-467D-DE95-40F0-E46694A51DDB}"/>
              </a:ext>
            </a:extLst>
          </p:cNvPr>
          <p:cNvSpPr/>
          <p:nvPr userDrawn="1"/>
        </p:nvSpPr>
        <p:spPr>
          <a:xfrm flipV="1">
            <a:off x="4549532" y="1496739"/>
            <a:ext cx="826109" cy="4242318"/>
          </a:xfrm>
          <a:custGeom>
            <a:avLst/>
            <a:gdLst>
              <a:gd name="connsiteX0" fmla="*/ 152087 w 682154"/>
              <a:gd name="connsiteY0" fmla="*/ 0 h 3426348"/>
              <a:gd name="connsiteX1" fmla="*/ 2038 w 682154"/>
              <a:gd name="connsiteY1" fmla="*/ 888535 h 3426348"/>
              <a:gd name="connsiteX2" fmla="*/ 674995 w 682154"/>
              <a:gd name="connsiteY2" fmla="*/ 3426349 h 3426348"/>
            </a:gdLst>
            <a:ahLst/>
            <a:cxnLst>
              <a:cxn ang="0">
                <a:pos x="connsiteX0" y="connsiteY0"/>
              </a:cxn>
              <a:cxn ang="0">
                <a:pos x="connsiteX1" y="connsiteY1"/>
              </a:cxn>
              <a:cxn ang="0">
                <a:pos x="connsiteX2" y="connsiteY2"/>
              </a:cxn>
            </a:cxnLst>
            <a:rect l="l" t="t" r="r" b="b"/>
            <a:pathLst>
              <a:path w="682154" h="3426348">
                <a:moveTo>
                  <a:pt x="152087" y="0"/>
                </a:moveTo>
                <a:cubicBezTo>
                  <a:pt x="152087" y="0"/>
                  <a:pt x="-20549" y="293998"/>
                  <a:pt x="2038" y="888535"/>
                </a:cubicBezTo>
                <a:cubicBezTo>
                  <a:pt x="38800" y="1856727"/>
                  <a:pt x="761343" y="2502817"/>
                  <a:pt x="674995" y="3426349"/>
                </a:cubicBezTo>
              </a:path>
            </a:pathLst>
          </a:custGeom>
          <a:noFill/>
          <a:ln w="15601" cap="flat">
            <a:solidFill>
              <a:srgbClr val="0B254B"/>
            </a:solid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64E"/>
              </a:solidFill>
              <a:effectLst/>
              <a:uLnTx/>
              <a:uFillTx/>
              <a:latin typeface="Work Sans Light"/>
              <a:ea typeface="+mn-ea"/>
              <a:cs typeface="+mn-cs"/>
            </a:endParaRPr>
          </a:p>
        </p:txBody>
      </p:sp>
      <p:sp>
        <p:nvSpPr>
          <p:cNvPr id="2" name="Date Placeholder 19">
            <a:extLst>
              <a:ext uri="{FF2B5EF4-FFF2-40B4-BE49-F238E27FC236}">
                <a16:creationId xmlns:a16="http://schemas.microsoft.com/office/drawing/2014/main" id="{A2D48AB2-EFAF-4793-A8A5-250513B21E07}"/>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19" name="Slide Number Placeholder 20">
            <a:extLst>
              <a:ext uri="{FF2B5EF4-FFF2-40B4-BE49-F238E27FC236}">
                <a16:creationId xmlns:a16="http://schemas.microsoft.com/office/drawing/2014/main" id="{8EEC7DD3-5720-B601-C3F4-86BA708392C7}"/>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98F69DFE-28AA-4F87-911E-051FC127C122}"/>
              </a:ext>
            </a:extLst>
          </p:cNvPr>
          <p:cNvSpPr>
            <a:spLocks noGrp="1"/>
          </p:cNvSpPr>
          <p:nvPr>
            <p:ph type="ftr" sz="quarter" idx="29"/>
          </p:nvPr>
        </p:nvSpPr>
        <p:spPr/>
        <p:txBody>
          <a:bodyPr/>
          <a:lstStyle/>
          <a:p>
            <a:endParaRPr lang="en-GB"/>
          </a:p>
        </p:txBody>
      </p:sp>
    </p:spTree>
    <p:extLst>
      <p:ext uri="{BB962C8B-B14F-4D97-AF65-F5344CB8AC3E}">
        <p14:creationId xmlns:p14="http://schemas.microsoft.com/office/powerpoint/2010/main" val="1059458310"/>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da layout_Clean">
    <p:bg>
      <p:bgPr>
        <a:solidFill>
          <a:srgbClr val="F2F3F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0D28EC-17F6-8468-7C96-4FB31D9FD0BA}"/>
              </a:ext>
            </a:extLst>
          </p:cNvPr>
          <p:cNvGraphicFramePr>
            <a:graphicFrameLocks noChangeAspect="1"/>
          </p:cNvGraphicFramePr>
          <p:nvPr userDrawn="1">
            <p:custDataLst>
              <p:tags r:id="rId1"/>
            </p:custDataLst>
            <p:extLst>
              <p:ext uri="{D42A27DB-BD31-4B8C-83A1-F6EECF244321}">
                <p14:modId xmlns:p14="http://schemas.microsoft.com/office/powerpoint/2010/main" val="3661027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680D28EC-17F6-8468-7C96-4FB31D9FD0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0CB4B7DD-28BF-400A-9C18-DD61B9CDAD76}"/>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rgbClr val="00264E"/>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9E8E342D-8E7B-4687-9A9D-EE055EE1D4DE}"/>
              </a:ext>
            </a:extLst>
          </p:cNvPr>
          <p:cNvSpPr>
            <a:spLocks noGrp="1"/>
          </p:cNvSpPr>
          <p:nvPr>
            <p:ph type="title"/>
          </p:nvPr>
        </p:nvSpPr>
        <p:spPr>
          <a:xfrm>
            <a:off x="442914" y="221456"/>
            <a:ext cx="3600450" cy="775597"/>
          </a:xfrm>
        </p:spPr>
        <p:txBody>
          <a:bodyPr vert="horz"/>
          <a:lstStyle>
            <a:lvl1pPr>
              <a:defRPr>
                <a:solidFill>
                  <a:schemeClr val="accent1"/>
                </a:solidFill>
                <a:latin typeface="Playfair Display Black" pitchFamily="2" charset="0"/>
              </a:defRPr>
            </a:lvl1pPr>
          </a:lstStyle>
          <a:p>
            <a:r>
              <a:rPr lang="en-US"/>
              <a:t>Click to edit Master title style</a:t>
            </a:r>
            <a:endParaRPr lang="en-US" dirty="0"/>
          </a:p>
        </p:txBody>
      </p:sp>
      <p:sp>
        <p:nvSpPr>
          <p:cNvPr id="25" name="Text Placeholder 4">
            <a:extLst>
              <a:ext uri="{FF2B5EF4-FFF2-40B4-BE49-F238E27FC236}">
                <a16:creationId xmlns:a16="http://schemas.microsoft.com/office/drawing/2014/main" id="{E31AD2CA-46F9-4311-AA53-47BE448219D7}"/>
              </a:ext>
            </a:extLst>
          </p:cNvPr>
          <p:cNvSpPr>
            <a:spLocks noGrp="1"/>
          </p:cNvSpPr>
          <p:nvPr>
            <p:ph type="body" sz="quarter" idx="15" hasCustomPrompt="1"/>
          </p:nvPr>
        </p:nvSpPr>
        <p:spPr>
          <a:xfrm>
            <a:off x="971549" y="1506165"/>
            <a:ext cx="3071813" cy="276999"/>
          </a:xfrm>
        </p:spPr>
        <p:txBody>
          <a:bodyPr>
            <a:spAutoFit/>
          </a:bodyPr>
          <a:lstStyle>
            <a:lvl1pPr marL="0" indent="0">
              <a:lnSpc>
                <a:spcPct val="90000"/>
              </a:lnSpc>
              <a:spcBef>
                <a:spcPts val="300"/>
              </a:spcBef>
              <a:spcAft>
                <a:spcPts val="0"/>
              </a:spcAft>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6" name="Text Placeholder 7">
            <a:extLst>
              <a:ext uri="{FF2B5EF4-FFF2-40B4-BE49-F238E27FC236}">
                <a16:creationId xmlns:a16="http://schemas.microsoft.com/office/drawing/2014/main" id="{B8BCD205-4358-4A14-A1B2-DAD1117A6231}"/>
              </a:ext>
            </a:extLst>
          </p:cNvPr>
          <p:cNvSpPr>
            <a:spLocks noGrp="1"/>
          </p:cNvSpPr>
          <p:nvPr>
            <p:ph type="body" sz="quarter" idx="16" hasCustomPrompt="1"/>
          </p:nvPr>
        </p:nvSpPr>
        <p:spPr>
          <a:xfrm>
            <a:off x="442913" y="1506165"/>
            <a:ext cx="376237" cy="276999"/>
          </a:xfrm>
        </p:spPr>
        <p:txBody>
          <a:bodyPr wrap="square">
            <a:spAutoFit/>
          </a:bodyPr>
          <a:lstStyle>
            <a:lvl1pPr marL="0" indent="0">
              <a:lnSpc>
                <a:spcPct val="90000"/>
              </a:lnSpc>
              <a:buNone/>
              <a:defRPr sz="2000">
                <a:solidFill>
                  <a:schemeClr val="accent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7" name="Text Placeholder 4">
            <a:extLst>
              <a:ext uri="{FF2B5EF4-FFF2-40B4-BE49-F238E27FC236}">
                <a16:creationId xmlns:a16="http://schemas.microsoft.com/office/drawing/2014/main" id="{24810E7C-D454-40CD-A438-8FCAE2A37117}"/>
              </a:ext>
            </a:extLst>
          </p:cNvPr>
          <p:cNvSpPr>
            <a:spLocks noGrp="1"/>
          </p:cNvSpPr>
          <p:nvPr>
            <p:ph type="body" sz="quarter" idx="17" hasCustomPrompt="1"/>
          </p:nvPr>
        </p:nvSpPr>
        <p:spPr>
          <a:xfrm>
            <a:off x="971549" y="2167051"/>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8" name="Text Placeholder 7">
            <a:extLst>
              <a:ext uri="{FF2B5EF4-FFF2-40B4-BE49-F238E27FC236}">
                <a16:creationId xmlns:a16="http://schemas.microsoft.com/office/drawing/2014/main" id="{2D374567-1F32-4E3B-9E67-17A12530E8E8}"/>
              </a:ext>
            </a:extLst>
          </p:cNvPr>
          <p:cNvSpPr>
            <a:spLocks noGrp="1"/>
          </p:cNvSpPr>
          <p:nvPr>
            <p:ph type="body" sz="quarter" idx="18" hasCustomPrompt="1"/>
          </p:nvPr>
        </p:nvSpPr>
        <p:spPr>
          <a:xfrm>
            <a:off x="442913" y="2167051"/>
            <a:ext cx="376237" cy="276999"/>
          </a:xfrm>
        </p:spPr>
        <p:txBody>
          <a:bodyPr wrap="square">
            <a:spAutoFit/>
          </a:bodyPr>
          <a:lstStyle>
            <a:lvl1pPr marL="0" indent="0">
              <a:lnSpc>
                <a:spcPct val="90000"/>
              </a:lnSpc>
              <a:buNone/>
              <a:defRPr sz="2000">
                <a:solidFill>
                  <a:schemeClr val="accent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9" name="Text Placeholder 4">
            <a:extLst>
              <a:ext uri="{FF2B5EF4-FFF2-40B4-BE49-F238E27FC236}">
                <a16:creationId xmlns:a16="http://schemas.microsoft.com/office/drawing/2014/main" id="{1FED032E-91AB-48C8-BA9D-C6E2773ED79A}"/>
              </a:ext>
            </a:extLst>
          </p:cNvPr>
          <p:cNvSpPr>
            <a:spLocks noGrp="1"/>
          </p:cNvSpPr>
          <p:nvPr>
            <p:ph type="body" sz="quarter" idx="19" hasCustomPrompt="1"/>
          </p:nvPr>
        </p:nvSpPr>
        <p:spPr>
          <a:xfrm>
            <a:off x="971549" y="2827937"/>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0" name="Text Placeholder 7">
            <a:extLst>
              <a:ext uri="{FF2B5EF4-FFF2-40B4-BE49-F238E27FC236}">
                <a16:creationId xmlns:a16="http://schemas.microsoft.com/office/drawing/2014/main" id="{F7FA3E30-B4BF-4AFE-A61C-24A788BFBDF0}"/>
              </a:ext>
            </a:extLst>
          </p:cNvPr>
          <p:cNvSpPr>
            <a:spLocks noGrp="1"/>
          </p:cNvSpPr>
          <p:nvPr>
            <p:ph type="body" sz="quarter" idx="20" hasCustomPrompt="1"/>
          </p:nvPr>
        </p:nvSpPr>
        <p:spPr>
          <a:xfrm>
            <a:off x="442913" y="2827937"/>
            <a:ext cx="376237" cy="276999"/>
          </a:xfrm>
        </p:spPr>
        <p:txBody>
          <a:bodyPr wrap="square">
            <a:spAutoFit/>
          </a:bodyPr>
          <a:lstStyle>
            <a:lvl1pPr marL="0" indent="0">
              <a:lnSpc>
                <a:spcPct val="90000"/>
              </a:lnSpc>
              <a:buNone/>
              <a:defRPr sz="2000">
                <a:solidFill>
                  <a:schemeClr val="accent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1" name="Text Placeholder 4">
            <a:extLst>
              <a:ext uri="{FF2B5EF4-FFF2-40B4-BE49-F238E27FC236}">
                <a16:creationId xmlns:a16="http://schemas.microsoft.com/office/drawing/2014/main" id="{5C04BF94-0CA4-45D7-90EE-EE260DA4AFF8}"/>
              </a:ext>
            </a:extLst>
          </p:cNvPr>
          <p:cNvSpPr>
            <a:spLocks noGrp="1"/>
          </p:cNvSpPr>
          <p:nvPr>
            <p:ph type="body" sz="quarter" idx="21" hasCustomPrompt="1"/>
          </p:nvPr>
        </p:nvSpPr>
        <p:spPr>
          <a:xfrm>
            <a:off x="971549" y="3488823"/>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2" name="Text Placeholder 7">
            <a:extLst>
              <a:ext uri="{FF2B5EF4-FFF2-40B4-BE49-F238E27FC236}">
                <a16:creationId xmlns:a16="http://schemas.microsoft.com/office/drawing/2014/main" id="{30708C30-3230-4A39-AC62-959E41EB2CE2}"/>
              </a:ext>
            </a:extLst>
          </p:cNvPr>
          <p:cNvSpPr>
            <a:spLocks noGrp="1"/>
          </p:cNvSpPr>
          <p:nvPr>
            <p:ph type="body" sz="quarter" idx="22" hasCustomPrompt="1"/>
          </p:nvPr>
        </p:nvSpPr>
        <p:spPr>
          <a:xfrm>
            <a:off x="442913" y="3488823"/>
            <a:ext cx="376237" cy="276999"/>
          </a:xfrm>
        </p:spPr>
        <p:txBody>
          <a:bodyPr wrap="square">
            <a:spAutoFit/>
          </a:bodyPr>
          <a:lstStyle>
            <a:lvl1pPr marL="0" indent="0">
              <a:lnSpc>
                <a:spcPct val="90000"/>
              </a:lnSpc>
              <a:buNone/>
              <a:defRPr sz="2000">
                <a:solidFill>
                  <a:schemeClr val="accent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3" name="Text Placeholder 4">
            <a:extLst>
              <a:ext uri="{FF2B5EF4-FFF2-40B4-BE49-F238E27FC236}">
                <a16:creationId xmlns:a16="http://schemas.microsoft.com/office/drawing/2014/main" id="{88F4FA1F-999B-47E1-B01D-3B12FE0B31E7}"/>
              </a:ext>
            </a:extLst>
          </p:cNvPr>
          <p:cNvSpPr>
            <a:spLocks noGrp="1"/>
          </p:cNvSpPr>
          <p:nvPr>
            <p:ph type="body" sz="quarter" idx="23" hasCustomPrompt="1"/>
          </p:nvPr>
        </p:nvSpPr>
        <p:spPr>
          <a:xfrm>
            <a:off x="971549" y="4149709"/>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4" name="Text Placeholder 7">
            <a:extLst>
              <a:ext uri="{FF2B5EF4-FFF2-40B4-BE49-F238E27FC236}">
                <a16:creationId xmlns:a16="http://schemas.microsoft.com/office/drawing/2014/main" id="{035F8BE4-77FC-4F59-BCC2-91B76B7F1521}"/>
              </a:ext>
            </a:extLst>
          </p:cNvPr>
          <p:cNvSpPr>
            <a:spLocks noGrp="1"/>
          </p:cNvSpPr>
          <p:nvPr>
            <p:ph type="body" sz="quarter" idx="24" hasCustomPrompt="1"/>
          </p:nvPr>
        </p:nvSpPr>
        <p:spPr>
          <a:xfrm>
            <a:off x="442913" y="4149709"/>
            <a:ext cx="376237" cy="276999"/>
          </a:xfrm>
        </p:spPr>
        <p:txBody>
          <a:bodyPr wrap="square">
            <a:spAutoFit/>
          </a:bodyPr>
          <a:lstStyle>
            <a:lvl1pPr marL="0" indent="0">
              <a:lnSpc>
                <a:spcPct val="90000"/>
              </a:lnSpc>
              <a:buNone/>
              <a:defRPr sz="2000">
                <a:solidFill>
                  <a:schemeClr val="accent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5" name="Text Placeholder 4">
            <a:extLst>
              <a:ext uri="{FF2B5EF4-FFF2-40B4-BE49-F238E27FC236}">
                <a16:creationId xmlns:a16="http://schemas.microsoft.com/office/drawing/2014/main" id="{3866815A-5C4C-411D-8043-18E44BC764A4}"/>
              </a:ext>
            </a:extLst>
          </p:cNvPr>
          <p:cNvSpPr>
            <a:spLocks noGrp="1"/>
          </p:cNvSpPr>
          <p:nvPr>
            <p:ph type="body" sz="quarter" idx="25" hasCustomPrompt="1"/>
          </p:nvPr>
        </p:nvSpPr>
        <p:spPr>
          <a:xfrm>
            <a:off x="971549" y="4810595"/>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6" name="Text Placeholder 7">
            <a:extLst>
              <a:ext uri="{FF2B5EF4-FFF2-40B4-BE49-F238E27FC236}">
                <a16:creationId xmlns:a16="http://schemas.microsoft.com/office/drawing/2014/main" id="{105B9D3D-1AD6-4B95-9E6A-7319CC20CB38}"/>
              </a:ext>
            </a:extLst>
          </p:cNvPr>
          <p:cNvSpPr>
            <a:spLocks noGrp="1"/>
          </p:cNvSpPr>
          <p:nvPr>
            <p:ph type="body" sz="quarter" idx="26" hasCustomPrompt="1"/>
          </p:nvPr>
        </p:nvSpPr>
        <p:spPr>
          <a:xfrm>
            <a:off x="442913" y="4810595"/>
            <a:ext cx="376237" cy="276999"/>
          </a:xfrm>
        </p:spPr>
        <p:txBody>
          <a:bodyPr wrap="square">
            <a:spAutoFit/>
          </a:bodyPr>
          <a:lstStyle>
            <a:lvl1pPr marL="0" indent="0">
              <a:lnSpc>
                <a:spcPct val="90000"/>
              </a:lnSpc>
              <a:buNone/>
              <a:defRPr sz="2000">
                <a:solidFill>
                  <a:schemeClr val="accent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7" name="Text Placeholder 4">
            <a:extLst>
              <a:ext uri="{FF2B5EF4-FFF2-40B4-BE49-F238E27FC236}">
                <a16:creationId xmlns:a16="http://schemas.microsoft.com/office/drawing/2014/main" id="{B8C0FBA2-35F0-4292-ABBF-1AA223650327}"/>
              </a:ext>
            </a:extLst>
          </p:cNvPr>
          <p:cNvSpPr>
            <a:spLocks noGrp="1"/>
          </p:cNvSpPr>
          <p:nvPr>
            <p:ph type="body" sz="quarter" idx="27" hasCustomPrompt="1"/>
          </p:nvPr>
        </p:nvSpPr>
        <p:spPr>
          <a:xfrm>
            <a:off x="971549" y="5471484"/>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8" name="Text Placeholder 7">
            <a:extLst>
              <a:ext uri="{FF2B5EF4-FFF2-40B4-BE49-F238E27FC236}">
                <a16:creationId xmlns:a16="http://schemas.microsoft.com/office/drawing/2014/main" id="{F69963A3-2EFC-4DB5-BD7E-A7B2F057E690}"/>
              </a:ext>
            </a:extLst>
          </p:cNvPr>
          <p:cNvSpPr>
            <a:spLocks noGrp="1"/>
          </p:cNvSpPr>
          <p:nvPr>
            <p:ph type="body" sz="quarter" idx="28" hasCustomPrompt="1"/>
          </p:nvPr>
        </p:nvSpPr>
        <p:spPr>
          <a:xfrm>
            <a:off x="442913" y="5471484"/>
            <a:ext cx="376237" cy="276999"/>
          </a:xfrm>
        </p:spPr>
        <p:txBody>
          <a:bodyPr wrap="square">
            <a:spAutoFit/>
          </a:bodyPr>
          <a:lstStyle>
            <a:lvl1pPr marL="0" indent="0">
              <a:lnSpc>
                <a:spcPct val="90000"/>
              </a:lnSpc>
              <a:buNone/>
              <a:defRPr sz="2000">
                <a:solidFill>
                  <a:schemeClr val="accent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 name="Date Placeholder 19">
            <a:extLst>
              <a:ext uri="{FF2B5EF4-FFF2-40B4-BE49-F238E27FC236}">
                <a16:creationId xmlns:a16="http://schemas.microsoft.com/office/drawing/2014/main" id="{3AD01A25-09B5-BD41-6191-16BA6C153A29}"/>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7" name="Slide Number Placeholder 20">
            <a:extLst>
              <a:ext uri="{FF2B5EF4-FFF2-40B4-BE49-F238E27FC236}">
                <a16:creationId xmlns:a16="http://schemas.microsoft.com/office/drawing/2014/main" id="{F9657B72-82E8-E443-7366-9D9A7FD59FE3}"/>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EF85C1F5-60A1-19F4-AD1E-DF33FDF2E339}"/>
              </a:ext>
            </a:extLst>
          </p:cNvPr>
          <p:cNvSpPr>
            <a:spLocks noGrp="1"/>
          </p:cNvSpPr>
          <p:nvPr>
            <p:ph type="ftr" sz="quarter" idx="29"/>
          </p:nvPr>
        </p:nvSpPr>
        <p:spPr/>
        <p:txBody>
          <a:bodyPr/>
          <a:lstStyle/>
          <a:p>
            <a:endParaRPr lang="en-GB"/>
          </a:p>
        </p:txBody>
      </p:sp>
    </p:spTree>
    <p:extLst>
      <p:ext uri="{BB962C8B-B14F-4D97-AF65-F5344CB8AC3E}">
        <p14:creationId xmlns:p14="http://schemas.microsoft.com/office/powerpoint/2010/main" val="785373156"/>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layout_Black Olive Navy">
    <p:bg>
      <p:bgPr>
        <a:solidFill>
          <a:schemeClr val="accent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02277D1-197D-3A6B-30B9-5259AE821245}"/>
              </a:ext>
            </a:extLst>
          </p:cNvPr>
          <p:cNvGraphicFramePr>
            <a:graphicFrameLocks noChangeAspect="1"/>
          </p:cNvGraphicFramePr>
          <p:nvPr userDrawn="1">
            <p:custDataLst>
              <p:tags r:id="rId1"/>
            </p:custDataLst>
            <p:extLst>
              <p:ext uri="{D42A27DB-BD31-4B8C-83A1-F6EECF244321}">
                <p14:modId xmlns:p14="http://schemas.microsoft.com/office/powerpoint/2010/main" val="3128734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think-cell data - do not delete" hidden="1">
                        <a:extLst>
                          <a:ext uri="{FF2B5EF4-FFF2-40B4-BE49-F238E27FC236}">
                            <a16:creationId xmlns:a16="http://schemas.microsoft.com/office/drawing/2014/main" id="{802277D1-197D-3A6B-30B9-5259AE8212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0CB4B7DD-28BF-400A-9C18-DD61B9CDAD76}"/>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endParaRPr lang="en-US" dirty="0"/>
          </a:p>
        </p:txBody>
      </p:sp>
      <p:sp>
        <p:nvSpPr>
          <p:cNvPr id="9" name="Graphic 21">
            <a:extLst>
              <a:ext uri="{FF2B5EF4-FFF2-40B4-BE49-F238E27FC236}">
                <a16:creationId xmlns:a16="http://schemas.microsoft.com/office/drawing/2014/main" id="{05EB7591-792F-497E-BC19-17F9D3F0DD27}"/>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chemeClr val="bg1"/>
          </a:solidFill>
          <a:ln w="9525"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9E8E342D-8E7B-4687-9A9D-EE055EE1D4DE}"/>
              </a:ext>
            </a:extLst>
          </p:cNvPr>
          <p:cNvSpPr>
            <a:spLocks noGrp="1"/>
          </p:cNvSpPr>
          <p:nvPr>
            <p:ph type="title"/>
          </p:nvPr>
        </p:nvSpPr>
        <p:spPr>
          <a:xfrm>
            <a:off x="442914" y="221456"/>
            <a:ext cx="3600450" cy="775597"/>
          </a:xfrm>
        </p:spPr>
        <p:txBody>
          <a:bodyPr vert="horz"/>
          <a:lstStyle>
            <a:lvl1pPr>
              <a:defRPr>
                <a:solidFill>
                  <a:schemeClr val="bg1"/>
                </a:solidFill>
                <a:latin typeface="Playfair Display Black" pitchFamily="2"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8EE89C49-B4A2-4BF1-BBCC-7355BE13BF5B}"/>
              </a:ext>
            </a:extLst>
          </p:cNvPr>
          <p:cNvSpPr>
            <a:spLocks noGrp="1"/>
          </p:cNvSpPr>
          <p:nvPr>
            <p:ph type="body" sz="quarter" idx="15" hasCustomPrompt="1"/>
          </p:nvPr>
        </p:nvSpPr>
        <p:spPr>
          <a:xfrm>
            <a:off x="971549" y="1506165"/>
            <a:ext cx="3071813" cy="276999"/>
          </a:xfrm>
        </p:spPr>
        <p:txBody>
          <a:bodyPr>
            <a:spAutoFit/>
          </a:bodyPr>
          <a:lstStyle>
            <a:lvl1pPr marL="0" indent="0">
              <a:lnSpc>
                <a:spcPct val="90000"/>
              </a:lnSpc>
              <a:spcBef>
                <a:spcPts val="600"/>
              </a:spcBef>
              <a:spcAft>
                <a:spcPts val="0"/>
              </a:spcAft>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8" name="Text Placeholder 7">
            <a:extLst>
              <a:ext uri="{FF2B5EF4-FFF2-40B4-BE49-F238E27FC236}">
                <a16:creationId xmlns:a16="http://schemas.microsoft.com/office/drawing/2014/main" id="{1AD25EDE-211D-4376-A566-F21D3F510B99}"/>
              </a:ext>
            </a:extLst>
          </p:cNvPr>
          <p:cNvSpPr>
            <a:spLocks noGrp="1"/>
          </p:cNvSpPr>
          <p:nvPr>
            <p:ph type="body" sz="quarter" idx="16" hasCustomPrompt="1"/>
          </p:nvPr>
        </p:nvSpPr>
        <p:spPr>
          <a:xfrm>
            <a:off x="442913" y="1506165"/>
            <a:ext cx="376237" cy="276999"/>
          </a:xfrm>
        </p:spPr>
        <p:txBody>
          <a:bodyPr wrap="square">
            <a:spAutoFit/>
          </a:bodyPr>
          <a:lstStyle>
            <a:lvl1pPr marL="0" indent="0">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12" name="Text Placeholder 4">
            <a:extLst>
              <a:ext uri="{FF2B5EF4-FFF2-40B4-BE49-F238E27FC236}">
                <a16:creationId xmlns:a16="http://schemas.microsoft.com/office/drawing/2014/main" id="{0D516DBD-2718-44D9-8274-2F4C843197C8}"/>
              </a:ext>
            </a:extLst>
          </p:cNvPr>
          <p:cNvSpPr>
            <a:spLocks noGrp="1"/>
          </p:cNvSpPr>
          <p:nvPr>
            <p:ph type="body" sz="quarter" idx="17" hasCustomPrompt="1"/>
          </p:nvPr>
        </p:nvSpPr>
        <p:spPr>
          <a:xfrm>
            <a:off x="971549" y="2167051"/>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13" name="Text Placeholder 7">
            <a:extLst>
              <a:ext uri="{FF2B5EF4-FFF2-40B4-BE49-F238E27FC236}">
                <a16:creationId xmlns:a16="http://schemas.microsoft.com/office/drawing/2014/main" id="{9890DA38-E6CB-4D57-8C6E-C427FF50D001}"/>
              </a:ext>
            </a:extLst>
          </p:cNvPr>
          <p:cNvSpPr>
            <a:spLocks noGrp="1"/>
          </p:cNvSpPr>
          <p:nvPr>
            <p:ph type="body" sz="quarter" idx="18" hasCustomPrompt="1"/>
          </p:nvPr>
        </p:nvSpPr>
        <p:spPr>
          <a:xfrm>
            <a:off x="442913" y="2167051"/>
            <a:ext cx="376237" cy="276999"/>
          </a:xfrm>
        </p:spPr>
        <p:txBody>
          <a:bodyPr wrap="square">
            <a:spAutoFit/>
          </a:bodyPr>
          <a:lstStyle>
            <a:lvl1pPr marL="0" indent="0">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14" name="Text Placeholder 4">
            <a:extLst>
              <a:ext uri="{FF2B5EF4-FFF2-40B4-BE49-F238E27FC236}">
                <a16:creationId xmlns:a16="http://schemas.microsoft.com/office/drawing/2014/main" id="{72C959F8-256E-4D0D-970F-C1357A95089C}"/>
              </a:ext>
            </a:extLst>
          </p:cNvPr>
          <p:cNvSpPr>
            <a:spLocks noGrp="1"/>
          </p:cNvSpPr>
          <p:nvPr>
            <p:ph type="body" sz="quarter" idx="19" hasCustomPrompt="1"/>
          </p:nvPr>
        </p:nvSpPr>
        <p:spPr>
          <a:xfrm>
            <a:off x="971549" y="2827937"/>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15" name="Text Placeholder 7">
            <a:extLst>
              <a:ext uri="{FF2B5EF4-FFF2-40B4-BE49-F238E27FC236}">
                <a16:creationId xmlns:a16="http://schemas.microsoft.com/office/drawing/2014/main" id="{794C02A7-08B2-4598-B5E8-B171109646D1}"/>
              </a:ext>
            </a:extLst>
          </p:cNvPr>
          <p:cNvSpPr>
            <a:spLocks noGrp="1"/>
          </p:cNvSpPr>
          <p:nvPr>
            <p:ph type="body" sz="quarter" idx="20" hasCustomPrompt="1"/>
          </p:nvPr>
        </p:nvSpPr>
        <p:spPr>
          <a:xfrm>
            <a:off x="442913" y="2827937"/>
            <a:ext cx="376237" cy="276999"/>
          </a:xfrm>
        </p:spPr>
        <p:txBody>
          <a:bodyPr wrap="square">
            <a:spAutoFit/>
          </a:bodyPr>
          <a:lstStyle>
            <a:lvl1pPr marL="0" indent="0">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16" name="Text Placeholder 4">
            <a:extLst>
              <a:ext uri="{FF2B5EF4-FFF2-40B4-BE49-F238E27FC236}">
                <a16:creationId xmlns:a16="http://schemas.microsoft.com/office/drawing/2014/main" id="{9B618029-B736-413E-86C7-10E7A3FFC9FC}"/>
              </a:ext>
            </a:extLst>
          </p:cNvPr>
          <p:cNvSpPr>
            <a:spLocks noGrp="1"/>
          </p:cNvSpPr>
          <p:nvPr>
            <p:ph type="body" sz="quarter" idx="21" hasCustomPrompt="1"/>
          </p:nvPr>
        </p:nvSpPr>
        <p:spPr>
          <a:xfrm>
            <a:off x="971549" y="3488823"/>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17" name="Text Placeholder 7">
            <a:extLst>
              <a:ext uri="{FF2B5EF4-FFF2-40B4-BE49-F238E27FC236}">
                <a16:creationId xmlns:a16="http://schemas.microsoft.com/office/drawing/2014/main" id="{5AA61192-2B03-4F58-AE1E-09114F170367}"/>
              </a:ext>
            </a:extLst>
          </p:cNvPr>
          <p:cNvSpPr>
            <a:spLocks noGrp="1"/>
          </p:cNvSpPr>
          <p:nvPr>
            <p:ph type="body" sz="quarter" idx="22" hasCustomPrompt="1"/>
          </p:nvPr>
        </p:nvSpPr>
        <p:spPr>
          <a:xfrm>
            <a:off x="442913" y="3488823"/>
            <a:ext cx="376237" cy="276999"/>
          </a:xfrm>
        </p:spPr>
        <p:txBody>
          <a:bodyPr wrap="square">
            <a:spAutoFit/>
          </a:bodyPr>
          <a:lstStyle>
            <a:lvl1pPr marL="0" indent="0">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18" name="Text Placeholder 4">
            <a:extLst>
              <a:ext uri="{FF2B5EF4-FFF2-40B4-BE49-F238E27FC236}">
                <a16:creationId xmlns:a16="http://schemas.microsoft.com/office/drawing/2014/main" id="{001DC646-3B66-47D9-B508-09A2B54E7CD1}"/>
              </a:ext>
            </a:extLst>
          </p:cNvPr>
          <p:cNvSpPr>
            <a:spLocks noGrp="1"/>
          </p:cNvSpPr>
          <p:nvPr>
            <p:ph type="body" sz="quarter" idx="23" hasCustomPrompt="1"/>
          </p:nvPr>
        </p:nvSpPr>
        <p:spPr>
          <a:xfrm>
            <a:off x="971549" y="4149709"/>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0" name="Text Placeholder 7">
            <a:extLst>
              <a:ext uri="{FF2B5EF4-FFF2-40B4-BE49-F238E27FC236}">
                <a16:creationId xmlns:a16="http://schemas.microsoft.com/office/drawing/2014/main" id="{A1BBBFCB-34E2-4052-8268-94142CABF8F2}"/>
              </a:ext>
            </a:extLst>
          </p:cNvPr>
          <p:cNvSpPr>
            <a:spLocks noGrp="1"/>
          </p:cNvSpPr>
          <p:nvPr>
            <p:ph type="body" sz="quarter" idx="24" hasCustomPrompt="1"/>
          </p:nvPr>
        </p:nvSpPr>
        <p:spPr>
          <a:xfrm>
            <a:off x="442913" y="4149709"/>
            <a:ext cx="376237" cy="276999"/>
          </a:xfrm>
        </p:spPr>
        <p:txBody>
          <a:bodyPr wrap="square">
            <a:spAutoFit/>
          </a:bodyPr>
          <a:lstStyle>
            <a:lvl1pPr marL="0" indent="0">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1" name="Text Placeholder 4">
            <a:extLst>
              <a:ext uri="{FF2B5EF4-FFF2-40B4-BE49-F238E27FC236}">
                <a16:creationId xmlns:a16="http://schemas.microsoft.com/office/drawing/2014/main" id="{E454277E-E459-44BB-80BE-0E1F83ED667B}"/>
              </a:ext>
            </a:extLst>
          </p:cNvPr>
          <p:cNvSpPr>
            <a:spLocks noGrp="1"/>
          </p:cNvSpPr>
          <p:nvPr>
            <p:ph type="body" sz="quarter" idx="25" hasCustomPrompt="1"/>
          </p:nvPr>
        </p:nvSpPr>
        <p:spPr>
          <a:xfrm>
            <a:off x="971549" y="4810595"/>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2" name="Text Placeholder 7">
            <a:extLst>
              <a:ext uri="{FF2B5EF4-FFF2-40B4-BE49-F238E27FC236}">
                <a16:creationId xmlns:a16="http://schemas.microsoft.com/office/drawing/2014/main" id="{14AF7E5D-97FD-4EBA-8375-D07CDF9F49C7}"/>
              </a:ext>
            </a:extLst>
          </p:cNvPr>
          <p:cNvSpPr>
            <a:spLocks noGrp="1"/>
          </p:cNvSpPr>
          <p:nvPr>
            <p:ph type="body" sz="quarter" idx="26" hasCustomPrompt="1"/>
          </p:nvPr>
        </p:nvSpPr>
        <p:spPr>
          <a:xfrm>
            <a:off x="442913" y="4810595"/>
            <a:ext cx="376237" cy="276999"/>
          </a:xfrm>
        </p:spPr>
        <p:txBody>
          <a:bodyPr wrap="square">
            <a:spAutoFit/>
          </a:bodyPr>
          <a:lstStyle>
            <a:lvl1pPr marL="0" indent="0">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3" name="Text Placeholder 4">
            <a:extLst>
              <a:ext uri="{FF2B5EF4-FFF2-40B4-BE49-F238E27FC236}">
                <a16:creationId xmlns:a16="http://schemas.microsoft.com/office/drawing/2014/main" id="{CCE4A50A-55D9-4DC5-A643-1DC5A1522B90}"/>
              </a:ext>
            </a:extLst>
          </p:cNvPr>
          <p:cNvSpPr>
            <a:spLocks noGrp="1"/>
          </p:cNvSpPr>
          <p:nvPr>
            <p:ph type="body" sz="quarter" idx="27" hasCustomPrompt="1"/>
          </p:nvPr>
        </p:nvSpPr>
        <p:spPr>
          <a:xfrm>
            <a:off x="971549" y="5471484"/>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4" name="Text Placeholder 7">
            <a:extLst>
              <a:ext uri="{FF2B5EF4-FFF2-40B4-BE49-F238E27FC236}">
                <a16:creationId xmlns:a16="http://schemas.microsoft.com/office/drawing/2014/main" id="{C95057B2-70B1-4F7A-BABF-7CA1541DA2F6}"/>
              </a:ext>
            </a:extLst>
          </p:cNvPr>
          <p:cNvSpPr>
            <a:spLocks noGrp="1"/>
          </p:cNvSpPr>
          <p:nvPr>
            <p:ph type="body" sz="quarter" idx="28" hasCustomPrompt="1"/>
          </p:nvPr>
        </p:nvSpPr>
        <p:spPr>
          <a:xfrm>
            <a:off x="442913" y="5471484"/>
            <a:ext cx="376237" cy="276999"/>
          </a:xfrm>
        </p:spPr>
        <p:txBody>
          <a:bodyPr wrap="square">
            <a:spAutoFit/>
          </a:bodyPr>
          <a:lstStyle>
            <a:lvl1pPr marL="0" indent="0">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 name="Date Placeholder 19">
            <a:extLst>
              <a:ext uri="{FF2B5EF4-FFF2-40B4-BE49-F238E27FC236}">
                <a16:creationId xmlns:a16="http://schemas.microsoft.com/office/drawing/2014/main" id="{A22CF366-7D4F-4450-2D70-E8F873378325}"/>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chemeClr val="bg1"/>
                </a:solidFill>
              </a:defRPr>
            </a:lvl1pPr>
          </a:lstStyle>
          <a:p>
            <a:fld id="{684B2894-3B84-4879-8F4C-FB2CBD9FC7AC}" type="datetimeFigureOut">
              <a:rPr lang="en-GB" smtClean="0"/>
              <a:pPr/>
              <a:t>18/06/2025</a:t>
            </a:fld>
            <a:endParaRPr lang="en-GB" dirty="0"/>
          </a:p>
        </p:txBody>
      </p:sp>
      <p:sp>
        <p:nvSpPr>
          <p:cNvPr id="10" name="Slide Number Placeholder 20">
            <a:extLst>
              <a:ext uri="{FF2B5EF4-FFF2-40B4-BE49-F238E27FC236}">
                <a16:creationId xmlns:a16="http://schemas.microsoft.com/office/drawing/2014/main" id="{DA24E541-63A8-1647-3FE1-BAF5492E29FC}"/>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chemeClr val="bg1"/>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0445FA98-CEC5-EDCA-BDAF-8EBCBACA8580}"/>
              </a:ext>
            </a:extLst>
          </p:cNvPr>
          <p:cNvSpPr>
            <a:spLocks noGrp="1"/>
          </p:cNvSpPr>
          <p:nvPr>
            <p:ph type="ftr" sz="quarter" idx="29"/>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1407653623"/>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Agenda layout_Soya Bean Green">
    <p:bg>
      <p:bgPr>
        <a:solidFill>
          <a:srgbClr val="D2DEC3"/>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438FE6-A3A2-8F40-8213-8CA44661496F}"/>
              </a:ext>
            </a:extLst>
          </p:cNvPr>
          <p:cNvGraphicFramePr>
            <a:graphicFrameLocks noChangeAspect="1"/>
          </p:cNvGraphicFramePr>
          <p:nvPr userDrawn="1">
            <p:custDataLst>
              <p:tags r:id="rId1"/>
            </p:custDataLst>
            <p:extLst>
              <p:ext uri="{D42A27DB-BD31-4B8C-83A1-F6EECF244321}">
                <p14:modId xmlns:p14="http://schemas.microsoft.com/office/powerpoint/2010/main" val="3691762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81438FE6-A3A2-8F40-8213-8CA4466149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0CB4B7DD-28BF-400A-9C18-DD61B9CDAD76}"/>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rgbClr val="00264E"/>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9E8E342D-8E7B-4687-9A9D-EE055EE1D4DE}"/>
              </a:ext>
            </a:extLst>
          </p:cNvPr>
          <p:cNvSpPr>
            <a:spLocks noGrp="1"/>
          </p:cNvSpPr>
          <p:nvPr>
            <p:ph type="title"/>
          </p:nvPr>
        </p:nvSpPr>
        <p:spPr>
          <a:xfrm>
            <a:off x="442914" y="221456"/>
            <a:ext cx="3600450" cy="775597"/>
          </a:xfrm>
        </p:spPr>
        <p:txBody>
          <a:bodyPr vert="horz"/>
          <a:lstStyle>
            <a:lvl1pPr>
              <a:defRPr>
                <a:solidFill>
                  <a:srgbClr val="00264E"/>
                </a:solidFill>
                <a:latin typeface="Playfair Display Black" pitchFamily="2" charset="0"/>
              </a:defRPr>
            </a:lvl1pPr>
          </a:lstStyle>
          <a:p>
            <a:r>
              <a:rPr lang="en-US"/>
              <a:t>Click to edit Master title style</a:t>
            </a:r>
            <a:endParaRPr lang="en-US" dirty="0"/>
          </a:p>
        </p:txBody>
      </p:sp>
      <p:sp>
        <p:nvSpPr>
          <p:cNvPr id="25" name="Text Placeholder 4">
            <a:extLst>
              <a:ext uri="{FF2B5EF4-FFF2-40B4-BE49-F238E27FC236}">
                <a16:creationId xmlns:a16="http://schemas.microsoft.com/office/drawing/2014/main" id="{6CBED0BC-D259-4875-86AF-D9188CD54FC3}"/>
              </a:ext>
            </a:extLst>
          </p:cNvPr>
          <p:cNvSpPr>
            <a:spLocks noGrp="1"/>
          </p:cNvSpPr>
          <p:nvPr>
            <p:ph type="body" sz="quarter" idx="15" hasCustomPrompt="1"/>
          </p:nvPr>
        </p:nvSpPr>
        <p:spPr>
          <a:xfrm>
            <a:off x="971549" y="1506165"/>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6" name="Text Placeholder 7">
            <a:extLst>
              <a:ext uri="{FF2B5EF4-FFF2-40B4-BE49-F238E27FC236}">
                <a16:creationId xmlns:a16="http://schemas.microsoft.com/office/drawing/2014/main" id="{D5B03D5B-79F9-41FB-9E64-BE7D0CC6B9A5}"/>
              </a:ext>
            </a:extLst>
          </p:cNvPr>
          <p:cNvSpPr>
            <a:spLocks noGrp="1"/>
          </p:cNvSpPr>
          <p:nvPr>
            <p:ph type="body" sz="quarter" idx="16" hasCustomPrompt="1"/>
          </p:nvPr>
        </p:nvSpPr>
        <p:spPr>
          <a:xfrm>
            <a:off x="442913" y="1506165"/>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7" name="Text Placeholder 4">
            <a:extLst>
              <a:ext uri="{FF2B5EF4-FFF2-40B4-BE49-F238E27FC236}">
                <a16:creationId xmlns:a16="http://schemas.microsoft.com/office/drawing/2014/main" id="{B65F8426-5514-49E0-A5AB-51491AA0C881}"/>
              </a:ext>
            </a:extLst>
          </p:cNvPr>
          <p:cNvSpPr>
            <a:spLocks noGrp="1"/>
          </p:cNvSpPr>
          <p:nvPr>
            <p:ph type="body" sz="quarter" idx="17" hasCustomPrompt="1"/>
          </p:nvPr>
        </p:nvSpPr>
        <p:spPr>
          <a:xfrm>
            <a:off x="971549" y="2167051"/>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8" name="Text Placeholder 7">
            <a:extLst>
              <a:ext uri="{FF2B5EF4-FFF2-40B4-BE49-F238E27FC236}">
                <a16:creationId xmlns:a16="http://schemas.microsoft.com/office/drawing/2014/main" id="{48E6C7B3-2A3C-4939-8E5A-52372E4F076F}"/>
              </a:ext>
            </a:extLst>
          </p:cNvPr>
          <p:cNvSpPr>
            <a:spLocks noGrp="1"/>
          </p:cNvSpPr>
          <p:nvPr>
            <p:ph type="body" sz="quarter" idx="18" hasCustomPrompt="1"/>
          </p:nvPr>
        </p:nvSpPr>
        <p:spPr>
          <a:xfrm>
            <a:off x="442913" y="2167051"/>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9" name="Text Placeholder 4">
            <a:extLst>
              <a:ext uri="{FF2B5EF4-FFF2-40B4-BE49-F238E27FC236}">
                <a16:creationId xmlns:a16="http://schemas.microsoft.com/office/drawing/2014/main" id="{1F134E19-827D-4CE8-8B64-1552EECB5CD3}"/>
              </a:ext>
            </a:extLst>
          </p:cNvPr>
          <p:cNvSpPr>
            <a:spLocks noGrp="1"/>
          </p:cNvSpPr>
          <p:nvPr>
            <p:ph type="body" sz="quarter" idx="19" hasCustomPrompt="1"/>
          </p:nvPr>
        </p:nvSpPr>
        <p:spPr>
          <a:xfrm>
            <a:off x="971549" y="2827937"/>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0" name="Text Placeholder 7">
            <a:extLst>
              <a:ext uri="{FF2B5EF4-FFF2-40B4-BE49-F238E27FC236}">
                <a16:creationId xmlns:a16="http://schemas.microsoft.com/office/drawing/2014/main" id="{B730A7A2-BD28-4419-901D-25CBE0AB9233}"/>
              </a:ext>
            </a:extLst>
          </p:cNvPr>
          <p:cNvSpPr>
            <a:spLocks noGrp="1"/>
          </p:cNvSpPr>
          <p:nvPr>
            <p:ph type="body" sz="quarter" idx="20" hasCustomPrompt="1"/>
          </p:nvPr>
        </p:nvSpPr>
        <p:spPr>
          <a:xfrm>
            <a:off x="442913" y="2827937"/>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1" name="Text Placeholder 4">
            <a:extLst>
              <a:ext uri="{FF2B5EF4-FFF2-40B4-BE49-F238E27FC236}">
                <a16:creationId xmlns:a16="http://schemas.microsoft.com/office/drawing/2014/main" id="{442A9B2B-9879-478A-910B-38E10A9B0119}"/>
              </a:ext>
            </a:extLst>
          </p:cNvPr>
          <p:cNvSpPr>
            <a:spLocks noGrp="1"/>
          </p:cNvSpPr>
          <p:nvPr>
            <p:ph type="body" sz="quarter" idx="21" hasCustomPrompt="1"/>
          </p:nvPr>
        </p:nvSpPr>
        <p:spPr>
          <a:xfrm>
            <a:off x="971549" y="3488823"/>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2" name="Text Placeholder 7">
            <a:extLst>
              <a:ext uri="{FF2B5EF4-FFF2-40B4-BE49-F238E27FC236}">
                <a16:creationId xmlns:a16="http://schemas.microsoft.com/office/drawing/2014/main" id="{06EF25CD-077D-41BB-9C6D-75E330D7300D}"/>
              </a:ext>
            </a:extLst>
          </p:cNvPr>
          <p:cNvSpPr>
            <a:spLocks noGrp="1"/>
          </p:cNvSpPr>
          <p:nvPr>
            <p:ph type="body" sz="quarter" idx="22" hasCustomPrompt="1"/>
          </p:nvPr>
        </p:nvSpPr>
        <p:spPr>
          <a:xfrm>
            <a:off x="442913" y="3488823"/>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3" name="Text Placeholder 4">
            <a:extLst>
              <a:ext uri="{FF2B5EF4-FFF2-40B4-BE49-F238E27FC236}">
                <a16:creationId xmlns:a16="http://schemas.microsoft.com/office/drawing/2014/main" id="{2CB56702-EFDF-4DFF-BDAD-853CFDCAB997}"/>
              </a:ext>
            </a:extLst>
          </p:cNvPr>
          <p:cNvSpPr>
            <a:spLocks noGrp="1"/>
          </p:cNvSpPr>
          <p:nvPr>
            <p:ph type="body" sz="quarter" idx="23" hasCustomPrompt="1"/>
          </p:nvPr>
        </p:nvSpPr>
        <p:spPr>
          <a:xfrm>
            <a:off x="971549" y="4149709"/>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4" name="Text Placeholder 7">
            <a:extLst>
              <a:ext uri="{FF2B5EF4-FFF2-40B4-BE49-F238E27FC236}">
                <a16:creationId xmlns:a16="http://schemas.microsoft.com/office/drawing/2014/main" id="{41397C85-5313-4131-9E34-6AB1FBD0F68B}"/>
              </a:ext>
            </a:extLst>
          </p:cNvPr>
          <p:cNvSpPr>
            <a:spLocks noGrp="1"/>
          </p:cNvSpPr>
          <p:nvPr>
            <p:ph type="body" sz="quarter" idx="24" hasCustomPrompt="1"/>
          </p:nvPr>
        </p:nvSpPr>
        <p:spPr>
          <a:xfrm>
            <a:off x="442913" y="4149709"/>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5" name="Text Placeholder 4">
            <a:extLst>
              <a:ext uri="{FF2B5EF4-FFF2-40B4-BE49-F238E27FC236}">
                <a16:creationId xmlns:a16="http://schemas.microsoft.com/office/drawing/2014/main" id="{C3DABBE9-055A-428D-8946-9B675805D775}"/>
              </a:ext>
            </a:extLst>
          </p:cNvPr>
          <p:cNvSpPr>
            <a:spLocks noGrp="1"/>
          </p:cNvSpPr>
          <p:nvPr>
            <p:ph type="body" sz="quarter" idx="25" hasCustomPrompt="1"/>
          </p:nvPr>
        </p:nvSpPr>
        <p:spPr>
          <a:xfrm>
            <a:off x="971549" y="4810595"/>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6" name="Text Placeholder 7">
            <a:extLst>
              <a:ext uri="{FF2B5EF4-FFF2-40B4-BE49-F238E27FC236}">
                <a16:creationId xmlns:a16="http://schemas.microsoft.com/office/drawing/2014/main" id="{1BC7FBD5-D84C-4693-A681-7BA81E4AE213}"/>
              </a:ext>
            </a:extLst>
          </p:cNvPr>
          <p:cNvSpPr>
            <a:spLocks noGrp="1"/>
          </p:cNvSpPr>
          <p:nvPr>
            <p:ph type="body" sz="quarter" idx="26" hasCustomPrompt="1"/>
          </p:nvPr>
        </p:nvSpPr>
        <p:spPr>
          <a:xfrm>
            <a:off x="442913" y="4810595"/>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7" name="Text Placeholder 4">
            <a:extLst>
              <a:ext uri="{FF2B5EF4-FFF2-40B4-BE49-F238E27FC236}">
                <a16:creationId xmlns:a16="http://schemas.microsoft.com/office/drawing/2014/main" id="{C0F7E4A4-FD0C-48DA-8AA0-469EAF21920C}"/>
              </a:ext>
            </a:extLst>
          </p:cNvPr>
          <p:cNvSpPr>
            <a:spLocks noGrp="1"/>
          </p:cNvSpPr>
          <p:nvPr>
            <p:ph type="body" sz="quarter" idx="27" hasCustomPrompt="1"/>
          </p:nvPr>
        </p:nvSpPr>
        <p:spPr>
          <a:xfrm>
            <a:off x="971549" y="5471484"/>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8" name="Text Placeholder 7">
            <a:extLst>
              <a:ext uri="{FF2B5EF4-FFF2-40B4-BE49-F238E27FC236}">
                <a16:creationId xmlns:a16="http://schemas.microsoft.com/office/drawing/2014/main" id="{3D32277F-6A9F-4B4D-B8AF-2707A62B8B75}"/>
              </a:ext>
            </a:extLst>
          </p:cNvPr>
          <p:cNvSpPr>
            <a:spLocks noGrp="1"/>
          </p:cNvSpPr>
          <p:nvPr>
            <p:ph type="body" sz="quarter" idx="28" hasCustomPrompt="1"/>
          </p:nvPr>
        </p:nvSpPr>
        <p:spPr>
          <a:xfrm>
            <a:off x="442913" y="5471484"/>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 name="Date Placeholder 19">
            <a:extLst>
              <a:ext uri="{FF2B5EF4-FFF2-40B4-BE49-F238E27FC236}">
                <a16:creationId xmlns:a16="http://schemas.microsoft.com/office/drawing/2014/main" id="{D299433D-86B5-3BB5-9A41-C0465B5D9DF7}"/>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7" name="Slide Number Placeholder 20">
            <a:extLst>
              <a:ext uri="{FF2B5EF4-FFF2-40B4-BE49-F238E27FC236}">
                <a16:creationId xmlns:a16="http://schemas.microsoft.com/office/drawing/2014/main" id="{43631522-CA6E-059B-D984-05B09D99128E}"/>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8" name="Graphic 21">
            <a:extLst>
              <a:ext uri="{FF2B5EF4-FFF2-40B4-BE49-F238E27FC236}">
                <a16:creationId xmlns:a16="http://schemas.microsoft.com/office/drawing/2014/main" id="{A00BC2C8-A372-EA6A-F806-31D4FBAA8B12}"/>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endParaRPr lang="en-US" dirty="0">
              <a:solidFill>
                <a:srgbClr val="00264E"/>
              </a:solidFill>
            </a:endParaRPr>
          </a:p>
        </p:txBody>
      </p:sp>
      <p:sp>
        <p:nvSpPr>
          <p:cNvPr id="4" name="Footer Placeholder 3">
            <a:extLst>
              <a:ext uri="{FF2B5EF4-FFF2-40B4-BE49-F238E27FC236}">
                <a16:creationId xmlns:a16="http://schemas.microsoft.com/office/drawing/2014/main" id="{9862C20F-67C4-F56A-612D-7CD14D2AC0F8}"/>
              </a:ext>
            </a:extLst>
          </p:cNvPr>
          <p:cNvSpPr>
            <a:spLocks noGrp="1"/>
          </p:cNvSpPr>
          <p:nvPr>
            <p:ph type="ftr" sz="quarter" idx="29"/>
          </p:nvPr>
        </p:nvSpPr>
        <p:spPr/>
        <p:txBody>
          <a:bodyPr/>
          <a:lstStyle/>
          <a:p>
            <a:endParaRPr lang="en-GB"/>
          </a:p>
        </p:txBody>
      </p:sp>
    </p:spTree>
    <p:extLst>
      <p:ext uri="{BB962C8B-B14F-4D97-AF65-F5344CB8AC3E}">
        <p14:creationId xmlns:p14="http://schemas.microsoft.com/office/powerpoint/2010/main" val="2380707846"/>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resenter layout_Four peop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0D28EC-17F6-8468-7C96-4FB31D9FD0BA}"/>
              </a:ext>
            </a:extLst>
          </p:cNvPr>
          <p:cNvGraphicFramePr>
            <a:graphicFrameLocks noChangeAspect="1"/>
          </p:cNvGraphicFramePr>
          <p:nvPr userDrawn="1">
            <p:custDataLst>
              <p:tags r:id="rId1"/>
            </p:custDataLst>
            <p:extLst>
              <p:ext uri="{D42A27DB-BD31-4B8C-83A1-F6EECF244321}">
                <p14:modId xmlns:p14="http://schemas.microsoft.com/office/powerpoint/2010/main" val="3385059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680D28EC-17F6-8468-7C96-4FB31D9FD0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9">
            <a:extLst>
              <a:ext uri="{FF2B5EF4-FFF2-40B4-BE49-F238E27FC236}">
                <a16:creationId xmlns:a16="http://schemas.microsoft.com/office/drawing/2014/main" id="{A2D48AB2-EFAF-4793-A8A5-250513B21E07}"/>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19" name="Slide Number Placeholder 20">
            <a:extLst>
              <a:ext uri="{FF2B5EF4-FFF2-40B4-BE49-F238E27FC236}">
                <a16:creationId xmlns:a16="http://schemas.microsoft.com/office/drawing/2014/main" id="{8EEC7DD3-5720-B601-C3F4-86BA708392C7}"/>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4" name="Picture Placeholder 53">
            <a:extLst>
              <a:ext uri="{FF2B5EF4-FFF2-40B4-BE49-F238E27FC236}">
                <a16:creationId xmlns:a16="http://schemas.microsoft.com/office/drawing/2014/main" id="{D9A5FD3A-739C-00D2-8CED-5128DA4ADD87}"/>
              </a:ext>
            </a:extLst>
          </p:cNvPr>
          <p:cNvSpPr>
            <a:spLocks noGrp="1"/>
          </p:cNvSpPr>
          <p:nvPr>
            <p:ph type="pic" sz="quarter" idx="10" hasCustomPrompt="1"/>
          </p:nvPr>
        </p:nvSpPr>
        <p:spPr>
          <a:xfrm>
            <a:off x="1253665" y="1473200"/>
            <a:ext cx="1872000" cy="1872000"/>
          </a:xfrm>
          <a:prstGeom prst="ellipse">
            <a:avLst/>
          </a:prstGeom>
          <a:solidFill>
            <a:srgbClr val="F2F3F7"/>
          </a:solidFill>
          <a:effectLst>
            <a:outerShdw dist="50800" dir="2700000" algn="tl" rotWithShape="0">
              <a:srgbClr val="BFC9D3"/>
            </a:outerShdw>
          </a:effectLst>
        </p:spPr>
        <p:txBody>
          <a:bodyPr anchor="ctr"/>
          <a:lstStyle>
            <a:lvl1pPr marL="0" indent="0" algn="ctr">
              <a:buNone/>
              <a:defRPr/>
            </a:lvl1pPr>
          </a:lstStyle>
          <a:p>
            <a:r>
              <a:rPr lang="en-GB" dirty="0"/>
              <a:t>Add profile picture</a:t>
            </a:r>
          </a:p>
        </p:txBody>
      </p:sp>
      <p:sp>
        <p:nvSpPr>
          <p:cNvPr id="55" name="Title 1">
            <a:extLst>
              <a:ext uri="{FF2B5EF4-FFF2-40B4-BE49-F238E27FC236}">
                <a16:creationId xmlns:a16="http://schemas.microsoft.com/office/drawing/2014/main" id="{7ACBFD12-A58F-E7A1-6101-94363F07C61C}"/>
              </a:ext>
            </a:extLst>
          </p:cNvPr>
          <p:cNvSpPr>
            <a:spLocks noGrp="1"/>
          </p:cNvSpPr>
          <p:nvPr>
            <p:ph type="title"/>
          </p:nvPr>
        </p:nvSpPr>
        <p:spPr>
          <a:xfrm>
            <a:off x="442913" y="221456"/>
            <a:ext cx="11306175" cy="775597"/>
          </a:xfrm>
        </p:spPr>
        <p:txBody>
          <a:bodyPr/>
          <a:lstStyle>
            <a:lvl1pPr>
              <a:defRPr/>
            </a:lvl1pPr>
          </a:lstStyle>
          <a:p>
            <a:r>
              <a:rPr lang="en-US" noProof="0"/>
              <a:t>Click to edit Master title style</a:t>
            </a:r>
            <a:endParaRPr lang="en-US" noProof="0" dirty="0"/>
          </a:p>
        </p:txBody>
      </p:sp>
      <p:sp>
        <p:nvSpPr>
          <p:cNvPr id="56" name="Picture Placeholder 53">
            <a:extLst>
              <a:ext uri="{FF2B5EF4-FFF2-40B4-BE49-F238E27FC236}">
                <a16:creationId xmlns:a16="http://schemas.microsoft.com/office/drawing/2014/main" id="{760C777F-BE30-1E91-2A59-B6FF4E97E2DB}"/>
              </a:ext>
            </a:extLst>
          </p:cNvPr>
          <p:cNvSpPr>
            <a:spLocks noGrp="1"/>
          </p:cNvSpPr>
          <p:nvPr>
            <p:ph type="pic" sz="quarter" idx="11" hasCustomPrompt="1"/>
          </p:nvPr>
        </p:nvSpPr>
        <p:spPr>
          <a:xfrm>
            <a:off x="3855463" y="1473200"/>
            <a:ext cx="1872000" cy="1872000"/>
          </a:xfrm>
          <a:prstGeom prst="ellipse">
            <a:avLst/>
          </a:prstGeom>
          <a:solidFill>
            <a:srgbClr val="F2F3F7"/>
          </a:solidFill>
          <a:effectLst>
            <a:outerShdw dist="50800" dir="2700000" algn="tl" rotWithShape="0">
              <a:srgbClr val="BFC9D3"/>
            </a:outerShdw>
          </a:effectLst>
        </p:spPr>
        <p:txBody>
          <a:bodyPr anchor="ctr"/>
          <a:lstStyle>
            <a:lvl1pPr marL="0" indent="0" algn="ctr">
              <a:buNone/>
              <a:defRPr/>
            </a:lvl1pPr>
          </a:lstStyle>
          <a:p>
            <a:r>
              <a:rPr lang="en-GB" dirty="0"/>
              <a:t>Add profile picture</a:t>
            </a:r>
          </a:p>
        </p:txBody>
      </p:sp>
      <p:sp>
        <p:nvSpPr>
          <p:cNvPr id="57" name="Picture Placeholder 53">
            <a:extLst>
              <a:ext uri="{FF2B5EF4-FFF2-40B4-BE49-F238E27FC236}">
                <a16:creationId xmlns:a16="http://schemas.microsoft.com/office/drawing/2014/main" id="{7373399E-FEE8-2ABE-2628-D41AB3CE97FB}"/>
              </a:ext>
            </a:extLst>
          </p:cNvPr>
          <p:cNvSpPr>
            <a:spLocks noGrp="1"/>
          </p:cNvSpPr>
          <p:nvPr>
            <p:ph type="pic" sz="quarter" idx="12" hasCustomPrompt="1"/>
          </p:nvPr>
        </p:nvSpPr>
        <p:spPr>
          <a:xfrm>
            <a:off x="6457261" y="1473200"/>
            <a:ext cx="1872000" cy="1872000"/>
          </a:xfrm>
          <a:prstGeom prst="ellipse">
            <a:avLst/>
          </a:prstGeom>
          <a:solidFill>
            <a:srgbClr val="F2F3F7"/>
          </a:solidFill>
          <a:effectLst>
            <a:outerShdw dist="50800" dir="2700000" algn="tl" rotWithShape="0">
              <a:srgbClr val="BFC9D3"/>
            </a:outerShdw>
          </a:effectLst>
        </p:spPr>
        <p:txBody>
          <a:bodyPr anchor="ctr"/>
          <a:lstStyle>
            <a:lvl1pPr marL="0" indent="0" algn="ctr">
              <a:buNone/>
              <a:defRPr/>
            </a:lvl1pPr>
          </a:lstStyle>
          <a:p>
            <a:r>
              <a:rPr lang="en-GB" dirty="0"/>
              <a:t>Add profile picture</a:t>
            </a:r>
          </a:p>
        </p:txBody>
      </p:sp>
      <p:sp>
        <p:nvSpPr>
          <p:cNvPr id="58" name="Picture Placeholder 53">
            <a:extLst>
              <a:ext uri="{FF2B5EF4-FFF2-40B4-BE49-F238E27FC236}">
                <a16:creationId xmlns:a16="http://schemas.microsoft.com/office/drawing/2014/main" id="{8F4BC058-75E1-430C-62DD-2E78135BB30A}"/>
              </a:ext>
            </a:extLst>
          </p:cNvPr>
          <p:cNvSpPr>
            <a:spLocks noGrp="1"/>
          </p:cNvSpPr>
          <p:nvPr>
            <p:ph type="pic" sz="quarter" idx="13" hasCustomPrompt="1"/>
          </p:nvPr>
        </p:nvSpPr>
        <p:spPr>
          <a:xfrm>
            <a:off x="9059058" y="1473200"/>
            <a:ext cx="1872000" cy="1872000"/>
          </a:xfrm>
          <a:prstGeom prst="ellipse">
            <a:avLst/>
          </a:prstGeom>
          <a:solidFill>
            <a:srgbClr val="F2F3F7"/>
          </a:solidFill>
          <a:effectLst>
            <a:outerShdw dist="50800" dir="2700000" algn="tl" rotWithShape="0">
              <a:srgbClr val="BFC9D3"/>
            </a:outerShdw>
          </a:effectLst>
        </p:spPr>
        <p:txBody>
          <a:bodyPr anchor="ctr"/>
          <a:lstStyle>
            <a:lvl1pPr marL="0" indent="0" algn="ctr">
              <a:buNone/>
              <a:defRPr/>
            </a:lvl1pPr>
          </a:lstStyle>
          <a:p>
            <a:r>
              <a:rPr lang="en-GB" dirty="0"/>
              <a:t>Add profile picture</a:t>
            </a:r>
          </a:p>
        </p:txBody>
      </p:sp>
      <p:sp>
        <p:nvSpPr>
          <p:cNvPr id="60" name="Text Placeholder 59">
            <a:extLst>
              <a:ext uri="{FF2B5EF4-FFF2-40B4-BE49-F238E27FC236}">
                <a16:creationId xmlns:a16="http://schemas.microsoft.com/office/drawing/2014/main" id="{4E634458-A515-0634-1E3F-DF276A263C2D}"/>
              </a:ext>
            </a:extLst>
          </p:cNvPr>
          <p:cNvSpPr>
            <a:spLocks noGrp="1"/>
          </p:cNvSpPr>
          <p:nvPr>
            <p:ph type="body" sz="quarter" idx="14" hasCustomPrompt="1"/>
          </p:nvPr>
        </p:nvSpPr>
        <p:spPr>
          <a:xfrm>
            <a:off x="1253512" y="3695310"/>
            <a:ext cx="1872000" cy="556184"/>
          </a:xfrm>
        </p:spPr>
        <p:txBody>
          <a:bodyPr anchor="t"/>
          <a:lstStyle>
            <a:lvl1pPr marL="0" indent="0" algn="ctr">
              <a:lnSpc>
                <a:spcPct val="110000"/>
              </a:lnSpc>
              <a:spcBef>
                <a:spcPts val="0"/>
              </a:spcBef>
              <a:buNone/>
              <a:defRPr>
                <a:latin typeface="Playfair Display" pitchFamily="2" charset="0"/>
              </a:defRPr>
            </a:lvl1pPr>
          </a:lstStyle>
          <a:p>
            <a:pPr lvl="0"/>
            <a:r>
              <a:rPr lang="en-US" dirty="0"/>
              <a:t>Add name and title</a:t>
            </a:r>
            <a:endParaRPr lang="en-GB" dirty="0"/>
          </a:p>
        </p:txBody>
      </p:sp>
      <p:sp>
        <p:nvSpPr>
          <p:cNvPr id="61" name="Text Placeholder 59">
            <a:extLst>
              <a:ext uri="{FF2B5EF4-FFF2-40B4-BE49-F238E27FC236}">
                <a16:creationId xmlns:a16="http://schemas.microsoft.com/office/drawing/2014/main" id="{33565502-2EF8-0A42-8B2F-B7BB544C6F76}"/>
              </a:ext>
            </a:extLst>
          </p:cNvPr>
          <p:cNvSpPr>
            <a:spLocks noGrp="1"/>
          </p:cNvSpPr>
          <p:nvPr>
            <p:ph type="body" sz="quarter" idx="15" hasCustomPrompt="1"/>
          </p:nvPr>
        </p:nvSpPr>
        <p:spPr>
          <a:xfrm>
            <a:off x="3855463" y="3695310"/>
            <a:ext cx="1872000" cy="556184"/>
          </a:xfrm>
        </p:spPr>
        <p:txBody>
          <a:bodyPr anchor="t"/>
          <a:lstStyle>
            <a:lvl1pPr marL="0" indent="0" algn="ctr">
              <a:lnSpc>
                <a:spcPct val="110000"/>
              </a:lnSpc>
              <a:spcBef>
                <a:spcPts val="0"/>
              </a:spcBef>
              <a:buNone/>
              <a:defRPr>
                <a:latin typeface="Playfair Display" pitchFamily="2" charset="0"/>
              </a:defRPr>
            </a:lvl1pPr>
          </a:lstStyle>
          <a:p>
            <a:pPr lvl="0"/>
            <a:r>
              <a:rPr lang="en-US" dirty="0"/>
              <a:t>Add name and title</a:t>
            </a:r>
            <a:endParaRPr lang="en-GB" dirty="0"/>
          </a:p>
        </p:txBody>
      </p:sp>
      <p:sp>
        <p:nvSpPr>
          <p:cNvPr id="62" name="Text Placeholder 59">
            <a:extLst>
              <a:ext uri="{FF2B5EF4-FFF2-40B4-BE49-F238E27FC236}">
                <a16:creationId xmlns:a16="http://schemas.microsoft.com/office/drawing/2014/main" id="{7A05B3F3-D87E-BF6C-90DB-EA0EECD59B69}"/>
              </a:ext>
            </a:extLst>
          </p:cNvPr>
          <p:cNvSpPr>
            <a:spLocks noGrp="1"/>
          </p:cNvSpPr>
          <p:nvPr>
            <p:ph type="body" sz="quarter" idx="16" hasCustomPrompt="1"/>
          </p:nvPr>
        </p:nvSpPr>
        <p:spPr>
          <a:xfrm>
            <a:off x="6457261" y="3695310"/>
            <a:ext cx="1872000" cy="556184"/>
          </a:xfrm>
        </p:spPr>
        <p:txBody>
          <a:bodyPr anchor="t"/>
          <a:lstStyle>
            <a:lvl1pPr marL="0" indent="0" algn="ctr">
              <a:lnSpc>
                <a:spcPct val="110000"/>
              </a:lnSpc>
              <a:spcBef>
                <a:spcPts val="0"/>
              </a:spcBef>
              <a:buNone/>
              <a:defRPr>
                <a:latin typeface="Playfair Display" pitchFamily="2" charset="0"/>
              </a:defRPr>
            </a:lvl1pPr>
          </a:lstStyle>
          <a:p>
            <a:pPr lvl="0"/>
            <a:r>
              <a:rPr lang="en-US" dirty="0"/>
              <a:t>Add name and title</a:t>
            </a:r>
            <a:endParaRPr lang="en-GB" dirty="0"/>
          </a:p>
        </p:txBody>
      </p:sp>
      <p:sp>
        <p:nvSpPr>
          <p:cNvPr id="63" name="Text Placeholder 59">
            <a:extLst>
              <a:ext uri="{FF2B5EF4-FFF2-40B4-BE49-F238E27FC236}">
                <a16:creationId xmlns:a16="http://schemas.microsoft.com/office/drawing/2014/main" id="{922520A6-9626-B00C-53EE-0A3092CA2F4D}"/>
              </a:ext>
            </a:extLst>
          </p:cNvPr>
          <p:cNvSpPr>
            <a:spLocks noGrp="1"/>
          </p:cNvSpPr>
          <p:nvPr>
            <p:ph type="body" sz="quarter" idx="17" hasCustomPrompt="1"/>
          </p:nvPr>
        </p:nvSpPr>
        <p:spPr>
          <a:xfrm>
            <a:off x="9059058" y="3695310"/>
            <a:ext cx="1872000" cy="556184"/>
          </a:xfrm>
        </p:spPr>
        <p:txBody>
          <a:bodyPr anchor="t"/>
          <a:lstStyle>
            <a:lvl1pPr marL="0" indent="0" algn="ctr">
              <a:lnSpc>
                <a:spcPct val="110000"/>
              </a:lnSpc>
              <a:spcBef>
                <a:spcPts val="0"/>
              </a:spcBef>
              <a:buNone/>
              <a:defRPr>
                <a:latin typeface="Playfair Display" pitchFamily="2" charset="0"/>
              </a:defRPr>
            </a:lvl1pPr>
          </a:lstStyle>
          <a:p>
            <a:pPr lvl="0"/>
            <a:r>
              <a:rPr lang="en-US" dirty="0"/>
              <a:t>Add name and title</a:t>
            </a:r>
            <a:endParaRPr lang="en-GB" dirty="0"/>
          </a:p>
        </p:txBody>
      </p:sp>
      <p:sp>
        <p:nvSpPr>
          <p:cNvPr id="3" name="Footer Placeholder 2">
            <a:extLst>
              <a:ext uri="{FF2B5EF4-FFF2-40B4-BE49-F238E27FC236}">
                <a16:creationId xmlns:a16="http://schemas.microsoft.com/office/drawing/2014/main" id="{A69ED1A5-3BE3-521D-552D-BD9A90A7D48B}"/>
              </a:ext>
            </a:extLst>
          </p:cNvPr>
          <p:cNvSpPr>
            <a:spLocks noGrp="1"/>
          </p:cNvSpPr>
          <p:nvPr>
            <p:ph type="ftr" sz="quarter" idx="18"/>
          </p:nvPr>
        </p:nvSpPr>
        <p:spPr/>
        <p:txBody>
          <a:bodyPr/>
          <a:lstStyle/>
          <a:p>
            <a:endParaRPr lang="en-GB"/>
          </a:p>
        </p:txBody>
      </p:sp>
    </p:spTree>
    <p:extLst>
      <p:ext uri="{BB962C8B-B14F-4D97-AF65-F5344CB8AC3E}">
        <p14:creationId xmlns:p14="http://schemas.microsoft.com/office/powerpoint/2010/main" val="528603089"/>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layout_Shea Brown">
    <p:bg>
      <p:bgPr>
        <a:solidFill>
          <a:srgbClr val="E2CFC6"/>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7697C69-BBA5-2B9D-F37D-74D55FFC5569}"/>
              </a:ext>
            </a:extLst>
          </p:cNvPr>
          <p:cNvGraphicFramePr>
            <a:graphicFrameLocks noChangeAspect="1"/>
          </p:cNvGraphicFramePr>
          <p:nvPr userDrawn="1">
            <p:custDataLst>
              <p:tags r:id="rId1"/>
            </p:custDataLst>
            <p:extLst>
              <p:ext uri="{D42A27DB-BD31-4B8C-83A1-F6EECF244321}">
                <p14:modId xmlns:p14="http://schemas.microsoft.com/office/powerpoint/2010/main" val="1384413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A7697C69-BBA5-2B9D-F37D-74D55FFC55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0CB4B7DD-28BF-400A-9C18-DD61B9CDAD76}"/>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rgbClr val="00264E"/>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9E8E342D-8E7B-4687-9A9D-EE055EE1D4DE}"/>
              </a:ext>
            </a:extLst>
          </p:cNvPr>
          <p:cNvSpPr>
            <a:spLocks noGrp="1"/>
          </p:cNvSpPr>
          <p:nvPr>
            <p:ph type="title"/>
          </p:nvPr>
        </p:nvSpPr>
        <p:spPr>
          <a:xfrm>
            <a:off x="442914" y="221456"/>
            <a:ext cx="3600450" cy="775597"/>
          </a:xfrm>
        </p:spPr>
        <p:txBody>
          <a:bodyPr vert="horz" lIns="0" tIns="0" rIns="0" bIns="0" rtlCol="0" anchor="ctr">
            <a:noAutofit/>
          </a:bodyPr>
          <a:lstStyle>
            <a:lvl1pPr>
              <a:defRPr lang="en-US" dirty="0">
                <a:solidFill>
                  <a:srgbClr val="00264E"/>
                </a:solidFill>
                <a:latin typeface="Playfair Display Black" pitchFamily="2" charset="0"/>
              </a:defRPr>
            </a:lvl1pPr>
          </a:lstStyle>
          <a:p>
            <a:pPr lvl="0"/>
            <a:r>
              <a:rPr lang="en-US"/>
              <a:t>Click to edit Master title style</a:t>
            </a:r>
            <a:endParaRPr lang="en-US" dirty="0"/>
          </a:p>
        </p:txBody>
      </p:sp>
      <p:sp>
        <p:nvSpPr>
          <p:cNvPr id="25" name="Text Placeholder 4">
            <a:extLst>
              <a:ext uri="{FF2B5EF4-FFF2-40B4-BE49-F238E27FC236}">
                <a16:creationId xmlns:a16="http://schemas.microsoft.com/office/drawing/2014/main" id="{6CBED0BC-D259-4875-86AF-D9188CD54FC3}"/>
              </a:ext>
            </a:extLst>
          </p:cNvPr>
          <p:cNvSpPr>
            <a:spLocks noGrp="1"/>
          </p:cNvSpPr>
          <p:nvPr>
            <p:ph type="body" sz="quarter" idx="15" hasCustomPrompt="1"/>
          </p:nvPr>
        </p:nvSpPr>
        <p:spPr>
          <a:xfrm>
            <a:off x="971549" y="1506165"/>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6" name="Text Placeholder 7">
            <a:extLst>
              <a:ext uri="{FF2B5EF4-FFF2-40B4-BE49-F238E27FC236}">
                <a16:creationId xmlns:a16="http://schemas.microsoft.com/office/drawing/2014/main" id="{D5B03D5B-79F9-41FB-9E64-BE7D0CC6B9A5}"/>
              </a:ext>
            </a:extLst>
          </p:cNvPr>
          <p:cNvSpPr>
            <a:spLocks noGrp="1"/>
          </p:cNvSpPr>
          <p:nvPr>
            <p:ph type="body" sz="quarter" idx="16" hasCustomPrompt="1"/>
          </p:nvPr>
        </p:nvSpPr>
        <p:spPr>
          <a:xfrm>
            <a:off x="442913" y="1506165"/>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7" name="Text Placeholder 4">
            <a:extLst>
              <a:ext uri="{FF2B5EF4-FFF2-40B4-BE49-F238E27FC236}">
                <a16:creationId xmlns:a16="http://schemas.microsoft.com/office/drawing/2014/main" id="{B65F8426-5514-49E0-A5AB-51491AA0C881}"/>
              </a:ext>
            </a:extLst>
          </p:cNvPr>
          <p:cNvSpPr>
            <a:spLocks noGrp="1"/>
          </p:cNvSpPr>
          <p:nvPr>
            <p:ph type="body" sz="quarter" idx="17" hasCustomPrompt="1"/>
          </p:nvPr>
        </p:nvSpPr>
        <p:spPr>
          <a:xfrm>
            <a:off x="971549" y="2167051"/>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8" name="Text Placeholder 7">
            <a:extLst>
              <a:ext uri="{FF2B5EF4-FFF2-40B4-BE49-F238E27FC236}">
                <a16:creationId xmlns:a16="http://schemas.microsoft.com/office/drawing/2014/main" id="{48E6C7B3-2A3C-4939-8E5A-52372E4F076F}"/>
              </a:ext>
            </a:extLst>
          </p:cNvPr>
          <p:cNvSpPr>
            <a:spLocks noGrp="1"/>
          </p:cNvSpPr>
          <p:nvPr>
            <p:ph type="body" sz="quarter" idx="18" hasCustomPrompt="1"/>
          </p:nvPr>
        </p:nvSpPr>
        <p:spPr>
          <a:xfrm>
            <a:off x="442913" y="2167051"/>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9" name="Text Placeholder 4">
            <a:extLst>
              <a:ext uri="{FF2B5EF4-FFF2-40B4-BE49-F238E27FC236}">
                <a16:creationId xmlns:a16="http://schemas.microsoft.com/office/drawing/2014/main" id="{1F134E19-827D-4CE8-8B64-1552EECB5CD3}"/>
              </a:ext>
            </a:extLst>
          </p:cNvPr>
          <p:cNvSpPr>
            <a:spLocks noGrp="1"/>
          </p:cNvSpPr>
          <p:nvPr>
            <p:ph type="body" sz="quarter" idx="19" hasCustomPrompt="1"/>
          </p:nvPr>
        </p:nvSpPr>
        <p:spPr>
          <a:xfrm>
            <a:off x="971549" y="2827937"/>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0" name="Text Placeholder 7">
            <a:extLst>
              <a:ext uri="{FF2B5EF4-FFF2-40B4-BE49-F238E27FC236}">
                <a16:creationId xmlns:a16="http://schemas.microsoft.com/office/drawing/2014/main" id="{B730A7A2-BD28-4419-901D-25CBE0AB9233}"/>
              </a:ext>
            </a:extLst>
          </p:cNvPr>
          <p:cNvSpPr>
            <a:spLocks noGrp="1"/>
          </p:cNvSpPr>
          <p:nvPr>
            <p:ph type="body" sz="quarter" idx="20" hasCustomPrompt="1"/>
          </p:nvPr>
        </p:nvSpPr>
        <p:spPr>
          <a:xfrm>
            <a:off x="442913" y="2827937"/>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1" name="Text Placeholder 4">
            <a:extLst>
              <a:ext uri="{FF2B5EF4-FFF2-40B4-BE49-F238E27FC236}">
                <a16:creationId xmlns:a16="http://schemas.microsoft.com/office/drawing/2014/main" id="{442A9B2B-9879-478A-910B-38E10A9B0119}"/>
              </a:ext>
            </a:extLst>
          </p:cNvPr>
          <p:cNvSpPr>
            <a:spLocks noGrp="1"/>
          </p:cNvSpPr>
          <p:nvPr>
            <p:ph type="body" sz="quarter" idx="21" hasCustomPrompt="1"/>
          </p:nvPr>
        </p:nvSpPr>
        <p:spPr>
          <a:xfrm>
            <a:off x="971549" y="3488823"/>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2" name="Text Placeholder 7">
            <a:extLst>
              <a:ext uri="{FF2B5EF4-FFF2-40B4-BE49-F238E27FC236}">
                <a16:creationId xmlns:a16="http://schemas.microsoft.com/office/drawing/2014/main" id="{06EF25CD-077D-41BB-9C6D-75E330D7300D}"/>
              </a:ext>
            </a:extLst>
          </p:cNvPr>
          <p:cNvSpPr>
            <a:spLocks noGrp="1"/>
          </p:cNvSpPr>
          <p:nvPr>
            <p:ph type="body" sz="quarter" idx="22" hasCustomPrompt="1"/>
          </p:nvPr>
        </p:nvSpPr>
        <p:spPr>
          <a:xfrm>
            <a:off x="442913" y="3488823"/>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3" name="Text Placeholder 4">
            <a:extLst>
              <a:ext uri="{FF2B5EF4-FFF2-40B4-BE49-F238E27FC236}">
                <a16:creationId xmlns:a16="http://schemas.microsoft.com/office/drawing/2014/main" id="{2CB56702-EFDF-4DFF-BDAD-853CFDCAB997}"/>
              </a:ext>
            </a:extLst>
          </p:cNvPr>
          <p:cNvSpPr>
            <a:spLocks noGrp="1"/>
          </p:cNvSpPr>
          <p:nvPr>
            <p:ph type="body" sz="quarter" idx="23" hasCustomPrompt="1"/>
          </p:nvPr>
        </p:nvSpPr>
        <p:spPr>
          <a:xfrm>
            <a:off x="971549" y="4149709"/>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4" name="Text Placeholder 7">
            <a:extLst>
              <a:ext uri="{FF2B5EF4-FFF2-40B4-BE49-F238E27FC236}">
                <a16:creationId xmlns:a16="http://schemas.microsoft.com/office/drawing/2014/main" id="{41397C85-5313-4131-9E34-6AB1FBD0F68B}"/>
              </a:ext>
            </a:extLst>
          </p:cNvPr>
          <p:cNvSpPr>
            <a:spLocks noGrp="1"/>
          </p:cNvSpPr>
          <p:nvPr>
            <p:ph type="body" sz="quarter" idx="24" hasCustomPrompt="1"/>
          </p:nvPr>
        </p:nvSpPr>
        <p:spPr>
          <a:xfrm>
            <a:off x="442913" y="4149709"/>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5" name="Text Placeholder 4">
            <a:extLst>
              <a:ext uri="{FF2B5EF4-FFF2-40B4-BE49-F238E27FC236}">
                <a16:creationId xmlns:a16="http://schemas.microsoft.com/office/drawing/2014/main" id="{C3DABBE9-055A-428D-8946-9B675805D775}"/>
              </a:ext>
            </a:extLst>
          </p:cNvPr>
          <p:cNvSpPr>
            <a:spLocks noGrp="1"/>
          </p:cNvSpPr>
          <p:nvPr>
            <p:ph type="body" sz="quarter" idx="25" hasCustomPrompt="1"/>
          </p:nvPr>
        </p:nvSpPr>
        <p:spPr>
          <a:xfrm>
            <a:off x="971549" y="4810595"/>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6" name="Text Placeholder 7">
            <a:extLst>
              <a:ext uri="{FF2B5EF4-FFF2-40B4-BE49-F238E27FC236}">
                <a16:creationId xmlns:a16="http://schemas.microsoft.com/office/drawing/2014/main" id="{1BC7FBD5-D84C-4693-A681-7BA81E4AE213}"/>
              </a:ext>
            </a:extLst>
          </p:cNvPr>
          <p:cNvSpPr>
            <a:spLocks noGrp="1"/>
          </p:cNvSpPr>
          <p:nvPr>
            <p:ph type="body" sz="quarter" idx="26" hasCustomPrompt="1"/>
          </p:nvPr>
        </p:nvSpPr>
        <p:spPr>
          <a:xfrm>
            <a:off x="442913" y="4810595"/>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7" name="Text Placeholder 4">
            <a:extLst>
              <a:ext uri="{FF2B5EF4-FFF2-40B4-BE49-F238E27FC236}">
                <a16:creationId xmlns:a16="http://schemas.microsoft.com/office/drawing/2014/main" id="{C0F7E4A4-FD0C-48DA-8AA0-469EAF21920C}"/>
              </a:ext>
            </a:extLst>
          </p:cNvPr>
          <p:cNvSpPr>
            <a:spLocks noGrp="1"/>
          </p:cNvSpPr>
          <p:nvPr>
            <p:ph type="body" sz="quarter" idx="27" hasCustomPrompt="1"/>
          </p:nvPr>
        </p:nvSpPr>
        <p:spPr>
          <a:xfrm>
            <a:off x="971549" y="5471484"/>
            <a:ext cx="3071813" cy="276999"/>
          </a:xfrm>
        </p:spPr>
        <p:txBody>
          <a:bodyPr>
            <a:spAutoFit/>
          </a:bodyPr>
          <a:lstStyle>
            <a:lvl1pPr marL="0" indent="0">
              <a:lnSpc>
                <a:spcPct val="90000"/>
              </a:lnSpc>
              <a:buNone/>
              <a:defRPr sz="2000">
                <a:solidFill>
                  <a:srgbClr val="00264E"/>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8" name="Text Placeholder 7">
            <a:extLst>
              <a:ext uri="{FF2B5EF4-FFF2-40B4-BE49-F238E27FC236}">
                <a16:creationId xmlns:a16="http://schemas.microsoft.com/office/drawing/2014/main" id="{3D32277F-6A9F-4B4D-B8AF-2707A62B8B75}"/>
              </a:ext>
            </a:extLst>
          </p:cNvPr>
          <p:cNvSpPr>
            <a:spLocks noGrp="1"/>
          </p:cNvSpPr>
          <p:nvPr>
            <p:ph type="body" sz="quarter" idx="28" hasCustomPrompt="1"/>
          </p:nvPr>
        </p:nvSpPr>
        <p:spPr>
          <a:xfrm>
            <a:off x="442913" y="5471484"/>
            <a:ext cx="376237" cy="276999"/>
          </a:xfrm>
        </p:spPr>
        <p:txBody>
          <a:bodyPr wrap="square">
            <a:spAutoFit/>
          </a:bodyPr>
          <a:lstStyle>
            <a:lvl1pPr marL="0" indent="0">
              <a:lnSpc>
                <a:spcPct val="90000"/>
              </a:lnSpc>
              <a:buNone/>
              <a:defRPr sz="2000">
                <a:solidFill>
                  <a:srgbClr val="00264E"/>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 name="Date Placeholder 19">
            <a:extLst>
              <a:ext uri="{FF2B5EF4-FFF2-40B4-BE49-F238E27FC236}">
                <a16:creationId xmlns:a16="http://schemas.microsoft.com/office/drawing/2014/main" id="{D1DA7D27-9E76-6527-D269-B31C737671C5}"/>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7" name="Slide Number Placeholder 20">
            <a:extLst>
              <a:ext uri="{FF2B5EF4-FFF2-40B4-BE49-F238E27FC236}">
                <a16:creationId xmlns:a16="http://schemas.microsoft.com/office/drawing/2014/main" id="{F2113056-4FD5-ADEF-06B3-228920DD95AE}"/>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8" name="Graphic 21">
            <a:extLst>
              <a:ext uri="{FF2B5EF4-FFF2-40B4-BE49-F238E27FC236}">
                <a16:creationId xmlns:a16="http://schemas.microsoft.com/office/drawing/2014/main" id="{ACCE2F9E-51CB-50D8-8EC5-AE4D47389243}"/>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endParaRPr lang="en-US" dirty="0">
              <a:solidFill>
                <a:srgbClr val="00264E"/>
              </a:solidFill>
            </a:endParaRPr>
          </a:p>
        </p:txBody>
      </p:sp>
      <p:sp>
        <p:nvSpPr>
          <p:cNvPr id="4" name="Footer Placeholder 3">
            <a:extLst>
              <a:ext uri="{FF2B5EF4-FFF2-40B4-BE49-F238E27FC236}">
                <a16:creationId xmlns:a16="http://schemas.microsoft.com/office/drawing/2014/main" id="{0468F97C-2265-CA52-FAA3-726CB89FB34F}"/>
              </a:ext>
            </a:extLst>
          </p:cNvPr>
          <p:cNvSpPr>
            <a:spLocks noGrp="1"/>
          </p:cNvSpPr>
          <p:nvPr>
            <p:ph type="ftr" sz="quarter" idx="29"/>
          </p:nvPr>
        </p:nvSpPr>
        <p:spPr/>
        <p:txBody>
          <a:bodyPr/>
          <a:lstStyle/>
          <a:p>
            <a:endParaRPr lang="en-GB"/>
          </a:p>
        </p:txBody>
      </p:sp>
    </p:spTree>
    <p:extLst>
      <p:ext uri="{BB962C8B-B14F-4D97-AF65-F5344CB8AC3E}">
        <p14:creationId xmlns:p14="http://schemas.microsoft.com/office/powerpoint/2010/main" val="725733346"/>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_Content">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9A734A43-BEEE-89BA-8D2E-96B33B0DC106}"/>
              </a:ext>
            </a:extLst>
          </p:cNvPr>
          <p:cNvSpPr>
            <a:spLocks/>
          </p:cNvSpPr>
          <p:nvPr userDrawn="1"/>
        </p:nvSpPr>
        <p:spPr>
          <a:xfrm>
            <a:off x="0" y="0"/>
            <a:ext cx="12192000" cy="6858000"/>
          </a:xfrm>
          <a:prstGeom prst="rect">
            <a:avLst/>
          </a:prstGeom>
          <a:solidFill>
            <a:schemeClr val="bg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26" name="Rectangle 25">
            <a:extLst>
              <a:ext uri="{FF2B5EF4-FFF2-40B4-BE49-F238E27FC236}">
                <a16:creationId xmlns:a16="http://schemas.microsoft.com/office/drawing/2014/main" id="{3F8D7C4B-CF2B-3A8E-D5C2-9F1C5DD33841}"/>
              </a:ext>
            </a:extLst>
          </p:cNvPr>
          <p:cNvSpPr>
            <a:spLocks/>
          </p:cNvSpPr>
          <p:nvPr userDrawn="1"/>
        </p:nvSpPr>
        <p:spPr>
          <a:xfrm>
            <a:off x="442911" y="3202702"/>
            <a:ext cx="11306178" cy="1074140"/>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The following layouts are for text and content slides.</a:t>
            </a: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Do not use this slide)</a:t>
            </a:r>
            <a:endParaRPr kumimoji="0" lang="en-US" sz="11500" b="0" i="0" u="none" strike="noStrike" kern="1200" cap="none" spc="-30" normalizeH="0" baseline="0" noProof="0" dirty="0">
              <a:ln>
                <a:noFill/>
              </a:ln>
              <a:solidFill>
                <a:srgbClr val="00264E"/>
              </a:solidFill>
              <a:effectLst/>
              <a:uLnTx/>
              <a:uFillTx/>
              <a:latin typeface="Work Sans Medium" pitchFamily="2" charset="0"/>
              <a:ea typeface="+mn-ea"/>
              <a:cs typeface="+mn-cs"/>
            </a:endParaRPr>
          </a:p>
        </p:txBody>
      </p:sp>
      <p:sp>
        <p:nvSpPr>
          <p:cNvPr id="27" name="Rectangle 26">
            <a:extLst>
              <a:ext uri="{FF2B5EF4-FFF2-40B4-BE49-F238E27FC236}">
                <a16:creationId xmlns:a16="http://schemas.microsoft.com/office/drawing/2014/main" id="{868154DF-188E-683B-6F4A-D49F5F3269E1}"/>
              </a:ext>
            </a:extLst>
          </p:cNvPr>
          <p:cNvSpPr>
            <a:spLocks/>
          </p:cNvSpPr>
          <p:nvPr userDrawn="1"/>
        </p:nvSpPr>
        <p:spPr>
          <a:xfrm>
            <a:off x="1753469" y="2202881"/>
            <a:ext cx="8685070" cy="914096"/>
          </a:xfrm>
          <a:prstGeom prst="rect">
            <a:avLst/>
          </a:prstGeom>
          <a:noFill/>
          <a:ln w="9525" cap="flat">
            <a:noFill/>
            <a:prstDash val="solid"/>
            <a:miter/>
          </a:ln>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6600" b="0" i="0" u="none" strike="noStrike" kern="1200" cap="none" spc="-30" normalizeH="0" baseline="0" noProof="0" dirty="0">
                <a:ln>
                  <a:noFill/>
                </a:ln>
                <a:solidFill>
                  <a:srgbClr val="00264E"/>
                </a:solidFill>
                <a:effectLst/>
                <a:uLnTx/>
                <a:uFillTx/>
                <a:latin typeface="Work Sans Medium" pitchFamily="2" charset="0"/>
                <a:ea typeface="+mn-ea"/>
                <a:cs typeface="+mn-cs"/>
              </a:rPr>
              <a:t>Text/content layouts</a:t>
            </a:r>
          </a:p>
        </p:txBody>
      </p:sp>
    </p:spTree>
    <p:extLst>
      <p:ext uri="{BB962C8B-B14F-4D97-AF65-F5344CB8AC3E}">
        <p14:creationId xmlns:p14="http://schemas.microsoft.com/office/powerpoint/2010/main" val="318338827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noProof="0"/>
              <a:t>Click to edit Master title style</a:t>
            </a:r>
            <a:endParaRPr lang="en-US" noProof="0"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1219200"/>
            <a:ext cx="11306175" cy="4907757"/>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19">
            <a:extLst>
              <a:ext uri="{FF2B5EF4-FFF2-40B4-BE49-F238E27FC236}">
                <a16:creationId xmlns:a16="http://schemas.microsoft.com/office/drawing/2014/main" id="{74A3D0D8-FD11-6790-AD79-AC17C8E38F3B}"/>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132077DA-7617-D387-D2E3-3E2AD76FB32C}"/>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 name="Footer Placeholder 4">
            <a:extLst>
              <a:ext uri="{FF2B5EF4-FFF2-40B4-BE49-F238E27FC236}">
                <a16:creationId xmlns:a16="http://schemas.microsoft.com/office/drawing/2014/main" id="{75B69EDC-7872-6676-F82A-9657B8CAFBD6}"/>
              </a:ext>
            </a:extLst>
          </p:cNvPr>
          <p:cNvSpPr>
            <a:spLocks noGrp="1"/>
          </p:cNvSpPr>
          <p:nvPr>
            <p:ph type="ftr" sz="quarter" idx="14"/>
          </p:nvPr>
        </p:nvSpPr>
        <p:spPr/>
        <p:txBody>
          <a:bodyPr/>
          <a:lstStyle/>
          <a:p>
            <a:endParaRPr lang="en-GB"/>
          </a:p>
        </p:txBody>
      </p:sp>
    </p:spTree>
    <p:extLst>
      <p:ext uri="{BB962C8B-B14F-4D97-AF65-F5344CB8AC3E}">
        <p14:creationId xmlns:p14="http://schemas.microsoft.com/office/powerpoint/2010/main" val="295368574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tandard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11" name="Text Placeholder 10"/>
          <p:cNvSpPr>
            <a:spLocks noGrp="1"/>
          </p:cNvSpPr>
          <p:nvPr>
            <p:ph type="body" sz="quarter" idx="14" hasCustomPrompt="1"/>
          </p:nvPr>
        </p:nvSpPr>
        <p:spPr>
          <a:xfrm>
            <a:off x="442912" y="1051906"/>
            <a:ext cx="11306175" cy="276999"/>
          </a:xfrm>
        </p:spPr>
        <p:txBody>
          <a:bodyPr/>
          <a:lstStyle>
            <a:lvl1pPr marL="0" indent="0">
              <a:buFont typeface="Arial" panose="020B0604020202020204" pitchFamily="34" charset="0"/>
              <a:buNone/>
              <a:defRPr sz="2000">
                <a:solidFill>
                  <a:schemeClr val="accent1"/>
                </a:solidFill>
              </a:defRPr>
            </a:lvl1pPr>
            <a:lvl2pPr marL="179392" indent="0">
              <a:buFont typeface="Arial" panose="020B0604020202020204" pitchFamily="34" charset="0"/>
              <a:buNone/>
              <a:defRPr sz="1800">
                <a:solidFill>
                  <a:schemeClr val="accent2"/>
                </a:solidFill>
              </a:defRPr>
            </a:lvl2pPr>
            <a:lvl3pPr marL="358784" indent="0">
              <a:buFont typeface="Arial" panose="020B0604020202020204" pitchFamily="34" charset="0"/>
              <a:buNone/>
              <a:defRPr sz="1800">
                <a:solidFill>
                  <a:schemeClr val="accent2"/>
                </a:solidFill>
              </a:defRPr>
            </a:lvl3pPr>
            <a:lvl4pPr marL="536589" indent="0">
              <a:buFont typeface="Arial" panose="020B0604020202020204" pitchFamily="34" charset="0"/>
              <a:buNone/>
              <a:defRPr sz="1800">
                <a:solidFill>
                  <a:schemeClr val="accent2"/>
                </a:solidFill>
              </a:defRPr>
            </a:lvl4pPr>
            <a:lvl5pPr marL="715980" indent="0">
              <a:buFont typeface="Arial" panose="020B0604020202020204" pitchFamily="34" charset="0"/>
              <a:buNone/>
              <a:defRPr sz="1800">
                <a:solidFill>
                  <a:schemeClr val="accent2"/>
                </a:solidFill>
              </a:defRPr>
            </a:lvl5pPr>
          </a:lstStyle>
          <a:p>
            <a:pPr lvl="0"/>
            <a:r>
              <a:rPr lang="en-US" dirty="0"/>
              <a:t>Click to add subtitle – max 1 line</a:t>
            </a:r>
          </a:p>
        </p:txBody>
      </p:sp>
      <p:sp>
        <p:nvSpPr>
          <p:cNvPr id="7" name="Content Placeholder 6"/>
          <p:cNvSpPr>
            <a:spLocks noGrp="1"/>
          </p:cNvSpPr>
          <p:nvPr>
            <p:ph sz="quarter" idx="15"/>
          </p:nvPr>
        </p:nvSpPr>
        <p:spPr>
          <a:xfrm>
            <a:off x="442913" y="1495104"/>
            <a:ext cx="11306175" cy="4634234"/>
          </a:xfrm>
        </p:spPr>
        <p:txBody>
          <a:bodyPr>
            <a:noAutofit/>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19">
            <a:extLst>
              <a:ext uri="{FF2B5EF4-FFF2-40B4-BE49-F238E27FC236}">
                <a16:creationId xmlns:a16="http://schemas.microsoft.com/office/drawing/2014/main" id="{C2DB0E73-29B5-922D-9659-581DEB154AB9}"/>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C3C584ED-C69B-2933-F56D-86806B7CF4C8}"/>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 name="Footer Placeholder 4">
            <a:extLst>
              <a:ext uri="{FF2B5EF4-FFF2-40B4-BE49-F238E27FC236}">
                <a16:creationId xmlns:a16="http://schemas.microsoft.com/office/drawing/2014/main" id="{EC70FA4C-4AD4-99BD-B2E0-1102270C10D8}"/>
              </a:ext>
            </a:extLst>
          </p:cNvPr>
          <p:cNvSpPr>
            <a:spLocks noGrp="1"/>
          </p:cNvSpPr>
          <p:nvPr>
            <p:ph type="ftr" sz="quarter" idx="16"/>
          </p:nvPr>
        </p:nvSpPr>
        <p:spPr/>
        <p:txBody>
          <a:bodyPr/>
          <a:lstStyle/>
          <a:p>
            <a:endParaRPr lang="en-GB"/>
          </a:p>
        </p:txBody>
      </p:sp>
    </p:spTree>
    <p:extLst>
      <p:ext uri="{BB962C8B-B14F-4D97-AF65-F5344CB8AC3E}">
        <p14:creationId xmlns:p14="http://schemas.microsoft.com/office/powerpoint/2010/main" val="3380330551"/>
      </p:ext>
    </p:extLst>
  </p:cSld>
  <p:clrMapOvr>
    <a:masterClrMapping/>
  </p:clrMapOvr>
  <p:extLst>
    <p:ext uri="{DCECCB84-F9BA-43D5-87BE-67443E8EF086}">
      <p15:sldGuideLst xmlns:p15="http://schemas.microsoft.com/office/powerpoint/2012/main">
        <p15:guide id="1" orient="horz" pos="935">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CFF194EA-2E7A-44E9-8B33-43C36958B772}"/>
              </a:ext>
            </a:extLst>
          </p:cNvPr>
          <p:cNvSpPr>
            <a:spLocks noGrp="1"/>
          </p:cNvSpPr>
          <p:nvPr>
            <p:ph sz="quarter" idx="13"/>
          </p:nvPr>
        </p:nvSpPr>
        <p:spPr>
          <a:xfrm>
            <a:off x="442913" y="1219200"/>
            <a:ext cx="5384800"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ontent Placeholder 8">
            <a:extLst>
              <a:ext uri="{FF2B5EF4-FFF2-40B4-BE49-F238E27FC236}">
                <a16:creationId xmlns:a16="http://schemas.microsoft.com/office/drawing/2014/main" id="{5E896705-A6A9-4B8A-B4F7-D3EF16C44840}"/>
              </a:ext>
            </a:extLst>
          </p:cNvPr>
          <p:cNvSpPr>
            <a:spLocks noGrp="1"/>
          </p:cNvSpPr>
          <p:nvPr>
            <p:ph sz="quarter" idx="14"/>
          </p:nvPr>
        </p:nvSpPr>
        <p:spPr>
          <a:xfrm>
            <a:off x="6364288" y="1219200"/>
            <a:ext cx="5384800"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a:extLst>
              <a:ext uri="{FF2B5EF4-FFF2-40B4-BE49-F238E27FC236}">
                <a16:creationId xmlns:a16="http://schemas.microsoft.com/office/drawing/2014/main" id="{4A6467DD-1B5F-496A-8FBB-A8CF1D46C61A}"/>
              </a:ext>
            </a:extLst>
          </p:cNvPr>
          <p:cNvSpPr>
            <a:spLocks noGrp="1"/>
          </p:cNvSpPr>
          <p:nvPr>
            <p:ph type="title"/>
          </p:nvPr>
        </p:nvSpPr>
        <p:spPr/>
        <p:txBody>
          <a:bodyPr/>
          <a:lstStyle/>
          <a:p>
            <a:r>
              <a:rPr lang="en-US"/>
              <a:t>Click to edit Master title style</a:t>
            </a:r>
            <a:endParaRPr lang="en-US" dirty="0"/>
          </a:p>
        </p:txBody>
      </p:sp>
      <p:sp>
        <p:nvSpPr>
          <p:cNvPr id="5" name="Date Placeholder 19">
            <a:extLst>
              <a:ext uri="{FF2B5EF4-FFF2-40B4-BE49-F238E27FC236}">
                <a16:creationId xmlns:a16="http://schemas.microsoft.com/office/drawing/2014/main" id="{3B47828B-0587-8EBA-887B-EDE9ADF6F6D1}"/>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6" name="Slide Number Placeholder 20">
            <a:extLst>
              <a:ext uri="{FF2B5EF4-FFF2-40B4-BE49-F238E27FC236}">
                <a16:creationId xmlns:a16="http://schemas.microsoft.com/office/drawing/2014/main" id="{DBFAA4B4-90C1-26C5-6464-AE04965D7469}"/>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3" name="Footer Placeholder 2">
            <a:extLst>
              <a:ext uri="{FF2B5EF4-FFF2-40B4-BE49-F238E27FC236}">
                <a16:creationId xmlns:a16="http://schemas.microsoft.com/office/drawing/2014/main" id="{A1F7B067-F9A2-E669-903A-65345CA7C6E6}"/>
              </a:ext>
            </a:extLst>
          </p:cNvPr>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3964260386"/>
      </p:ext>
    </p:extLst>
  </p:cSld>
  <p:clrMapOvr>
    <a:masterClrMapping/>
  </p:clrMapOvr>
  <p:extLst>
    <p:ext uri="{DCECCB84-F9BA-43D5-87BE-67443E8EF086}">
      <p15:sldGuideLst xmlns:p15="http://schemas.microsoft.com/office/powerpoint/2012/main">
        <p15:guide id="1" pos="3672">
          <p15:clr>
            <a:srgbClr val="FBAE40"/>
          </p15:clr>
        </p15:guide>
        <p15:guide id="2" pos="400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columns with headings">
    <p:spTree>
      <p:nvGrpSpPr>
        <p:cNvPr id="1" name=""/>
        <p:cNvGrpSpPr/>
        <p:nvPr/>
      </p:nvGrpSpPr>
      <p:grpSpPr>
        <a:xfrm>
          <a:off x="0" y="0"/>
          <a:ext cx="0" cy="0"/>
          <a:chOff x="0" y="0"/>
          <a:chExt cx="0" cy="0"/>
        </a:xfrm>
      </p:grpSpPr>
      <p:sp>
        <p:nvSpPr>
          <p:cNvPr id="10" name="Content Placeholder 8">
            <a:extLst>
              <a:ext uri="{FF2B5EF4-FFF2-40B4-BE49-F238E27FC236}">
                <a16:creationId xmlns:a16="http://schemas.microsoft.com/office/drawing/2014/main" id="{626175F9-DFB0-4C0C-9A83-FDE64C495CC6}"/>
              </a:ext>
            </a:extLst>
          </p:cNvPr>
          <p:cNvSpPr>
            <a:spLocks noGrp="1"/>
          </p:cNvSpPr>
          <p:nvPr>
            <p:ph sz="quarter" idx="13"/>
          </p:nvPr>
        </p:nvSpPr>
        <p:spPr>
          <a:xfrm>
            <a:off x="442913" y="1516856"/>
            <a:ext cx="5384800" cy="4612482"/>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8">
            <a:extLst>
              <a:ext uri="{FF2B5EF4-FFF2-40B4-BE49-F238E27FC236}">
                <a16:creationId xmlns:a16="http://schemas.microsoft.com/office/drawing/2014/main" id="{CE493A06-B38B-4B71-9CA5-FA1F92F99861}"/>
              </a:ext>
            </a:extLst>
          </p:cNvPr>
          <p:cNvSpPr>
            <a:spLocks noGrp="1"/>
          </p:cNvSpPr>
          <p:nvPr>
            <p:ph sz="quarter" idx="14"/>
          </p:nvPr>
        </p:nvSpPr>
        <p:spPr>
          <a:xfrm>
            <a:off x="6364289" y="1516856"/>
            <a:ext cx="5384800" cy="4612482"/>
          </a:xfr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14">
            <a:extLst>
              <a:ext uri="{FF2B5EF4-FFF2-40B4-BE49-F238E27FC236}">
                <a16:creationId xmlns:a16="http://schemas.microsoft.com/office/drawing/2014/main" id="{111653AB-3FA9-4785-B1D3-4C9FF62C0051}"/>
              </a:ext>
            </a:extLst>
          </p:cNvPr>
          <p:cNvSpPr>
            <a:spLocks noGrp="1"/>
          </p:cNvSpPr>
          <p:nvPr>
            <p:ph type="body" sz="quarter" idx="17"/>
          </p:nvPr>
        </p:nvSpPr>
        <p:spPr>
          <a:xfrm>
            <a:off x="442913" y="1219200"/>
            <a:ext cx="5384800" cy="221599"/>
          </a:xfrm>
        </p:spPr>
        <p:txBody>
          <a:bodyPr anchor="t">
            <a:noAutofit/>
          </a:bodyPr>
          <a:lstStyle>
            <a:lvl1pPr marL="0" indent="0">
              <a:lnSpc>
                <a:spcPct val="90000"/>
              </a:lnSpc>
              <a:spcBef>
                <a:spcPts val="600"/>
              </a:spcBef>
              <a:buNone/>
              <a:defRPr b="0">
                <a:solidFill>
                  <a:srgbClr val="00264E"/>
                </a:solidFill>
                <a:latin typeface="Playfair Display Black"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16" name="Text Placeholder 14">
            <a:extLst>
              <a:ext uri="{FF2B5EF4-FFF2-40B4-BE49-F238E27FC236}">
                <a16:creationId xmlns:a16="http://schemas.microsoft.com/office/drawing/2014/main" id="{AECDC1A3-0BF8-47E5-89E2-E0388384C57D}"/>
              </a:ext>
            </a:extLst>
          </p:cNvPr>
          <p:cNvSpPr>
            <a:spLocks noGrp="1"/>
          </p:cNvSpPr>
          <p:nvPr>
            <p:ph type="body" sz="quarter" idx="18"/>
          </p:nvPr>
        </p:nvSpPr>
        <p:spPr>
          <a:xfrm>
            <a:off x="6364289" y="1219200"/>
            <a:ext cx="5384800" cy="221599"/>
          </a:xfrm>
        </p:spPr>
        <p:txBody>
          <a:bodyPr anchor="t">
            <a:noAutofit/>
          </a:bodyPr>
          <a:lstStyle>
            <a:lvl1pPr marL="0" indent="0">
              <a:lnSpc>
                <a:spcPct val="90000"/>
              </a:lnSpc>
              <a:spcBef>
                <a:spcPts val="600"/>
              </a:spcBef>
              <a:buNone/>
              <a:defRPr b="0">
                <a:solidFill>
                  <a:srgbClr val="00264E"/>
                </a:solidFill>
                <a:latin typeface="Playfair Display Black"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2" name="Title 1">
            <a:extLst>
              <a:ext uri="{FF2B5EF4-FFF2-40B4-BE49-F238E27FC236}">
                <a16:creationId xmlns:a16="http://schemas.microsoft.com/office/drawing/2014/main" id="{3AD92700-BD49-4CF2-B9E3-C55F0F7C83F8}"/>
              </a:ext>
            </a:extLst>
          </p:cNvPr>
          <p:cNvSpPr>
            <a:spLocks noGrp="1"/>
          </p:cNvSpPr>
          <p:nvPr>
            <p:ph type="title"/>
          </p:nvPr>
        </p:nvSpPr>
        <p:spPr/>
        <p:txBody>
          <a:bodyPr/>
          <a:lstStyle/>
          <a:p>
            <a:r>
              <a:rPr lang="en-US"/>
              <a:t>Click to edit Master title style</a:t>
            </a:r>
            <a:endParaRPr lang="en-US" dirty="0"/>
          </a:p>
        </p:txBody>
      </p:sp>
      <p:sp>
        <p:nvSpPr>
          <p:cNvPr id="5" name="Date Placeholder 19">
            <a:extLst>
              <a:ext uri="{FF2B5EF4-FFF2-40B4-BE49-F238E27FC236}">
                <a16:creationId xmlns:a16="http://schemas.microsoft.com/office/drawing/2014/main" id="{D5484F62-D3D0-4E55-643A-00B0FB11EB87}"/>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6" name="Slide Number Placeholder 20">
            <a:extLst>
              <a:ext uri="{FF2B5EF4-FFF2-40B4-BE49-F238E27FC236}">
                <a16:creationId xmlns:a16="http://schemas.microsoft.com/office/drawing/2014/main" id="{265D5C37-85E7-4B11-4FAD-B589713DDD91}"/>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3" name="Footer Placeholder 2">
            <a:extLst>
              <a:ext uri="{FF2B5EF4-FFF2-40B4-BE49-F238E27FC236}">
                <a16:creationId xmlns:a16="http://schemas.microsoft.com/office/drawing/2014/main" id="{769AA948-9751-9026-6787-603C9562012F}"/>
              </a:ext>
            </a:extLst>
          </p:cNvPr>
          <p:cNvSpPr>
            <a:spLocks noGrp="1"/>
          </p:cNvSpPr>
          <p:nvPr>
            <p:ph type="ftr" sz="quarter" idx="19"/>
          </p:nvPr>
        </p:nvSpPr>
        <p:spPr/>
        <p:txBody>
          <a:bodyPr/>
          <a:lstStyle/>
          <a:p>
            <a:endParaRPr lang="en-GB"/>
          </a:p>
        </p:txBody>
      </p:sp>
    </p:spTree>
    <p:extLst>
      <p:ext uri="{BB962C8B-B14F-4D97-AF65-F5344CB8AC3E}">
        <p14:creationId xmlns:p14="http://schemas.microsoft.com/office/powerpoint/2010/main" val="2294155817"/>
      </p:ext>
    </p:extLst>
  </p:cSld>
  <p:clrMapOvr>
    <a:masterClrMapping/>
  </p:clrMapOvr>
  <p:extLst>
    <p:ext uri="{DCECCB84-F9BA-43D5-87BE-67443E8EF086}">
      <p15:sldGuideLst xmlns:p15="http://schemas.microsoft.com/office/powerpoint/2012/main">
        <p15:guide id="1" pos="3672">
          <p15:clr>
            <a:srgbClr val="FBAE40"/>
          </p15:clr>
        </p15:guide>
        <p15:guide id="2" pos="400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CFF194EA-2E7A-44E9-8B33-43C36958B772}"/>
              </a:ext>
            </a:extLst>
          </p:cNvPr>
          <p:cNvSpPr>
            <a:spLocks noGrp="1"/>
          </p:cNvSpPr>
          <p:nvPr>
            <p:ph sz="quarter" idx="13"/>
          </p:nvPr>
        </p:nvSpPr>
        <p:spPr>
          <a:xfrm>
            <a:off x="442914" y="1219200"/>
            <a:ext cx="3408725"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ontent Placeholder 8">
            <a:extLst>
              <a:ext uri="{FF2B5EF4-FFF2-40B4-BE49-F238E27FC236}">
                <a16:creationId xmlns:a16="http://schemas.microsoft.com/office/drawing/2014/main" id="{5E896705-A6A9-4B8A-B4F7-D3EF16C44840}"/>
              </a:ext>
            </a:extLst>
          </p:cNvPr>
          <p:cNvSpPr>
            <a:spLocks noGrp="1"/>
          </p:cNvSpPr>
          <p:nvPr>
            <p:ph sz="quarter" idx="14"/>
          </p:nvPr>
        </p:nvSpPr>
        <p:spPr>
          <a:xfrm>
            <a:off x="8340363" y="1219200"/>
            <a:ext cx="3408725"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a:extLst>
              <a:ext uri="{FF2B5EF4-FFF2-40B4-BE49-F238E27FC236}">
                <a16:creationId xmlns:a16="http://schemas.microsoft.com/office/drawing/2014/main" id="{4A6467DD-1B5F-496A-8FBB-A8CF1D46C61A}"/>
              </a:ext>
            </a:extLst>
          </p:cNvPr>
          <p:cNvSpPr>
            <a:spLocks noGrp="1"/>
          </p:cNvSpPr>
          <p:nvPr>
            <p:ph type="title"/>
          </p:nvPr>
        </p:nvSpPr>
        <p:spPr/>
        <p:txBody>
          <a:bodyPr/>
          <a:lstStyle/>
          <a:p>
            <a:r>
              <a:rPr lang="en-US"/>
              <a:t>Click to edit Master title style</a:t>
            </a:r>
            <a:endParaRPr lang="en-US" dirty="0"/>
          </a:p>
        </p:txBody>
      </p:sp>
      <p:sp>
        <p:nvSpPr>
          <p:cNvPr id="8" name="Content Placeholder 8">
            <a:extLst>
              <a:ext uri="{FF2B5EF4-FFF2-40B4-BE49-F238E27FC236}">
                <a16:creationId xmlns:a16="http://schemas.microsoft.com/office/drawing/2014/main" id="{A22409F2-96A1-4FE6-8970-AED9133DB58F}"/>
              </a:ext>
            </a:extLst>
          </p:cNvPr>
          <p:cNvSpPr>
            <a:spLocks noGrp="1"/>
          </p:cNvSpPr>
          <p:nvPr>
            <p:ph sz="quarter" idx="15"/>
          </p:nvPr>
        </p:nvSpPr>
        <p:spPr>
          <a:xfrm>
            <a:off x="4391638" y="1219200"/>
            <a:ext cx="3408725"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19">
            <a:extLst>
              <a:ext uri="{FF2B5EF4-FFF2-40B4-BE49-F238E27FC236}">
                <a16:creationId xmlns:a16="http://schemas.microsoft.com/office/drawing/2014/main" id="{328D8700-1C45-9E96-A8CC-9E75C9DDD887}"/>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6" name="Slide Number Placeholder 20">
            <a:extLst>
              <a:ext uri="{FF2B5EF4-FFF2-40B4-BE49-F238E27FC236}">
                <a16:creationId xmlns:a16="http://schemas.microsoft.com/office/drawing/2014/main" id="{690FCAA0-BB64-4FE5-D679-364D826113A3}"/>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3" name="Footer Placeholder 2">
            <a:extLst>
              <a:ext uri="{FF2B5EF4-FFF2-40B4-BE49-F238E27FC236}">
                <a16:creationId xmlns:a16="http://schemas.microsoft.com/office/drawing/2014/main" id="{6B3DD43A-1B9F-86DA-7029-735504F69771}"/>
              </a:ext>
            </a:extLst>
          </p:cNvPr>
          <p:cNvSpPr>
            <a:spLocks noGrp="1"/>
          </p:cNvSpPr>
          <p:nvPr>
            <p:ph type="ftr" sz="quarter" idx="16"/>
          </p:nvPr>
        </p:nvSpPr>
        <p:spPr/>
        <p:txBody>
          <a:bodyPr/>
          <a:lstStyle/>
          <a:p>
            <a:endParaRPr lang="en-GB"/>
          </a:p>
        </p:txBody>
      </p:sp>
    </p:spTree>
    <p:extLst>
      <p:ext uri="{BB962C8B-B14F-4D97-AF65-F5344CB8AC3E}">
        <p14:creationId xmlns:p14="http://schemas.microsoft.com/office/powerpoint/2010/main" val="2988797811"/>
      </p:ext>
    </p:extLst>
  </p:cSld>
  <p:clrMapOvr>
    <a:masterClrMapping/>
  </p:clrMapOvr>
  <p:extLst>
    <p:ext uri="{DCECCB84-F9BA-43D5-87BE-67443E8EF086}">
      <p15:sldGuideLst xmlns:p15="http://schemas.microsoft.com/office/powerpoint/2012/main">
        <p15:guide id="1" pos="4914">
          <p15:clr>
            <a:srgbClr val="FBAE40"/>
          </p15:clr>
        </p15:guide>
        <p15:guide id="2" pos="5253">
          <p15:clr>
            <a:srgbClr val="FBAE40"/>
          </p15:clr>
        </p15:guide>
        <p15:guide id="3" pos="2426">
          <p15:clr>
            <a:srgbClr val="FBAE40"/>
          </p15:clr>
        </p15:guide>
        <p15:guide id="4" pos="276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columns with headings">
    <p:spTree>
      <p:nvGrpSpPr>
        <p:cNvPr id="1" name=""/>
        <p:cNvGrpSpPr/>
        <p:nvPr/>
      </p:nvGrpSpPr>
      <p:grpSpPr>
        <a:xfrm>
          <a:off x="0" y="0"/>
          <a:ext cx="0" cy="0"/>
          <a:chOff x="0" y="0"/>
          <a:chExt cx="0" cy="0"/>
        </a:xfrm>
      </p:grpSpPr>
      <p:sp>
        <p:nvSpPr>
          <p:cNvPr id="10" name="Content Placeholder 8">
            <a:extLst>
              <a:ext uri="{FF2B5EF4-FFF2-40B4-BE49-F238E27FC236}">
                <a16:creationId xmlns:a16="http://schemas.microsoft.com/office/drawing/2014/main" id="{626175F9-DFB0-4C0C-9A83-FDE64C495CC6}"/>
              </a:ext>
            </a:extLst>
          </p:cNvPr>
          <p:cNvSpPr>
            <a:spLocks noGrp="1"/>
          </p:cNvSpPr>
          <p:nvPr>
            <p:ph sz="quarter" idx="13"/>
          </p:nvPr>
        </p:nvSpPr>
        <p:spPr>
          <a:xfrm>
            <a:off x="442915" y="1516856"/>
            <a:ext cx="3408725" cy="4612482"/>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8">
            <a:extLst>
              <a:ext uri="{FF2B5EF4-FFF2-40B4-BE49-F238E27FC236}">
                <a16:creationId xmlns:a16="http://schemas.microsoft.com/office/drawing/2014/main" id="{CE493A06-B38B-4B71-9CA5-FA1F92F99861}"/>
              </a:ext>
            </a:extLst>
          </p:cNvPr>
          <p:cNvSpPr>
            <a:spLocks noGrp="1"/>
          </p:cNvSpPr>
          <p:nvPr>
            <p:ph sz="quarter" idx="14"/>
          </p:nvPr>
        </p:nvSpPr>
        <p:spPr>
          <a:xfrm>
            <a:off x="8340364" y="1516856"/>
            <a:ext cx="3408725" cy="4612482"/>
          </a:xfr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14">
            <a:extLst>
              <a:ext uri="{FF2B5EF4-FFF2-40B4-BE49-F238E27FC236}">
                <a16:creationId xmlns:a16="http://schemas.microsoft.com/office/drawing/2014/main" id="{111653AB-3FA9-4785-B1D3-4C9FF62C0051}"/>
              </a:ext>
            </a:extLst>
          </p:cNvPr>
          <p:cNvSpPr>
            <a:spLocks noGrp="1"/>
          </p:cNvSpPr>
          <p:nvPr>
            <p:ph type="body" sz="quarter" idx="17"/>
          </p:nvPr>
        </p:nvSpPr>
        <p:spPr>
          <a:xfrm>
            <a:off x="442915" y="1219200"/>
            <a:ext cx="3408725" cy="221599"/>
          </a:xfrm>
        </p:spPr>
        <p:txBody>
          <a:bodyPr anchor="t">
            <a:spAutoFit/>
          </a:bodyPr>
          <a:lstStyle>
            <a:lvl1pPr marL="0" indent="0">
              <a:lnSpc>
                <a:spcPct val="90000"/>
              </a:lnSpc>
              <a:spcBef>
                <a:spcPts val="600"/>
              </a:spcBef>
              <a:buNone/>
              <a:defRPr b="0">
                <a:solidFill>
                  <a:srgbClr val="00264E"/>
                </a:solidFill>
                <a:latin typeface="Playfair Display Black"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16" name="Text Placeholder 14">
            <a:extLst>
              <a:ext uri="{FF2B5EF4-FFF2-40B4-BE49-F238E27FC236}">
                <a16:creationId xmlns:a16="http://schemas.microsoft.com/office/drawing/2014/main" id="{AECDC1A3-0BF8-47E5-89E2-E0388384C57D}"/>
              </a:ext>
            </a:extLst>
          </p:cNvPr>
          <p:cNvSpPr>
            <a:spLocks noGrp="1"/>
          </p:cNvSpPr>
          <p:nvPr>
            <p:ph type="body" sz="quarter" idx="18"/>
          </p:nvPr>
        </p:nvSpPr>
        <p:spPr>
          <a:xfrm>
            <a:off x="8340364" y="1219200"/>
            <a:ext cx="3408725" cy="221599"/>
          </a:xfrm>
        </p:spPr>
        <p:txBody>
          <a:bodyPr anchor="t">
            <a:spAutoFit/>
          </a:bodyPr>
          <a:lstStyle>
            <a:lvl1pPr marL="0" indent="0">
              <a:lnSpc>
                <a:spcPct val="90000"/>
              </a:lnSpc>
              <a:spcBef>
                <a:spcPts val="600"/>
              </a:spcBef>
              <a:buNone/>
              <a:defRPr b="0">
                <a:solidFill>
                  <a:srgbClr val="00264E"/>
                </a:solidFill>
                <a:latin typeface="Playfair Display Black"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2" name="Title 1">
            <a:extLst>
              <a:ext uri="{FF2B5EF4-FFF2-40B4-BE49-F238E27FC236}">
                <a16:creationId xmlns:a16="http://schemas.microsoft.com/office/drawing/2014/main" id="{3AD92700-BD49-4CF2-B9E3-C55F0F7C83F8}"/>
              </a:ext>
            </a:extLst>
          </p:cNvPr>
          <p:cNvSpPr>
            <a:spLocks noGrp="1"/>
          </p:cNvSpPr>
          <p:nvPr>
            <p:ph type="title"/>
          </p:nvPr>
        </p:nvSpPr>
        <p:spPr/>
        <p:txBody>
          <a:bodyPr/>
          <a:lstStyle/>
          <a:p>
            <a:r>
              <a:rPr lang="en-US"/>
              <a:t>Click to edit Master title style</a:t>
            </a:r>
            <a:endParaRPr lang="en-US" dirty="0"/>
          </a:p>
        </p:txBody>
      </p:sp>
      <p:sp>
        <p:nvSpPr>
          <p:cNvPr id="12" name="Content Placeholder 8">
            <a:extLst>
              <a:ext uri="{FF2B5EF4-FFF2-40B4-BE49-F238E27FC236}">
                <a16:creationId xmlns:a16="http://schemas.microsoft.com/office/drawing/2014/main" id="{F5975FE8-B118-4A0D-8172-7656AA0E8E40}"/>
              </a:ext>
            </a:extLst>
          </p:cNvPr>
          <p:cNvSpPr>
            <a:spLocks noGrp="1"/>
          </p:cNvSpPr>
          <p:nvPr>
            <p:ph sz="quarter" idx="19"/>
          </p:nvPr>
        </p:nvSpPr>
        <p:spPr>
          <a:xfrm>
            <a:off x="4391638" y="1516856"/>
            <a:ext cx="3408725" cy="4612482"/>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4">
            <a:extLst>
              <a:ext uri="{FF2B5EF4-FFF2-40B4-BE49-F238E27FC236}">
                <a16:creationId xmlns:a16="http://schemas.microsoft.com/office/drawing/2014/main" id="{2329DBC5-2A3C-4D5A-ACE3-BA6A82928EE1}"/>
              </a:ext>
            </a:extLst>
          </p:cNvPr>
          <p:cNvSpPr>
            <a:spLocks noGrp="1"/>
          </p:cNvSpPr>
          <p:nvPr>
            <p:ph type="body" sz="quarter" idx="20"/>
          </p:nvPr>
        </p:nvSpPr>
        <p:spPr>
          <a:xfrm>
            <a:off x="4391638" y="1219200"/>
            <a:ext cx="3408725" cy="221599"/>
          </a:xfrm>
        </p:spPr>
        <p:txBody>
          <a:bodyPr anchor="t">
            <a:spAutoFit/>
          </a:bodyPr>
          <a:lstStyle>
            <a:lvl1pPr marL="0" indent="0">
              <a:lnSpc>
                <a:spcPct val="90000"/>
              </a:lnSpc>
              <a:spcBef>
                <a:spcPts val="600"/>
              </a:spcBef>
              <a:buNone/>
              <a:defRPr b="0">
                <a:solidFill>
                  <a:srgbClr val="00264E"/>
                </a:solidFill>
                <a:latin typeface="Playfair Display Black"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5" name="Date Placeholder 19">
            <a:extLst>
              <a:ext uri="{FF2B5EF4-FFF2-40B4-BE49-F238E27FC236}">
                <a16:creationId xmlns:a16="http://schemas.microsoft.com/office/drawing/2014/main" id="{62442CD6-B375-4E9E-71B2-F65134A619A2}"/>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6" name="Slide Number Placeholder 20">
            <a:extLst>
              <a:ext uri="{FF2B5EF4-FFF2-40B4-BE49-F238E27FC236}">
                <a16:creationId xmlns:a16="http://schemas.microsoft.com/office/drawing/2014/main" id="{C58079D0-7D8A-82CC-E076-D87A46DFDFCB}"/>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3" name="Footer Placeholder 2">
            <a:extLst>
              <a:ext uri="{FF2B5EF4-FFF2-40B4-BE49-F238E27FC236}">
                <a16:creationId xmlns:a16="http://schemas.microsoft.com/office/drawing/2014/main" id="{671B102B-ECB4-01EB-EA61-6934C1A0C6FC}"/>
              </a:ext>
            </a:extLst>
          </p:cNvPr>
          <p:cNvSpPr>
            <a:spLocks noGrp="1"/>
          </p:cNvSpPr>
          <p:nvPr>
            <p:ph type="ftr" sz="quarter" idx="21"/>
          </p:nvPr>
        </p:nvSpPr>
        <p:spPr/>
        <p:txBody>
          <a:bodyPr/>
          <a:lstStyle/>
          <a:p>
            <a:endParaRPr lang="en-GB"/>
          </a:p>
        </p:txBody>
      </p:sp>
    </p:spTree>
    <p:extLst>
      <p:ext uri="{BB962C8B-B14F-4D97-AF65-F5344CB8AC3E}">
        <p14:creationId xmlns:p14="http://schemas.microsoft.com/office/powerpoint/2010/main" val="1554175377"/>
      </p:ext>
    </p:extLst>
  </p:cSld>
  <p:clrMapOvr>
    <a:masterClrMapping/>
  </p:clrMapOvr>
  <p:extLst>
    <p:ext uri="{DCECCB84-F9BA-43D5-87BE-67443E8EF086}">
      <p15:sldGuideLst xmlns:p15="http://schemas.microsoft.com/office/powerpoint/2012/main">
        <p15:guide id="1" pos="2427">
          <p15:clr>
            <a:srgbClr val="FBAE40"/>
          </p15:clr>
        </p15:guide>
        <p15:guide id="2" pos="2768">
          <p15:clr>
            <a:srgbClr val="FBAE40"/>
          </p15:clr>
        </p15:guide>
        <p15:guide id="3" pos="5253">
          <p15:clr>
            <a:srgbClr val="FBAE40"/>
          </p15:clr>
        </p15:guide>
        <p15:guide id="4" pos="4914">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CFF194EA-2E7A-44E9-8B33-43C36958B772}"/>
              </a:ext>
            </a:extLst>
          </p:cNvPr>
          <p:cNvSpPr>
            <a:spLocks noGrp="1"/>
          </p:cNvSpPr>
          <p:nvPr>
            <p:ph sz="quarter" idx="13"/>
          </p:nvPr>
        </p:nvSpPr>
        <p:spPr>
          <a:xfrm>
            <a:off x="442913" y="1219200"/>
            <a:ext cx="2421544"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ontent Placeholder 8">
            <a:extLst>
              <a:ext uri="{FF2B5EF4-FFF2-40B4-BE49-F238E27FC236}">
                <a16:creationId xmlns:a16="http://schemas.microsoft.com/office/drawing/2014/main" id="{5E896705-A6A9-4B8A-B4F7-D3EF16C44840}"/>
              </a:ext>
            </a:extLst>
          </p:cNvPr>
          <p:cNvSpPr>
            <a:spLocks noGrp="1"/>
          </p:cNvSpPr>
          <p:nvPr>
            <p:ph sz="quarter" idx="14"/>
          </p:nvPr>
        </p:nvSpPr>
        <p:spPr>
          <a:xfrm>
            <a:off x="9327545" y="1219200"/>
            <a:ext cx="2421544"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a:extLst>
              <a:ext uri="{FF2B5EF4-FFF2-40B4-BE49-F238E27FC236}">
                <a16:creationId xmlns:a16="http://schemas.microsoft.com/office/drawing/2014/main" id="{4A6467DD-1B5F-496A-8FBB-A8CF1D46C61A}"/>
              </a:ext>
            </a:extLst>
          </p:cNvPr>
          <p:cNvSpPr>
            <a:spLocks noGrp="1"/>
          </p:cNvSpPr>
          <p:nvPr>
            <p:ph type="title"/>
          </p:nvPr>
        </p:nvSpPr>
        <p:spPr/>
        <p:txBody>
          <a:bodyPr/>
          <a:lstStyle/>
          <a:p>
            <a:r>
              <a:rPr lang="en-US"/>
              <a:t>Click to edit Master title style</a:t>
            </a:r>
            <a:endParaRPr lang="en-US" dirty="0"/>
          </a:p>
        </p:txBody>
      </p:sp>
      <p:sp>
        <p:nvSpPr>
          <p:cNvPr id="8" name="Content Placeholder 8">
            <a:extLst>
              <a:ext uri="{FF2B5EF4-FFF2-40B4-BE49-F238E27FC236}">
                <a16:creationId xmlns:a16="http://schemas.microsoft.com/office/drawing/2014/main" id="{EDD1061D-AD1C-4707-8189-42F0FFBAD7ED}"/>
              </a:ext>
            </a:extLst>
          </p:cNvPr>
          <p:cNvSpPr>
            <a:spLocks noGrp="1"/>
          </p:cNvSpPr>
          <p:nvPr>
            <p:ph sz="quarter" idx="15"/>
          </p:nvPr>
        </p:nvSpPr>
        <p:spPr>
          <a:xfrm>
            <a:off x="3404457" y="1219200"/>
            <a:ext cx="2421544"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8">
            <a:extLst>
              <a:ext uri="{FF2B5EF4-FFF2-40B4-BE49-F238E27FC236}">
                <a16:creationId xmlns:a16="http://schemas.microsoft.com/office/drawing/2014/main" id="{32162ABF-D244-4578-8891-5E279D4E979C}"/>
              </a:ext>
            </a:extLst>
          </p:cNvPr>
          <p:cNvSpPr>
            <a:spLocks noGrp="1"/>
          </p:cNvSpPr>
          <p:nvPr>
            <p:ph sz="quarter" idx="16"/>
          </p:nvPr>
        </p:nvSpPr>
        <p:spPr>
          <a:xfrm>
            <a:off x="6366001" y="1219200"/>
            <a:ext cx="2421544"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19">
            <a:extLst>
              <a:ext uri="{FF2B5EF4-FFF2-40B4-BE49-F238E27FC236}">
                <a16:creationId xmlns:a16="http://schemas.microsoft.com/office/drawing/2014/main" id="{A5923634-0835-4EE6-BD0A-3A042FE64988}"/>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6" name="Slide Number Placeholder 20">
            <a:extLst>
              <a:ext uri="{FF2B5EF4-FFF2-40B4-BE49-F238E27FC236}">
                <a16:creationId xmlns:a16="http://schemas.microsoft.com/office/drawing/2014/main" id="{DACEEB8D-55A3-16D1-DE66-C9E1FF906AC3}"/>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3" name="Footer Placeholder 2">
            <a:extLst>
              <a:ext uri="{FF2B5EF4-FFF2-40B4-BE49-F238E27FC236}">
                <a16:creationId xmlns:a16="http://schemas.microsoft.com/office/drawing/2014/main" id="{15BF6216-77CE-9685-8B28-65800B2DF212}"/>
              </a:ext>
            </a:extLst>
          </p:cNvPr>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2487912673"/>
      </p:ext>
    </p:extLst>
  </p:cSld>
  <p:clrMapOvr>
    <a:masterClrMapping/>
  </p:clrMapOvr>
  <p:extLst>
    <p:ext uri="{DCECCB84-F9BA-43D5-87BE-67443E8EF086}">
      <p15:sldGuideLst xmlns:p15="http://schemas.microsoft.com/office/powerpoint/2012/main">
        <p15:guide id="1" pos="3672">
          <p15:clr>
            <a:srgbClr val="FBAE40"/>
          </p15:clr>
        </p15:guide>
        <p15:guide id="2" pos="4008">
          <p15:clr>
            <a:srgbClr val="FBAE40"/>
          </p15:clr>
        </p15:guide>
        <p15:guide id="3" pos="1805">
          <p15:clr>
            <a:srgbClr val="FBAE40"/>
          </p15:clr>
        </p15:guide>
        <p15:guide id="4" pos="2144">
          <p15:clr>
            <a:srgbClr val="FBAE40"/>
          </p15:clr>
        </p15:guide>
        <p15:guide id="5" pos="5546">
          <p15:clr>
            <a:srgbClr val="FBAE40"/>
          </p15:clr>
        </p15:guide>
        <p15:guide id="6" pos="5883">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 columns with headings">
    <p:spTree>
      <p:nvGrpSpPr>
        <p:cNvPr id="1" name=""/>
        <p:cNvGrpSpPr/>
        <p:nvPr/>
      </p:nvGrpSpPr>
      <p:grpSpPr>
        <a:xfrm>
          <a:off x="0" y="0"/>
          <a:ext cx="0" cy="0"/>
          <a:chOff x="0" y="0"/>
          <a:chExt cx="0" cy="0"/>
        </a:xfrm>
      </p:grpSpPr>
      <p:sp>
        <p:nvSpPr>
          <p:cNvPr id="10" name="Content Placeholder 8">
            <a:extLst>
              <a:ext uri="{FF2B5EF4-FFF2-40B4-BE49-F238E27FC236}">
                <a16:creationId xmlns:a16="http://schemas.microsoft.com/office/drawing/2014/main" id="{626175F9-DFB0-4C0C-9A83-FDE64C495CC6}"/>
              </a:ext>
            </a:extLst>
          </p:cNvPr>
          <p:cNvSpPr>
            <a:spLocks noGrp="1"/>
          </p:cNvSpPr>
          <p:nvPr>
            <p:ph sz="quarter" idx="13"/>
          </p:nvPr>
        </p:nvSpPr>
        <p:spPr>
          <a:xfrm>
            <a:off x="442913" y="1516856"/>
            <a:ext cx="2421544" cy="4612482"/>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8">
            <a:extLst>
              <a:ext uri="{FF2B5EF4-FFF2-40B4-BE49-F238E27FC236}">
                <a16:creationId xmlns:a16="http://schemas.microsoft.com/office/drawing/2014/main" id="{CE493A06-B38B-4B71-9CA5-FA1F92F99861}"/>
              </a:ext>
            </a:extLst>
          </p:cNvPr>
          <p:cNvSpPr>
            <a:spLocks noGrp="1"/>
          </p:cNvSpPr>
          <p:nvPr>
            <p:ph sz="quarter" idx="14"/>
          </p:nvPr>
        </p:nvSpPr>
        <p:spPr>
          <a:xfrm>
            <a:off x="9327545" y="1516856"/>
            <a:ext cx="2421544" cy="4612482"/>
          </a:xfr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14">
            <a:extLst>
              <a:ext uri="{FF2B5EF4-FFF2-40B4-BE49-F238E27FC236}">
                <a16:creationId xmlns:a16="http://schemas.microsoft.com/office/drawing/2014/main" id="{111653AB-3FA9-4785-B1D3-4C9FF62C0051}"/>
              </a:ext>
            </a:extLst>
          </p:cNvPr>
          <p:cNvSpPr>
            <a:spLocks noGrp="1"/>
          </p:cNvSpPr>
          <p:nvPr>
            <p:ph type="body" sz="quarter" idx="17"/>
          </p:nvPr>
        </p:nvSpPr>
        <p:spPr>
          <a:xfrm>
            <a:off x="442913" y="1219200"/>
            <a:ext cx="2421544" cy="221599"/>
          </a:xfrm>
        </p:spPr>
        <p:txBody>
          <a:bodyPr anchor="t">
            <a:noAutofit/>
          </a:bodyPr>
          <a:lstStyle>
            <a:lvl1pPr marL="0" indent="0">
              <a:lnSpc>
                <a:spcPct val="90000"/>
              </a:lnSpc>
              <a:spcBef>
                <a:spcPts val="600"/>
              </a:spcBef>
              <a:buNone/>
              <a:defRPr b="0">
                <a:solidFill>
                  <a:schemeClr val="accent1"/>
                </a:solidFill>
                <a:latin typeface="Playfair Display Black"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16" name="Text Placeholder 14">
            <a:extLst>
              <a:ext uri="{FF2B5EF4-FFF2-40B4-BE49-F238E27FC236}">
                <a16:creationId xmlns:a16="http://schemas.microsoft.com/office/drawing/2014/main" id="{AECDC1A3-0BF8-47E5-89E2-E0388384C57D}"/>
              </a:ext>
            </a:extLst>
          </p:cNvPr>
          <p:cNvSpPr>
            <a:spLocks noGrp="1"/>
          </p:cNvSpPr>
          <p:nvPr>
            <p:ph type="body" sz="quarter" idx="18"/>
          </p:nvPr>
        </p:nvSpPr>
        <p:spPr>
          <a:xfrm>
            <a:off x="9327545" y="1219200"/>
            <a:ext cx="2421544" cy="221599"/>
          </a:xfrm>
        </p:spPr>
        <p:txBody>
          <a:bodyPr anchor="t">
            <a:noAutofit/>
          </a:bodyPr>
          <a:lstStyle>
            <a:lvl1pPr marL="0" indent="0">
              <a:lnSpc>
                <a:spcPct val="90000"/>
              </a:lnSpc>
              <a:spcBef>
                <a:spcPts val="600"/>
              </a:spcBef>
              <a:buNone/>
              <a:defRPr b="0">
                <a:solidFill>
                  <a:schemeClr val="accent1"/>
                </a:solidFill>
                <a:latin typeface="Playfair Display Black"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2" name="Title 1">
            <a:extLst>
              <a:ext uri="{FF2B5EF4-FFF2-40B4-BE49-F238E27FC236}">
                <a16:creationId xmlns:a16="http://schemas.microsoft.com/office/drawing/2014/main" id="{3AD92700-BD49-4CF2-B9E3-C55F0F7C83F8}"/>
              </a:ext>
            </a:extLst>
          </p:cNvPr>
          <p:cNvSpPr>
            <a:spLocks noGrp="1"/>
          </p:cNvSpPr>
          <p:nvPr>
            <p:ph type="title"/>
          </p:nvPr>
        </p:nvSpPr>
        <p:spPr/>
        <p:txBody>
          <a:bodyPr/>
          <a:lstStyle/>
          <a:p>
            <a:r>
              <a:rPr lang="en-US"/>
              <a:t>Click to edit Master title style</a:t>
            </a:r>
            <a:endParaRPr lang="en-US" dirty="0"/>
          </a:p>
        </p:txBody>
      </p:sp>
      <p:sp>
        <p:nvSpPr>
          <p:cNvPr id="12" name="Content Placeholder 8">
            <a:extLst>
              <a:ext uri="{FF2B5EF4-FFF2-40B4-BE49-F238E27FC236}">
                <a16:creationId xmlns:a16="http://schemas.microsoft.com/office/drawing/2014/main" id="{D8817BFB-9118-4E1D-AB4C-F589563045C1}"/>
              </a:ext>
            </a:extLst>
          </p:cNvPr>
          <p:cNvSpPr>
            <a:spLocks noGrp="1"/>
          </p:cNvSpPr>
          <p:nvPr>
            <p:ph sz="quarter" idx="19"/>
          </p:nvPr>
        </p:nvSpPr>
        <p:spPr>
          <a:xfrm>
            <a:off x="3404457" y="1516856"/>
            <a:ext cx="2421544" cy="4612482"/>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8">
            <a:extLst>
              <a:ext uri="{FF2B5EF4-FFF2-40B4-BE49-F238E27FC236}">
                <a16:creationId xmlns:a16="http://schemas.microsoft.com/office/drawing/2014/main" id="{84F6DEB1-BAEB-4E79-8274-A008B9CF7F9C}"/>
              </a:ext>
            </a:extLst>
          </p:cNvPr>
          <p:cNvSpPr>
            <a:spLocks noGrp="1"/>
          </p:cNvSpPr>
          <p:nvPr>
            <p:ph sz="quarter" idx="20"/>
          </p:nvPr>
        </p:nvSpPr>
        <p:spPr>
          <a:xfrm>
            <a:off x="6366001" y="1516856"/>
            <a:ext cx="2421544" cy="4612482"/>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4">
            <a:extLst>
              <a:ext uri="{FF2B5EF4-FFF2-40B4-BE49-F238E27FC236}">
                <a16:creationId xmlns:a16="http://schemas.microsoft.com/office/drawing/2014/main" id="{E0A314C0-EDE7-4619-971F-DD27A94F04C9}"/>
              </a:ext>
            </a:extLst>
          </p:cNvPr>
          <p:cNvSpPr>
            <a:spLocks noGrp="1"/>
          </p:cNvSpPr>
          <p:nvPr>
            <p:ph type="body" sz="quarter" idx="21"/>
          </p:nvPr>
        </p:nvSpPr>
        <p:spPr>
          <a:xfrm>
            <a:off x="3404457" y="1219200"/>
            <a:ext cx="2421544" cy="221599"/>
          </a:xfrm>
        </p:spPr>
        <p:txBody>
          <a:bodyPr anchor="t">
            <a:noAutofit/>
          </a:bodyPr>
          <a:lstStyle>
            <a:lvl1pPr marL="0" indent="0">
              <a:lnSpc>
                <a:spcPct val="90000"/>
              </a:lnSpc>
              <a:spcBef>
                <a:spcPts val="600"/>
              </a:spcBef>
              <a:buNone/>
              <a:defRPr b="0">
                <a:solidFill>
                  <a:schemeClr val="accent1"/>
                </a:solidFill>
                <a:latin typeface="Playfair Display Black"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17" name="Text Placeholder 14">
            <a:extLst>
              <a:ext uri="{FF2B5EF4-FFF2-40B4-BE49-F238E27FC236}">
                <a16:creationId xmlns:a16="http://schemas.microsoft.com/office/drawing/2014/main" id="{F07624EF-26E1-439F-8C38-D7767CC3F6E9}"/>
              </a:ext>
            </a:extLst>
          </p:cNvPr>
          <p:cNvSpPr>
            <a:spLocks noGrp="1"/>
          </p:cNvSpPr>
          <p:nvPr>
            <p:ph type="body" sz="quarter" idx="22"/>
          </p:nvPr>
        </p:nvSpPr>
        <p:spPr>
          <a:xfrm>
            <a:off x="6366001" y="1219200"/>
            <a:ext cx="2421544" cy="221599"/>
          </a:xfrm>
        </p:spPr>
        <p:txBody>
          <a:bodyPr anchor="t">
            <a:noAutofit/>
          </a:bodyPr>
          <a:lstStyle>
            <a:lvl1pPr marL="0" indent="0">
              <a:lnSpc>
                <a:spcPct val="90000"/>
              </a:lnSpc>
              <a:spcBef>
                <a:spcPts val="600"/>
              </a:spcBef>
              <a:buNone/>
              <a:defRPr b="0">
                <a:solidFill>
                  <a:schemeClr val="accent1"/>
                </a:solidFill>
                <a:latin typeface="Playfair Display Black"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3" name="Date Placeholder 19">
            <a:extLst>
              <a:ext uri="{FF2B5EF4-FFF2-40B4-BE49-F238E27FC236}">
                <a16:creationId xmlns:a16="http://schemas.microsoft.com/office/drawing/2014/main" id="{E5D9ECC6-A4E2-A11C-D521-08B6E81206D7}"/>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DA7FAB50-E682-17E3-9F46-9CA256502BD1}"/>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 name="Footer Placeholder 4">
            <a:extLst>
              <a:ext uri="{FF2B5EF4-FFF2-40B4-BE49-F238E27FC236}">
                <a16:creationId xmlns:a16="http://schemas.microsoft.com/office/drawing/2014/main" id="{CE5ADBE8-8EBC-D847-FDF3-56ED820CDB3E}"/>
              </a:ext>
            </a:extLst>
          </p:cNvPr>
          <p:cNvSpPr>
            <a:spLocks noGrp="1"/>
          </p:cNvSpPr>
          <p:nvPr>
            <p:ph type="ftr" sz="quarter" idx="23"/>
          </p:nvPr>
        </p:nvSpPr>
        <p:spPr/>
        <p:txBody>
          <a:bodyPr/>
          <a:lstStyle/>
          <a:p>
            <a:endParaRPr lang="en-GB"/>
          </a:p>
        </p:txBody>
      </p:sp>
    </p:spTree>
    <p:extLst>
      <p:ext uri="{BB962C8B-B14F-4D97-AF65-F5344CB8AC3E}">
        <p14:creationId xmlns:p14="http://schemas.microsoft.com/office/powerpoint/2010/main" val="2545497102"/>
      </p:ext>
    </p:extLst>
  </p:cSld>
  <p:clrMapOvr>
    <a:masterClrMapping/>
  </p:clrMapOvr>
  <p:extLst>
    <p:ext uri="{DCECCB84-F9BA-43D5-87BE-67443E8EF086}">
      <p15:sldGuideLst xmlns:p15="http://schemas.microsoft.com/office/powerpoint/2012/main">
        <p15:guide id="1" pos="3672">
          <p15:clr>
            <a:srgbClr val="FBAE40"/>
          </p15:clr>
        </p15:guide>
        <p15:guide id="2" pos="4008">
          <p15:clr>
            <a:srgbClr val="FBAE40"/>
          </p15:clr>
        </p15:guide>
        <p15:guide id="3" pos="1805">
          <p15:clr>
            <a:srgbClr val="FBAE40"/>
          </p15:clr>
        </p15:guide>
        <p15:guide id="4" pos="2144">
          <p15:clr>
            <a:srgbClr val="FBAE40"/>
          </p15:clr>
        </p15:guide>
        <p15:guide id="5" pos="5537">
          <p15:clr>
            <a:srgbClr val="FBAE40"/>
          </p15:clr>
        </p15:guide>
        <p15:guide id="6" pos="587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resenter layout_Three peop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0D28EC-17F6-8468-7C96-4FB31D9FD0BA}"/>
              </a:ext>
            </a:extLst>
          </p:cNvPr>
          <p:cNvGraphicFramePr>
            <a:graphicFrameLocks noChangeAspect="1"/>
          </p:cNvGraphicFramePr>
          <p:nvPr userDrawn="1">
            <p:custDataLst>
              <p:tags r:id="rId1"/>
            </p:custDataLst>
            <p:extLst>
              <p:ext uri="{D42A27DB-BD31-4B8C-83A1-F6EECF244321}">
                <p14:modId xmlns:p14="http://schemas.microsoft.com/office/powerpoint/2010/main" val="3385059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680D28EC-17F6-8468-7C96-4FB31D9FD0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9">
            <a:extLst>
              <a:ext uri="{FF2B5EF4-FFF2-40B4-BE49-F238E27FC236}">
                <a16:creationId xmlns:a16="http://schemas.microsoft.com/office/drawing/2014/main" id="{A2D48AB2-EFAF-4793-A8A5-250513B21E07}"/>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19" name="Slide Number Placeholder 20">
            <a:extLst>
              <a:ext uri="{FF2B5EF4-FFF2-40B4-BE49-F238E27FC236}">
                <a16:creationId xmlns:a16="http://schemas.microsoft.com/office/drawing/2014/main" id="{8EEC7DD3-5720-B601-C3F4-86BA708392C7}"/>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4" name="Picture Placeholder 53">
            <a:extLst>
              <a:ext uri="{FF2B5EF4-FFF2-40B4-BE49-F238E27FC236}">
                <a16:creationId xmlns:a16="http://schemas.microsoft.com/office/drawing/2014/main" id="{D9A5FD3A-739C-00D2-8CED-5128DA4ADD87}"/>
              </a:ext>
            </a:extLst>
          </p:cNvPr>
          <p:cNvSpPr>
            <a:spLocks noGrp="1"/>
          </p:cNvSpPr>
          <p:nvPr>
            <p:ph type="pic" sz="quarter" idx="10" hasCustomPrompt="1"/>
          </p:nvPr>
        </p:nvSpPr>
        <p:spPr>
          <a:xfrm>
            <a:off x="2563989" y="1473200"/>
            <a:ext cx="1872000" cy="1872000"/>
          </a:xfrm>
          <a:prstGeom prst="ellipse">
            <a:avLst/>
          </a:prstGeom>
          <a:solidFill>
            <a:srgbClr val="F2F3F7"/>
          </a:solidFill>
          <a:effectLst>
            <a:outerShdw dist="50800" dir="2700000" algn="tl" rotWithShape="0">
              <a:srgbClr val="BFC9D3"/>
            </a:outerShdw>
          </a:effectLst>
        </p:spPr>
        <p:txBody>
          <a:bodyPr anchor="ctr"/>
          <a:lstStyle>
            <a:lvl1pPr marL="0" indent="0" algn="ctr">
              <a:buNone/>
              <a:defRPr/>
            </a:lvl1pPr>
          </a:lstStyle>
          <a:p>
            <a:r>
              <a:rPr lang="en-GB" dirty="0"/>
              <a:t>Add profile picture</a:t>
            </a:r>
          </a:p>
        </p:txBody>
      </p:sp>
      <p:sp>
        <p:nvSpPr>
          <p:cNvPr id="55" name="Title 1">
            <a:extLst>
              <a:ext uri="{FF2B5EF4-FFF2-40B4-BE49-F238E27FC236}">
                <a16:creationId xmlns:a16="http://schemas.microsoft.com/office/drawing/2014/main" id="{7ACBFD12-A58F-E7A1-6101-94363F07C61C}"/>
              </a:ext>
            </a:extLst>
          </p:cNvPr>
          <p:cNvSpPr>
            <a:spLocks noGrp="1"/>
          </p:cNvSpPr>
          <p:nvPr>
            <p:ph type="title"/>
          </p:nvPr>
        </p:nvSpPr>
        <p:spPr>
          <a:xfrm>
            <a:off x="442913" y="221456"/>
            <a:ext cx="11306175" cy="775597"/>
          </a:xfrm>
        </p:spPr>
        <p:txBody>
          <a:bodyPr/>
          <a:lstStyle>
            <a:lvl1pPr>
              <a:defRPr/>
            </a:lvl1pPr>
          </a:lstStyle>
          <a:p>
            <a:r>
              <a:rPr lang="en-US" noProof="0"/>
              <a:t>Click to edit Master title style</a:t>
            </a:r>
            <a:endParaRPr lang="en-US" noProof="0" dirty="0"/>
          </a:p>
        </p:txBody>
      </p:sp>
      <p:sp>
        <p:nvSpPr>
          <p:cNvPr id="56" name="Picture Placeholder 53">
            <a:extLst>
              <a:ext uri="{FF2B5EF4-FFF2-40B4-BE49-F238E27FC236}">
                <a16:creationId xmlns:a16="http://schemas.microsoft.com/office/drawing/2014/main" id="{760C777F-BE30-1E91-2A59-B6FF4E97E2DB}"/>
              </a:ext>
            </a:extLst>
          </p:cNvPr>
          <p:cNvSpPr>
            <a:spLocks noGrp="1"/>
          </p:cNvSpPr>
          <p:nvPr>
            <p:ph type="pic" sz="quarter" idx="11" hasCustomPrompt="1"/>
          </p:nvPr>
        </p:nvSpPr>
        <p:spPr>
          <a:xfrm>
            <a:off x="5165787" y="1473200"/>
            <a:ext cx="1872000" cy="1872000"/>
          </a:xfrm>
          <a:prstGeom prst="ellipse">
            <a:avLst/>
          </a:prstGeom>
          <a:solidFill>
            <a:srgbClr val="F2F3F7"/>
          </a:solidFill>
          <a:effectLst>
            <a:outerShdw dist="50800" dir="2700000" algn="tl" rotWithShape="0">
              <a:srgbClr val="BFC9D3"/>
            </a:outerShdw>
          </a:effectLst>
        </p:spPr>
        <p:txBody>
          <a:bodyPr anchor="ctr"/>
          <a:lstStyle>
            <a:lvl1pPr marL="0" indent="0" algn="ctr">
              <a:buNone/>
              <a:defRPr/>
            </a:lvl1pPr>
          </a:lstStyle>
          <a:p>
            <a:r>
              <a:rPr lang="en-GB" dirty="0"/>
              <a:t>Add profile picture</a:t>
            </a:r>
          </a:p>
        </p:txBody>
      </p:sp>
      <p:sp>
        <p:nvSpPr>
          <p:cNvPr id="57" name="Picture Placeholder 53">
            <a:extLst>
              <a:ext uri="{FF2B5EF4-FFF2-40B4-BE49-F238E27FC236}">
                <a16:creationId xmlns:a16="http://schemas.microsoft.com/office/drawing/2014/main" id="{7373399E-FEE8-2ABE-2628-D41AB3CE97FB}"/>
              </a:ext>
            </a:extLst>
          </p:cNvPr>
          <p:cNvSpPr>
            <a:spLocks noGrp="1"/>
          </p:cNvSpPr>
          <p:nvPr>
            <p:ph type="pic" sz="quarter" idx="12" hasCustomPrompt="1"/>
          </p:nvPr>
        </p:nvSpPr>
        <p:spPr>
          <a:xfrm>
            <a:off x="7767585" y="1473200"/>
            <a:ext cx="1872000" cy="1872000"/>
          </a:xfrm>
          <a:prstGeom prst="ellipse">
            <a:avLst/>
          </a:prstGeom>
          <a:solidFill>
            <a:srgbClr val="F2F3F7"/>
          </a:solidFill>
          <a:effectLst>
            <a:outerShdw dist="50800" dir="2700000" algn="tl" rotWithShape="0">
              <a:srgbClr val="BFC9D3"/>
            </a:outerShdw>
          </a:effectLst>
        </p:spPr>
        <p:txBody>
          <a:bodyPr anchor="ctr"/>
          <a:lstStyle>
            <a:lvl1pPr marL="0" indent="0" algn="ctr">
              <a:buNone/>
              <a:defRPr/>
            </a:lvl1pPr>
          </a:lstStyle>
          <a:p>
            <a:r>
              <a:rPr lang="en-GB" dirty="0"/>
              <a:t>Add profile picture</a:t>
            </a:r>
          </a:p>
        </p:txBody>
      </p:sp>
      <p:sp>
        <p:nvSpPr>
          <p:cNvPr id="60" name="Text Placeholder 59">
            <a:extLst>
              <a:ext uri="{FF2B5EF4-FFF2-40B4-BE49-F238E27FC236}">
                <a16:creationId xmlns:a16="http://schemas.microsoft.com/office/drawing/2014/main" id="{4E634458-A515-0634-1E3F-DF276A263C2D}"/>
              </a:ext>
            </a:extLst>
          </p:cNvPr>
          <p:cNvSpPr>
            <a:spLocks noGrp="1"/>
          </p:cNvSpPr>
          <p:nvPr>
            <p:ph type="body" sz="quarter" idx="14" hasCustomPrompt="1"/>
          </p:nvPr>
        </p:nvSpPr>
        <p:spPr>
          <a:xfrm>
            <a:off x="2563836" y="3695310"/>
            <a:ext cx="1872000" cy="556184"/>
          </a:xfrm>
        </p:spPr>
        <p:txBody>
          <a:bodyPr anchor="t"/>
          <a:lstStyle>
            <a:lvl1pPr marL="0" indent="0" algn="ctr">
              <a:lnSpc>
                <a:spcPct val="110000"/>
              </a:lnSpc>
              <a:spcBef>
                <a:spcPts val="0"/>
              </a:spcBef>
              <a:buNone/>
              <a:defRPr>
                <a:latin typeface="Playfair Display" pitchFamily="2" charset="0"/>
              </a:defRPr>
            </a:lvl1pPr>
          </a:lstStyle>
          <a:p>
            <a:pPr lvl="0"/>
            <a:r>
              <a:rPr lang="en-US" dirty="0"/>
              <a:t>Add name and title</a:t>
            </a:r>
            <a:endParaRPr lang="en-GB" dirty="0"/>
          </a:p>
        </p:txBody>
      </p:sp>
      <p:sp>
        <p:nvSpPr>
          <p:cNvPr id="61" name="Text Placeholder 59">
            <a:extLst>
              <a:ext uri="{FF2B5EF4-FFF2-40B4-BE49-F238E27FC236}">
                <a16:creationId xmlns:a16="http://schemas.microsoft.com/office/drawing/2014/main" id="{33565502-2EF8-0A42-8B2F-B7BB544C6F76}"/>
              </a:ext>
            </a:extLst>
          </p:cNvPr>
          <p:cNvSpPr>
            <a:spLocks noGrp="1"/>
          </p:cNvSpPr>
          <p:nvPr>
            <p:ph type="body" sz="quarter" idx="15" hasCustomPrompt="1"/>
          </p:nvPr>
        </p:nvSpPr>
        <p:spPr>
          <a:xfrm>
            <a:off x="5165787" y="3695310"/>
            <a:ext cx="1872000" cy="556184"/>
          </a:xfrm>
        </p:spPr>
        <p:txBody>
          <a:bodyPr anchor="t"/>
          <a:lstStyle>
            <a:lvl1pPr marL="0" indent="0" algn="ctr">
              <a:lnSpc>
                <a:spcPct val="110000"/>
              </a:lnSpc>
              <a:spcBef>
                <a:spcPts val="0"/>
              </a:spcBef>
              <a:buNone/>
              <a:defRPr>
                <a:latin typeface="Playfair Display" pitchFamily="2" charset="0"/>
              </a:defRPr>
            </a:lvl1pPr>
          </a:lstStyle>
          <a:p>
            <a:pPr lvl="0"/>
            <a:r>
              <a:rPr lang="en-US" dirty="0"/>
              <a:t>Add name and title</a:t>
            </a:r>
            <a:endParaRPr lang="en-GB" dirty="0"/>
          </a:p>
        </p:txBody>
      </p:sp>
      <p:sp>
        <p:nvSpPr>
          <p:cNvPr id="62" name="Text Placeholder 59">
            <a:extLst>
              <a:ext uri="{FF2B5EF4-FFF2-40B4-BE49-F238E27FC236}">
                <a16:creationId xmlns:a16="http://schemas.microsoft.com/office/drawing/2014/main" id="{7A05B3F3-D87E-BF6C-90DB-EA0EECD59B69}"/>
              </a:ext>
            </a:extLst>
          </p:cNvPr>
          <p:cNvSpPr>
            <a:spLocks noGrp="1"/>
          </p:cNvSpPr>
          <p:nvPr>
            <p:ph type="body" sz="quarter" idx="16" hasCustomPrompt="1"/>
          </p:nvPr>
        </p:nvSpPr>
        <p:spPr>
          <a:xfrm>
            <a:off x="7767585" y="3695310"/>
            <a:ext cx="1872000" cy="556184"/>
          </a:xfrm>
        </p:spPr>
        <p:txBody>
          <a:bodyPr anchor="t"/>
          <a:lstStyle>
            <a:lvl1pPr marL="0" indent="0" algn="ctr">
              <a:lnSpc>
                <a:spcPct val="110000"/>
              </a:lnSpc>
              <a:spcBef>
                <a:spcPts val="0"/>
              </a:spcBef>
              <a:buNone/>
              <a:defRPr>
                <a:latin typeface="Playfair Display" pitchFamily="2" charset="0"/>
              </a:defRPr>
            </a:lvl1pPr>
          </a:lstStyle>
          <a:p>
            <a:pPr lvl="0"/>
            <a:r>
              <a:rPr lang="en-US" dirty="0"/>
              <a:t>Add name and title</a:t>
            </a:r>
            <a:endParaRPr lang="en-GB" dirty="0"/>
          </a:p>
        </p:txBody>
      </p:sp>
      <p:sp>
        <p:nvSpPr>
          <p:cNvPr id="3" name="Footer Placeholder 2">
            <a:extLst>
              <a:ext uri="{FF2B5EF4-FFF2-40B4-BE49-F238E27FC236}">
                <a16:creationId xmlns:a16="http://schemas.microsoft.com/office/drawing/2014/main" id="{3069C9DD-B5FE-8B93-B195-DFFF30F28153}"/>
              </a:ext>
            </a:extLst>
          </p:cNvPr>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2238146020"/>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D345DB6-E06D-4509-8A86-3468330F1BC2}"/>
              </a:ext>
            </a:extLst>
          </p:cNvPr>
          <p:cNvSpPr>
            <a:spLocks noGrp="1"/>
          </p:cNvSpPr>
          <p:nvPr>
            <p:ph type="title"/>
          </p:nvPr>
        </p:nvSpPr>
        <p:spPr/>
        <p:txBody>
          <a:bodyPr/>
          <a:lstStyle/>
          <a:p>
            <a:r>
              <a:rPr lang="en-US"/>
              <a:t>Click to edit Master title style</a:t>
            </a:r>
            <a:endParaRPr lang="en-US" dirty="0"/>
          </a:p>
        </p:txBody>
      </p:sp>
      <p:sp>
        <p:nvSpPr>
          <p:cNvPr id="5" name="Date Placeholder 19">
            <a:extLst>
              <a:ext uri="{FF2B5EF4-FFF2-40B4-BE49-F238E27FC236}">
                <a16:creationId xmlns:a16="http://schemas.microsoft.com/office/drawing/2014/main" id="{E4B5733A-0DF8-7B8C-CF82-AAD80625E7D5}"/>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8" name="Slide Number Placeholder 20">
            <a:extLst>
              <a:ext uri="{FF2B5EF4-FFF2-40B4-BE49-F238E27FC236}">
                <a16:creationId xmlns:a16="http://schemas.microsoft.com/office/drawing/2014/main" id="{09A31ADA-EFE3-987A-11D9-506A1B1A7DDD}"/>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2" name="Footer Placeholder 1">
            <a:extLst>
              <a:ext uri="{FF2B5EF4-FFF2-40B4-BE49-F238E27FC236}">
                <a16:creationId xmlns:a16="http://schemas.microsoft.com/office/drawing/2014/main" id="{BC041804-1653-8163-7E88-EEE03A51D1B2}"/>
              </a:ext>
            </a:extLst>
          </p:cNvPr>
          <p:cNvSpPr>
            <a:spLocks noGrp="1"/>
          </p:cNvSpPr>
          <p:nvPr>
            <p:ph type="ftr" sz="quarter" idx="10"/>
          </p:nvPr>
        </p:nvSpPr>
        <p:spPr/>
        <p:txBody>
          <a:bodyPr/>
          <a:lstStyle/>
          <a:p>
            <a:endParaRPr lang="en-GB"/>
          </a:p>
        </p:txBody>
      </p:sp>
    </p:spTree>
    <p:extLst>
      <p:ext uri="{BB962C8B-B14F-4D97-AF65-F5344CB8AC3E}">
        <p14:creationId xmlns:p14="http://schemas.microsoft.com/office/powerpoint/2010/main" val="78387134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9">
            <a:extLst>
              <a:ext uri="{FF2B5EF4-FFF2-40B4-BE49-F238E27FC236}">
                <a16:creationId xmlns:a16="http://schemas.microsoft.com/office/drawing/2014/main" id="{A0D4EF44-0B7D-3E04-E27E-C41F1937F10C}"/>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3" name="Slide Number Placeholder 20">
            <a:extLst>
              <a:ext uri="{FF2B5EF4-FFF2-40B4-BE49-F238E27FC236}">
                <a16:creationId xmlns:a16="http://schemas.microsoft.com/office/drawing/2014/main" id="{29BA442E-CDB3-CE6F-4F91-3748EB556A3A}"/>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F92A28A7-08FF-8573-FDC7-38EA22E464E9}"/>
              </a:ext>
            </a:extLst>
          </p:cNvPr>
          <p:cNvSpPr>
            <a:spLocks noGrp="1"/>
          </p:cNvSpPr>
          <p:nvPr>
            <p:ph type="ftr" sz="quarter" idx="10"/>
          </p:nvPr>
        </p:nvSpPr>
        <p:spPr/>
        <p:txBody>
          <a:bodyPr/>
          <a:lstStyle/>
          <a:p>
            <a:endParaRPr lang="en-GB"/>
          </a:p>
        </p:txBody>
      </p:sp>
    </p:spTree>
    <p:extLst>
      <p:ext uri="{BB962C8B-B14F-4D97-AF65-F5344CB8AC3E}">
        <p14:creationId xmlns:p14="http://schemas.microsoft.com/office/powerpoint/2010/main" val="196090684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s with heading and S curv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D345DB6-E06D-4509-8A86-3468330F1BC2}"/>
              </a:ext>
            </a:extLst>
          </p:cNvPr>
          <p:cNvSpPr>
            <a:spLocks noGrp="1"/>
          </p:cNvSpPr>
          <p:nvPr>
            <p:ph type="title"/>
          </p:nvPr>
        </p:nvSpPr>
        <p:spPr/>
        <p:txBody>
          <a:bodyPr/>
          <a:lstStyle/>
          <a:p>
            <a:r>
              <a:rPr lang="en-US"/>
              <a:t>Click to edit Master title style</a:t>
            </a:r>
            <a:endParaRPr lang="en-US" dirty="0"/>
          </a:p>
        </p:txBody>
      </p:sp>
      <p:sp>
        <p:nvSpPr>
          <p:cNvPr id="5" name="Date Placeholder 19">
            <a:extLst>
              <a:ext uri="{FF2B5EF4-FFF2-40B4-BE49-F238E27FC236}">
                <a16:creationId xmlns:a16="http://schemas.microsoft.com/office/drawing/2014/main" id="{E4B5733A-0DF8-7B8C-CF82-AAD80625E7D5}"/>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8" name="Slide Number Placeholder 20">
            <a:extLst>
              <a:ext uri="{FF2B5EF4-FFF2-40B4-BE49-F238E27FC236}">
                <a16:creationId xmlns:a16="http://schemas.microsoft.com/office/drawing/2014/main" id="{09A31ADA-EFE3-987A-11D9-506A1B1A7DDD}"/>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3" name="Rektangel 5">
            <a:extLst>
              <a:ext uri="{FF2B5EF4-FFF2-40B4-BE49-F238E27FC236}">
                <a16:creationId xmlns:a16="http://schemas.microsoft.com/office/drawing/2014/main" id="{F7B4EBE6-EF0C-8DB8-5A76-9218485230B1}"/>
              </a:ext>
            </a:extLst>
          </p:cNvPr>
          <p:cNvSpPr/>
          <p:nvPr userDrawn="1"/>
        </p:nvSpPr>
        <p:spPr>
          <a:xfrm>
            <a:off x="0" y="3322313"/>
            <a:ext cx="12192000" cy="2808595"/>
          </a:xfrm>
          <a:prstGeom prst="rect">
            <a:avLst/>
          </a:prstGeom>
          <a:solidFill>
            <a:srgbClr val="E1E5EA"/>
          </a:solidFill>
          <a:ln w="9525" cap="flat">
            <a:noFill/>
            <a:prstDash val="solid"/>
            <a:miter/>
          </a:ln>
        </p:spPr>
        <p:txBody>
          <a:bodyPr lIns="72000" tIns="72000" rIns="72000" bIns="72000"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30" normalizeH="0" baseline="0" noProof="0" dirty="0">
              <a:ln>
                <a:noFill/>
              </a:ln>
              <a:solidFill>
                <a:prstClr val="white"/>
              </a:solidFill>
              <a:effectLst/>
              <a:uLnTx/>
              <a:uFillTx/>
              <a:latin typeface="Work Sans Light"/>
              <a:ea typeface="+mn-ea"/>
              <a:cs typeface="+mn-cs"/>
            </a:endParaRPr>
          </a:p>
        </p:txBody>
      </p:sp>
      <p:pic>
        <p:nvPicPr>
          <p:cNvPr id="4" name="Bildobjekt 4">
            <a:extLst>
              <a:ext uri="{FF2B5EF4-FFF2-40B4-BE49-F238E27FC236}">
                <a16:creationId xmlns:a16="http://schemas.microsoft.com/office/drawing/2014/main" id="{2FFC2B9A-BF5C-DA8E-D529-F7553C4E346E}"/>
              </a:ext>
            </a:extLst>
          </p:cNvPr>
          <p:cNvPicPr>
            <a:picLocks noChangeAspect="1"/>
          </p:cNvPicPr>
          <p:nvPr userDrawn="1"/>
        </p:nvPicPr>
        <p:blipFill>
          <a:blip r:embed="rId2"/>
          <a:srcRect l="511" r="850"/>
          <a:stretch/>
        </p:blipFill>
        <p:spPr>
          <a:xfrm flipH="1">
            <a:off x="0" y="1803284"/>
            <a:ext cx="12192000" cy="3966882"/>
          </a:xfrm>
          <a:prstGeom prst="rect">
            <a:avLst/>
          </a:prstGeom>
        </p:spPr>
      </p:pic>
      <p:sp>
        <p:nvSpPr>
          <p:cNvPr id="9" name="Text Placeholder 8">
            <a:extLst>
              <a:ext uri="{FF2B5EF4-FFF2-40B4-BE49-F238E27FC236}">
                <a16:creationId xmlns:a16="http://schemas.microsoft.com/office/drawing/2014/main" id="{387FECD9-24CF-147A-57ED-3D6220CBA9D9}"/>
              </a:ext>
            </a:extLst>
          </p:cNvPr>
          <p:cNvSpPr>
            <a:spLocks noGrp="1"/>
          </p:cNvSpPr>
          <p:nvPr>
            <p:ph type="body" sz="quarter" idx="10" hasCustomPrompt="1"/>
          </p:nvPr>
        </p:nvSpPr>
        <p:spPr>
          <a:xfrm>
            <a:off x="792161" y="3206542"/>
            <a:ext cx="5040000" cy="600075"/>
          </a:xfrm>
        </p:spPr>
        <p:txBody>
          <a:bodyPr anchor="ctr"/>
          <a:lstStyle>
            <a:lvl1pPr marL="0" indent="0">
              <a:buNone/>
              <a:defRPr>
                <a:latin typeface="Playfair Display Black" pitchFamily="2" charset="0"/>
              </a:defRPr>
            </a:lvl1pPr>
          </a:lstStyle>
          <a:p>
            <a:pPr lvl="0"/>
            <a:r>
              <a:rPr lang="en-US" dirty="0"/>
              <a:t>Add heading</a:t>
            </a:r>
            <a:endParaRPr lang="en-GB" dirty="0"/>
          </a:p>
        </p:txBody>
      </p:sp>
      <p:sp>
        <p:nvSpPr>
          <p:cNvPr id="10" name="Text Placeholder 8">
            <a:extLst>
              <a:ext uri="{FF2B5EF4-FFF2-40B4-BE49-F238E27FC236}">
                <a16:creationId xmlns:a16="http://schemas.microsoft.com/office/drawing/2014/main" id="{4048C28F-26EB-0662-94F1-447E099B1258}"/>
              </a:ext>
            </a:extLst>
          </p:cNvPr>
          <p:cNvSpPr>
            <a:spLocks noGrp="1"/>
          </p:cNvSpPr>
          <p:nvPr>
            <p:ph type="body" sz="quarter" idx="11" hasCustomPrompt="1"/>
          </p:nvPr>
        </p:nvSpPr>
        <p:spPr>
          <a:xfrm>
            <a:off x="6359841" y="3206542"/>
            <a:ext cx="5040000" cy="600075"/>
          </a:xfrm>
        </p:spPr>
        <p:txBody>
          <a:bodyPr anchor="ctr"/>
          <a:lstStyle>
            <a:lvl1pPr marL="0" indent="0">
              <a:buNone/>
              <a:defRPr>
                <a:latin typeface="Playfair Display Black" pitchFamily="2" charset="0"/>
              </a:defRPr>
            </a:lvl1pPr>
          </a:lstStyle>
          <a:p>
            <a:pPr lvl="0"/>
            <a:r>
              <a:rPr lang="en-US" dirty="0"/>
              <a:t>Add heading</a:t>
            </a:r>
            <a:endParaRPr lang="en-GB" dirty="0"/>
          </a:p>
        </p:txBody>
      </p:sp>
      <p:sp>
        <p:nvSpPr>
          <p:cNvPr id="12" name="Content Placeholder 11">
            <a:extLst>
              <a:ext uri="{FF2B5EF4-FFF2-40B4-BE49-F238E27FC236}">
                <a16:creationId xmlns:a16="http://schemas.microsoft.com/office/drawing/2014/main" id="{2D55815D-ED3A-33C1-FFA3-DBCE7D401DA6}"/>
              </a:ext>
            </a:extLst>
          </p:cNvPr>
          <p:cNvSpPr>
            <a:spLocks noGrp="1"/>
          </p:cNvSpPr>
          <p:nvPr>
            <p:ph sz="quarter" idx="12" hasCustomPrompt="1"/>
          </p:nvPr>
        </p:nvSpPr>
        <p:spPr>
          <a:xfrm>
            <a:off x="792163" y="3921125"/>
            <a:ext cx="5040312" cy="1964812"/>
          </a:xfrm>
        </p:spPr>
        <p:txBody>
          <a:bodyPr/>
          <a:lstStyle>
            <a:lvl1pPr>
              <a:defRPr/>
            </a:lvl1pPr>
          </a:lstStyle>
          <a:p>
            <a:pPr lvl="0"/>
            <a:r>
              <a:rPr lang="en-US" dirty="0"/>
              <a:t>Click to add text</a:t>
            </a:r>
            <a:endParaRPr lang="en-GB" dirty="0"/>
          </a:p>
        </p:txBody>
      </p:sp>
      <p:sp>
        <p:nvSpPr>
          <p:cNvPr id="13" name="Content Placeholder 11">
            <a:extLst>
              <a:ext uri="{FF2B5EF4-FFF2-40B4-BE49-F238E27FC236}">
                <a16:creationId xmlns:a16="http://schemas.microsoft.com/office/drawing/2014/main" id="{5BE536DF-6E9F-3A4D-27AA-B6506032672B}"/>
              </a:ext>
            </a:extLst>
          </p:cNvPr>
          <p:cNvSpPr>
            <a:spLocks noGrp="1"/>
          </p:cNvSpPr>
          <p:nvPr>
            <p:ph sz="quarter" idx="13" hasCustomPrompt="1"/>
          </p:nvPr>
        </p:nvSpPr>
        <p:spPr>
          <a:xfrm>
            <a:off x="6359685" y="3918075"/>
            <a:ext cx="5040312" cy="1964812"/>
          </a:xfrm>
        </p:spPr>
        <p:txBody>
          <a:bodyPr/>
          <a:lstStyle>
            <a:lvl1pPr>
              <a:defRPr/>
            </a:lvl1pPr>
          </a:lstStyle>
          <a:p>
            <a:pPr lvl="0"/>
            <a:r>
              <a:rPr lang="en-US" dirty="0"/>
              <a:t>Click to add text</a:t>
            </a:r>
            <a:endParaRPr lang="en-GB" dirty="0"/>
          </a:p>
        </p:txBody>
      </p:sp>
      <p:sp>
        <p:nvSpPr>
          <p:cNvPr id="2" name="Footer Placeholder 1">
            <a:extLst>
              <a:ext uri="{FF2B5EF4-FFF2-40B4-BE49-F238E27FC236}">
                <a16:creationId xmlns:a16="http://schemas.microsoft.com/office/drawing/2014/main" id="{28457E87-BE02-953A-00A4-E06FAC575B5C}"/>
              </a:ext>
            </a:extLst>
          </p:cNvPr>
          <p:cNvSpPr>
            <a:spLocks noGrp="1"/>
          </p:cNvSpPr>
          <p:nvPr>
            <p:ph type="ftr" sz="quarter" idx="14"/>
          </p:nvPr>
        </p:nvSpPr>
        <p:spPr/>
        <p:txBody>
          <a:bodyPr/>
          <a:lstStyle/>
          <a:p>
            <a:endParaRPr lang="en-GB"/>
          </a:p>
        </p:txBody>
      </p:sp>
    </p:spTree>
    <p:extLst>
      <p:ext uri="{BB962C8B-B14F-4D97-AF65-F5344CB8AC3E}">
        <p14:creationId xmlns:p14="http://schemas.microsoft.com/office/powerpoint/2010/main" val="8777386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29C2670-3B5D-6C3E-7D6E-CAB7593F83B5}"/>
              </a:ext>
            </a:extLst>
          </p:cNvPr>
          <p:cNvSpPr>
            <a:spLocks/>
          </p:cNvSpPr>
          <p:nvPr userDrawn="1"/>
        </p:nvSpPr>
        <p:spPr>
          <a:xfrm>
            <a:off x="0" y="0"/>
            <a:ext cx="12192000" cy="6858000"/>
          </a:xfrm>
          <a:prstGeom prst="rect">
            <a:avLst/>
          </a:prstGeom>
          <a:solidFill>
            <a:schemeClr val="bg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10" name="Rectangle 9">
            <a:extLst>
              <a:ext uri="{FF2B5EF4-FFF2-40B4-BE49-F238E27FC236}">
                <a16:creationId xmlns:a16="http://schemas.microsoft.com/office/drawing/2014/main" id="{E3F68B21-6370-175C-760C-D8CD76B133A9}"/>
              </a:ext>
            </a:extLst>
          </p:cNvPr>
          <p:cNvSpPr>
            <a:spLocks/>
          </p:cNvSpPr>
          <p:nvPr userDrawn="1"/>
        </p:nvSpPr>
        <p:spPr>
          <a:xfrm>
            <a:off x="442911" y="3202702"/>
            <a:ext cx="11306178" cy="1074140"/>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The following layouts are for picture slides.</a:t>
            </a: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Do not use this slide)</a:t>
            </a:r>
            <a:endParaRPr kumimoji="0" lang="en-US" sz="11500" b="0" i="0" u="none" strike="noStrike" kern="1200" cap="none" spc="-30" normalizeH="0" baseline="0" noProof="0" dirty="0">
              <a:ln>
                <a:noFill/>
              </a:ln>
              <a:solidFill>
                <a:srgbClr val="00264E"/>
              </a:solidFill>
              <a:effectLst/>
              <a:uLnTx/>
              <a:uFillTx/>
              <a:latin typeface="Work Sans Medium" pitchFamily="2" charset="0"/>
              <a:ea typeface="+mn-ea"/>
              <a:cs typeface="+mn-cs"/>
            </a:endParaRPr>
          </a:p>
        </p:txBody>
      </p:sp>
      <p:sp>
        <p:nvSpPr>
          <p:cNvPr id="11" name="Rectangle 10">
            <a:extLst>
              <a:ext uri="{FF2B5EF4-FFF2-40B4-BE49-F238E27FC236}">
                <a16:creationId xmlns:a16="http://schemas.microsoft.com/office/drawing/2014/main" id="{F19416E5-F63F-92E0-6E9E-0AD1F7892BD6}"/>
              </a:ext>
            </a:extLst>
          </p:cNvPr>
          <p:cNvSpPr>
            <a:spLocks/>
          </p:cNvSpPr>
          <p:nvPr userDrawn="1"/>
        </p:nvSpPr>
        <p:spPr>
          <a:xfrm>
            <a:off x="2990187" y="2202881"/>
            <a:ext cx="6211636" cy="914096"/>
          </a:xfrm>
          <a:prstGeom prst="rect">
            <a:avLst/>
          </a:prstGeom>
          <a:noFill/>
          <a:ln w="9525" cap="flat">
            <a:noFill/>
            <a:prstDash val="solid"/>
            <a:miter/>
          </a:ln>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6600" b="0" i="0" u="none" strike="noStrike" kern="1200" cap="none" spc="-30" normalizeH="0" baseline="0" noProof="0" dirty="0">
                <a:ln>
                  <a:noFill/>
                </a:ln>
                <a:solidFill>
                  <a:srgbClr val="00264E"/>
                </a:solidFill>
                <a:effectLst/>
                <a:uLnTx/>
                <a:uFillTx/>
                <a:latin typeface="Work Sans Medium" pitchFamily="2" charset="0"/>
                <a:ea typeface="+mn-ea"/>
                <a:cs typeface="+mn-cs"/>
              </a:rPr>
              <a:t>Picture layouts</a:t>
            </a:r>
          </a:p>
        </p:txBody>
      </p:sp>
    </p:spTree>
    <p:extLst>
      <p:ext uri="{BB962C8B-B14F-4D97-AF65-F5344CB8AC3E}">
        <p14:creationId xmlns:p14="http://schemas.microsoft.com/office/powerpoint/2010/main" val="383521687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Picture left_White logo">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B839AFF-8A75-4922-9401-D948529140CE}"/>
              </a:ext>
            </a:extLst>
          </p:cNvPr>
          <p:cNvSpPr/>
          <p:nvPr userDrawn="1"/>
        </p:nvSpPr>
        <p:spPr>
          <a:xfrm>
            <a:off x="0" y="6308725"/>
            <a:ext cx="1279525" cy="549275"/>
          </a:xfrm>
          <a:prstGeom prst="rect">
            <a:avLst/>
          </a:pr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15" name="Picture Placeholder 14">
            <a:extLst>
              <a:ext uri="{FF2B5EF4-FFF2-40B4-BE49-F238E27FC236}">
                <a16:creationId xmlns:a16="http://schemas.microsoft.com/office/drawing/2014/main" id="{70A06357-C425-41D5-9918-A8A4792A8272}"/>
              </a:ext>
            </a:extLst>
          </p:cNvPr>
          <p:cNvSpPr>
            <a:spLocks noGrp="1"/>
          </p:cNvSpPr>
          <p:nvPr>
            <p:ph type="pic" sz="quarter" idx="15"/>
          </p:nvPr>
        </p:nvSpPr>
        <p:spPr>
          <a:xfrm>
            <a:off x="-1588" y="0"/>
            <a:ext cx="4065588" cy="6858000"/>
          </a:xfrm>
          <a:custGeom>
            <a:avLst/>
            <a:gdLst>
              <a:gd name="connsiteX0" fmla="*/ 813178 w 4065588"/>
              <a:gd name="connsiteY0" fmla="*/ 6423839 h 6858000"/>
              <a:gd name="connsiteX1" fmla="*/ 814139 w 4065588"/>
              <a:gd name="connsiteY1" fmla="*/ 6425983 h 6858000"/>
              <a:gd name="connsiteX2" fmla="*/ 844574 w 4065588"/>
              <a:gd name="connsiteY2" fmla="*/ 6528784 h 6858000"/>
              <a:gd name="connsiteX3" fmla="*/ 843672 w 4065588"/>
              <a:gd name="connsiteY3" fmla="*/ 6530809 h 6858000"/>
              <a:gd name="connsiteX4" fmla="*/ 842969 w 4065588"/>
              <a:gd name="connsiteY4" fmla="*/ 6530906 h 6858000"/>
              <a:gd name="connsiteX5" fmla="*/ 783397 w 4065588"/>
              <a:gd name="connsiteY5" fmla="*/ 6530906 h 6858000"/>
              <a:gd name="connsiteX6" fmla="*/ 781698 w 4065588"/>
              <a:gd name="connsiteY6" fmla="*/ 6529469 h 6858000"/>
              <a:gd name="connsiteX7" fmla="*/ 781792 w 4065588"/>
              <a:gd name="connsiteY7" fmla="*/ 6528784 h 6858000"/>
              <a:gd name="connsiteX8" fmla="*/ 812228 w 4065588"/>
              <a:gd name="connsiteY8" fmla="*/ 6425983 h 6858000"/>
              <a:gd name="connsiteX9" fmla="*/ 813178 w 4065588"/>
              <a:gd name="connsiteY9" fmla="*/ 6423839 h 6858000"/>
              <a:gd name="connsiteX10" fmla="*/ 589279 w 4065588"/>
              <a:gd name="connsiteY10" fmla="*/ 6423839 h 6858000"/>
              <a:gd name="connsiteX11" fmla="*/ 590229 w 4065588"/>
              <a:gd name="connsiteY11" fmla="*/ 6425983 h 6858000"/>
              <a:gd name="connsiteX12" fmla="*/ 620665 w 4065588"/>
              <a:gd name="connsiteY12" fmla="*/ 6528784 h 6858000"/>
              <a:gd name="connsiteX13" fmla="*/ 619786 w 4065588"/>
              <a:gd name="connsiteY13" fmla="*/ 6530804 h 6858000"/>
              <a:gd name="connsiteX14" fmla="*/ 619071 w 4065588"/>
              <a:gd name="connsiteY14" fmla="*/ 6530906 h 6858000"/>
              <a:gd name="connsiteX15" fmla="*/ 559499 w 4065588"/>
              <a:gd name="connsiteY15" fmla="*/ 6530906 h 6858000"/>
              <a:gd name="connsiteX16" fmla="*/ 557798 w 4065588"/>
              <a:gd name="connsiteY16" fmla="*/ 6529478 h 6858000"/>
              <a:gd name="connsiteX17" fmla="*/ 557894 w 4065588"/>
              <a:gd name="connsiteY17" fmla="*/ 6528784 h 6858000"/>
              <a:gd name="connsiteX18" fmla="*/ 588340 w 4065588"/>
              <a:gd name="connsiteY18" fmla="*/ 6425983 h 6858000"/>
              <a:gd name="connsiteX19" fmla="*/ 589279 w 4065588"/>
              <a:gd name="connsiteY19" fmla="*/ 6423839 h 6858000"/>
              <a:gd name="connsiteX20" fmla="*/ 545405 w 4065588"/>
              <a:gd name="connsiteY20" fmla="*/ 6352465 h 6858000"/>
              <a:gd name="connsiteX21" fmla="*/ 542449 w 4065588"/>
              <a:gd name="connsiteY21" fmla="*/ 6354577 h 6858000"/>
              <a:gd name="connsiteX22" fmla="*/ 444641 w 4065588"/>
              <a:gd name="connsiteY22" fmla="*/ 6633486 h 6858000"/>
              <a:gd name="connsiteX23" fmla="*/ 445355 w 4065588"/>
              <a:gd name="connsiteY23" fmla="*/ 6635455 h 6858000"/>
              <a:gd name="connsiteX24" fmla="*/ 446130 w 4065588"/>
              <a:gd name="connsiteY24" fmla="*/ 6635587 h 6858000"/>
              <a:gd name="connsiteX25" fmla="*/ 523331 w 4065588"/>
              <a:gd name="connsiteY25" fmla="*/ 6635587 h 6858000"/>
              <a:gd name="connsiteX26" fmla="*/ 526192 w 4065588"/>
              <a:gd name="connsiteY26" fmla="*/ 6633454 h 6858000"/>
              <a:gd name="connsiteX27" fmla="*/ 538691 w 4065588"/>
              <a:gd name="connsiteY27" fmla="*/ 6591713 h 6858000"/>
              <a:gd name="connsiteX28" fmla="*/ 541563 w 4065588"/>
              <a:gd name="connsiteY28" fmla="*/ 6589581 h 6858000"/>
              <a:gd name="connsiteX29" fmla="*/ 637006 w 4065588"/>
              <a:gd name="connsiteY29" fmla="*/ 6589581 h 6858000"/>
              <a:gd name="connsiteX30" fmla="*/ 639867 w 4065588"/>
              <a:gd name="connsiteY30" fmla="*/ 6591713 h 6858000"/>
              <a:gd name="connsiteX31" fmla="*/ 652377 w 4065588"/>
              <a:gd name="connsiteY31" fmla="*/ 6633454 h 6858000"/>
              <a:gd name="connsiteX32" fmla="*/ 655238 w 4065588"/>
              <a:gd name="connsiteY32" fmla="*/ 6635587 h 6858000"/>
              <a:gd name="connsiteX33" fmla="*/ 747230 w 4065588"/>
              <a:gd name="connsiteY33" fmla="*/ 6635587 h 6858000"/>
              <a:gd name="connsiteX34" fmla="*/ 750090 w 4065588"/>
              <a:gd name="connsiteY34" fmla="*/ 6633454 h 6858000"/>
              <a:gd name="connsiteX35" fmla="*/ 762600 w 4065588"/>
              <a:gd name="connsiteY35" fmla="*/ 6591713 h 6858000"/>
              <a:gd name="connsiteX36" fmla="*/ 765461 w 4065588"/>
              <a:gd name="connsiteY36" fmla="*/ 6589581 h 6858000"/>
              <a:gd name="connsiteX37" fmla="*/ 860915 w 4065588"/>
              <a:gd name="connsiteY37" fmla="*/ 6589581 h 6858000"/>
              <a:gd name="connsiteX38" fmla="*/ 863776 w 4065588"/>
              <a:gd name="connsiteY38" fmla="*/ 6591713 h 6858000"/>
              <a:gd name="connsiteX39" fmla="*/ 876265 w 4065588"/>
              <a:gd name="connsiteY39" fmla="*/ 6633454 h 6858000"/>
              <a:gd name="connsiteX40" fmla="*/ 879126 w 4065588"/>
              <a:gd name="connsiteY40" fmla="*/ 6635587 h 6858000"/>
              <a:gd name="connsiteX41" fmla="*/ 1011476 w 4065588"/>
              <a:gd name="connsiteY41" fmla="*/ 6635587 h 6858000"/>
              <a:gd name="connsiteX42" fmla="*/ 1013714 w 4065588"/>
              <a:gd name="connsiteY42" fmla="*/ 6633359 h 6858000"/>
              <a:gd name="connsiteX43" fmla="*/ 1013714 w 4065588"/>
              <a:gd name="connsiteY43" fmla="*/ 6558121 h 6858000"/>
              <a:gd name="connsiteX44" fmla="*/ 1015266 w 4065588"/>
              <a:gd name="connsiteY44" fmla="*/ 6554289 h 6858000"/>
              <a:gd name="connsiteX45" fmla="*/ 1044498 w 4065588"/>
              <a:gd name="connsiteY45" fmla="*/ 6524182 h 6858000"/>
              <a:gd name="connsiteX46" fmla="*/ 1046852 w 4065588"/>
              <a:gd name="connsiteY46" fmla="*/ 6523986 h 6858000"/>
              <a:gd name="connsiteX47" fmla="*/ 1047242 w 4065588"/>
              <a:gd name="connsiteY47" fmla="*/ 6524467 h 6858000"/>
              <a:gd name="connsiteX48" fmla="*/ 1115629 w 4065588"/>
              <a:gd name="connsiteY48" fmla="*/ 6633698 h 6858000"/>
              <a:gd name="connsiteX49" fmla="*/ 1119130 w 4065588"/>
              <a:gd name="connsiteY49" fmla="*/ 6635587 h 6858000"/>
              <a:gd name="connsiteX50" fmla="*/ 1216415 w 4065588"/>
              <a:gd name="connsiteY50" fmla="*/ 6635587 h 6858000"/>
              <a:gd name="connsiteX51" fmla="*/ 1217428 w 4065588"/>
              <a:gd name="connsiteY51" fmla="*/ 6633718 h 6858000"/>
              <a:gd name="connsiteX52" fmla="*/ 1108430 w 4065588"/>
              <a:gd name="connsiteY52" fmla="*/ 6465760 h 6858000"/>
              <a:gd name="connsiteX53" fmla="*/ 1108736 w 4065588"/>
              <a:gd name="connsiteY53" fmla="*/ 6462277 h 6858000"/>
              <a:gd name="connsiteX54" fmla="*/ 1209120 w 4065588"/>
              <a:gd name="connsiteY54" fmla="*/ 6354102 h 6858000"/>
              <a:gd name="connsiteX55" fmla="*/ 1208413 w 4065588"/>
              <a:gd name="connsiteY55" fmla="*/ 6352465 h 6858000"/>
              <a:gd name="connsiteX56" fmla="*/ 1111354 w 4065588"/>
              <a:gd name="connsiteY56" fmla="*/ 6352465 h 6858000"/>
              <a:gd name="connsiteX57" fmla="*/ 1107680 w 4065588"/>
              <a:gd name="connsiteY57" fmla="*/ 6354165 h 6858000"/>
              <a:gd name="connsiteX58" fmla="*/ 1015161 w 4065588"/>
              <a:gd name="connsiteY58" fmla="*/ 6461812 h 6858000"/>
              <a:gd name="connsiteX59" fmla="*/ 1013714 w 4065588"/>
              <a:gd name="connsiteY59" fmla="*/ 6461263 h 6858000"/>
              <a:gd name="connsiteX60" fmla="*/ 1013714 w 4065588"/>
              <a:gd name="connsiteY60" fmla="*/ 6354693 h 6858000"/>
              <a:gd name="connsiteX61" fmla="*/ 1011476 w 4065588"/>
              <a:gd name="connsiteY61" fmla="*/ 6352465 h 6858000"/>
              <a:gd name="connsiteX62" fmla="*/ 939722 w 4065588"/>
              <a:gd name="connsiteY62" fmla="*/ 6352465 h 6858000"/>
              <a:gd name="connsiteX63" fmla="*/ 937505 w 4065588"/>
              <a:gd name="connsiteY63" fmla="*/ 6354693 h 6858000"/>
              <a:gd name="connsiteX64" fmla="*/ 937505 w 4065588"/>
              <a:gd name="connsiteY64" fmla="*/ 6531687 h 6858000"/>
              <a:gd name="connsiteX65" fmla="*/ 956169 w 4065588"/>
              <a:gd name="connsiteY65" fmla="*/ 6580597 h 6858000"/>
              <a:gd name="connsiteX66" fmla="*/ 933757 w 4065588"/>
              <a:gd name="connsiteY66" fmla="*/ 6622233 h 6858000"/>
              <a:gd name="connsiteX67" fmla="*/ 911229 w 4065588"/>
              <a:gd name="connsiteY67" fmla="*/ 6578211 h 6858000"/>
              <a:gd name="connsiteX68" fmla="*/ 911229 w 4065588"/>
              <a:gd name="connsiteY68" fmla="*/ 6499616 h 6858000"/>
              <a:gd name="connsiteX69" fmla="*/ 860979 w 4065588"/>
              <a:gd name="connsiteY69" fmla="*/ 6354587 h 6858000"/>
              <a:gd name="connsiteX70" fmla="*/ 858023 w 4065588"/>
              <a:gd name="connsiteY70" fmla="*/ 6352465 h 6858000"/>
              <a:gd name="connsiteX71" fmla="*/ 769304 w 4065588"/>
              <a:gd name="connsiteY71" fmla="*/ 6352465 h 6858000"/>
              <a:gd name="connsiteX72" fmla="*/ 766348 w 4065588"/>
              <a:gd name="connsiteY72" fmla="*/ 6354577 h 6858000"/>
              <a:gd name="connsiteX73" fmla="*/ 702131 w 4065588"/>
              <a:gd name="connsiteY73" fmla="*/ 6537684 h 6858000"/>
              <a:gd name="connsiteX74" fmla="*/ 700674 w 4065588"/>
              <a:gd name="connsiteY74" fmla="*/ 6537684 h 6858000"/>
              <a:gd name="connsiteX75" fmla="*/ 637070 w 4065588"/>
              <a:gd name="connsiteY75" fmla="*/ 6354587 h 6858000"/>
              <a:gd name="connsiteX76" fmla="*/ 634114 w 4065588"/>
              <a:gd name="connsiteY76" fmla="*/ 6352465 h 6858000"/>
              <a:gd name="connsiteX77" fmla="*/ 0 w 4065588"/>
              <a:gd name="connsiteY77" fmla="*/ 0 h 6858000"/>
              <a:gd name="connsiteX78" fmla="*/ 3674155 w 4065588"/>
              <a:gd name="connsiteY78" fmla="*/ 0 h 6858000"/>
              <a:gd name="connsiteX79" fmla="*/ 3712291 w 4065588"/>
              <a:gd name="connsiteY79" fmla="*/ 3409950 h 6858000"/>
              <a:gd name="connsiteX80" fmla="*/ 3145020 w 4065588"/>
              <a:gd name="connsiteY80" fmla="*/ 6858000 h 6858000"/>
              <a:gd name="connsiteX81" fmla="*/ 21930 w 4065588"/>
              <a:gd name="connsiteY81" fmla="*/ 6858000 h 6858000"/>
              <a:gd name="connsiteX82" fmla="*/ 0 w 4065588"/>
              <a:gd name="connsiteY8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065588" h="6858000">
                <a:moveTo>
                  <a:pt x="813178" y="6423839"/>
                </a:moveTo>
                <a:cubicBezTo>
                  <a:pt x="813368" y="6423840"/>
                  <a:pt x="813800" y="6424811"/>
                  <a:pt x="814139" y="6425983"/>
                </a:cubicBezTo>
                <a:lnTo>
                  <a:pt x="844574" y="6528784"/>
                </a:lnTo>
                <a:cubicBezTo>
                  <a:pt x="844884" y="6529592"/>
                  <a:pt x="844480" y="6530499"/>
                  <a:pt x="843672" y="6530809"/>
                </a:cubicBezTo>
                <a:cubicBezTo>
                  <a:pt x="843448" y="6530894"/>
                  <a:pt x="843208" y="6530928"/>
                  <a:pt x="842969" y="6530906"/>
                </a:cubicBezTo>
                <a:lnTo>
                  <a:pt x="783397" y="6530906"/>
                </a:lnTo>
                <a:cubicBezTo>
                  <a:pt x="782531" y="6530979"/>
                  <a:pt x="781770" y="6530335"/>
                  <a:pt x="781698" y="6529469"/>
                </a:cubicBezTo>
                <a:cubicBezTo>
                  <a:pt x="781678" y="6529236"/>
                  <a:pt x="781711" y="6529003"/>
                  <a:pt x="781792" y="6528784"/>
                </a:cubicBezTo>
                <a:lnTo>
                  <a:pt x="812228" y="6425983"/>
                </a:lnTo>
                <a:cubicBezTo>
                  <a:pt x="812371" y="6425203"/>
                  <a:pt x="812697" y="6424469"/>
                  <a:pt x="813178" y="6423839"/>
                </a:cubicBezTo>
                <a:close/>
                <a:moveTo>
                  <a:pt x="589279" y="6423839"/>
                </a:moveTo>
                <a:cubicBezTo>
                  <a:pt x="589760" y="6424469"/>
                  <a:pt x="590086" y="6425203"/>
                  <a:pt x="590229" y="6425983"/>
                </a:cubicBezTo>
                <a:lnTo>
                  <a:pt x="620665" y="6528784"/>
                </a:lnTo>
                <a:cubicBezTo>
                  <a:pt x="620980" y="6529585"/>
                  <a:pt x="620587" y="6530489"/>
                  <a:pt x="619786" y="6530804"/>
                </a:cubicBezTo>
                <a:cubicBezTo>
                  <a:pt x="619559" y="6530894"/>
                  <a:pt x="619314" y="6530929"/>
                  <a:pt x="619071" y="6530906"/>
                </a:cubicBezTo>
                <a:lnTo>
                  <a:pt x="559499" y="6530906"/>
                </a:lnTo>
                <a:cubicBezTo>
                  <a:pt x="558635" y="6530981"/>
                  <a:pt x="557873" y="6530342"/>
                  <a:pt x="557798" y="6529478"/>
                </a:cubicBezTo>
                <a:cubicBezTo>
                  <a:pt x="557777" y="6529243"/>
                  <a:pt x="557810" y="6529005"/>
                  <a:pt x="557894" y="6528784"/>
                </a:cubicBezTo>
                <a:lnTo>
                  <a:pt x="588340" y="6425983"/>
                </a:lnTo>
                <a:cubicBezTo>
                  <a:pt x="588487" y="6425207"/>
                  <a:pt x="588808" y="6424474"/>
                  <a:pt x="589279" y="6423839"/>
                </a:cubicBezTo>
                <a:close/>
                <a:moveTo>
                  <a:pt x="545405" y="6352465"/>
                </a:moveTo>
                <a:cubicBezTo>
                  <a:pt x="544090" y="6352525"/>
                  <a:pt x="542932" y="6353352"/>
                  <a:pt x="542449" y="6354577"/>
                </a:cubicBezTo>
                <a:lnTo>
                  <a:pt x="444641" y="6633486"/>
                </a:lnTo>
                <a:cubicBezTo>
                  <a:pt x="444294" y="6634227"/>
                  <a:pt x="444614" y="6635108"/>
                  <a:pt x="445355" y="6635455"/>
                </a:cubicBezTo>
                <a:cubicBezTo>
                  <a:pt x="445596" y="6635568"/>
                  <a:pt x="445864" y="6635614"/>
                  <a:pt x="446130" y="6635587"/>
                </a:cubicBezTo>
                <a:lnTo>
                  <a:pt x="523331" y="6635587"/>
                </a:lnTo>
                <a:cubicBezTo>
                  <a:pt x="524632" y="6635530"/>
                  <a:pt x="525766" y="6634685"/>
                  <a:pt x="526192" y="6633454"/>
                </a:cubicBezTo>
                <a:lnTo>
                  <a:pt x="538691" y="6591713"/>
                </a:lnTo>
                <a:cubicBezTo>
                  <a:pt x="539119" y="6590480"/>
                  <a:pt x="540258" y="6589634"/>
                  <a:pt x="541563" y="6589581"/>
                </a:cubicBezTo>
                <a:lnTo>
                  <a:pt x="637006" y="6589581"/>
                </a:lnTo>
                <a:cubicBezTo>
                  <a:pt x="638306" y="6589641"/>
                  <a:pt x="639438" y="6590485"/>
                  <a:pt x="639867" y="6591713"/>
                </a:cubicBezTo>
                <a:lnTo>
                  <a:pt x="652377" y="6633454"/>
                </a:lnTo>
                <a:cubicBezTo>
                  <a:pt x="652806" y="6634683"/>
                  <a:pt x="653938" y="6635527"/>
                  <a:pt x="655238" y="6635587"/>
                </a:cubicBezTo>
                <a:lnTo>
                  <a:pt x="747230" y="6635587"/>
                </a:lnTo>
                <a:cubicBezTo>
                  <a:pt x="748530" y="6635530"/>
                  <a:pt x="749664" y="6634685"/>
                  <a:pt x="750090" y="6633454"/>
                </a:cubicBezTo>
                <a:lnTo>
                  <a:pt x="762600" y="6591713"/>
                </a:lnTo>
                <a:cubicBezTo>
                  <a:pt x="763021" y="6590479"/>
                  <a:pt x="764158" y="6589631"/>
                  <a:pt x="765461" y="6589581"/>
                </a:cubicBezTo>
                <a:lnTo>
                  <a:pt x="860915" y="6589581"/>
                </a:lnTo>
                <a:cubicBezTo>
                  <a:pt x="862215" y="6589641"/>
                  <a:pt x="863347" y="6590485"/>
                  <a:pt x="863776" y="6591713"/>
                </a:cubicBezTo>
                <a:lnTo>
                  <a:pt x="876265" y="6633454"/>
                </a:lnTo>
                <a:cubicBezTo>
                  <a:pt x="876696" y="6634681"/>
                  <a:pt x="877827" y="6635524"/>
                  <a:pt x="879126" y="6635587"/>
                </a:cubicBezTo>
                <a:lnTo>
                  <a:pt x="1011476" y="6635587"/>
                </a:lnTo>
                <a:cubicBezTo>
                  <a:pt x="1012707" y="6635584"/>
                  <a:pt x="1013705" y="6634590"/>
                  <a:pt x="1013714" y="6633359"/>
                </a:cubicBezTo>
                <a:lnTo>
                  <a:pt x="1013714" y="6558121"/>
                </a:lnTo>
                <a:cubicBezTo>
                  <a:pt x="1013784" y="6556706"/>
                  <a:pt x="1014331" y="6555355"/>
                  <a:pt x="1015266" y="6554289"/>
                </a:cubicBezTo>
                <a:lnTo>
                  <a:pt x="1044498" y="6524182"/>
                </a:lnTo>
                <a:cubicBezTo>
                  <a:pt x="1045094" y="6523478"/>
                  <a:pt x="1046148" y="6523390"/>
                  <a:pt x="1046852" y="6523986"/>
                </a:cubicBezTo>
                <a:cubicBezTo>
                  <a:pt x="1047011" y="6524121"/>
                  <a:pt x="1047143" y="6524284"/>
                  <a:pt x="1047242" y="6524467"/>
                </a:cubicBezTo>
                <a:lnTo>
                  <a:pt x="1115629" y="6633698"/>
                </a:lnTo>
                <a:cubicBezTo>
                  <a:pt x="1116385" y="6634897"/>
                  <a:pt x="1117713" y="6635613"/>
                  <a:pt x="1119130" y="6635587"/>
                </a:cubicBezTo>
                <a:lnTo>
                  <a:pt x="1216415" y="6635587"/>
                </a:lnTo>
                <a:cubicBezTo>
                  <a:pt x="1217650" y="6635587"/>
                  <a:pt x="1218104" y="6634743"/>
                  <a:pt x="1217428" y="6633718"/>
                </a:cubicBezTo>
                <a:lnTo>
                  <a:pt x="1108430" y="6465760"/>
                </a:lnTo>
                <a:cubicBezTo>
                  <a:pt x="1107760" y="6464657"/>
                  <a:pt x="1107884" y="6463247"/>
                  <a:pt x="1108736" y="6462277"/>
                </a:cubicBezTo>
                <a:lnTo>
                  <a:pt x="1209120" y="6354102"/>
                </a:lnTo>
                <a:cubicBezTo>
                  <a:pt x="1209954" y="6353204"/>
                  <a:pt x="1209637" y="6352465"/>
                  <a:pt x="1208413" y="6352465"/>
                </a:cubicBezTo>
                <a:lnTo>
                  <a:pt x="1111354" y="6352465"/>
                </a:lnTo>
                <a:cubicBezTo>
                  <a:pt x="1109958" y="6352546"/>
                  <a:pt x="1108645" y="6353153"/>
                  <a:pt x="1107680" y="6354165"/>
                </a:cubicBezTo>
                <a:lnTo>
                  <a:pt x="1015161" y="6461812"/>
                </a:lnTo>
                <a:cubicBezTo>
                  <a:pt x="1014358" y="6462741"/>
                  <a:pt x="1013714" y="6462488"/>
                  <a:pt x="1013714" y="6461263"/>
                </a:cubicBezTo>
                <a:lnTo>
                  <a:pt x="1013714" y="6354693"/>
                </a:lnTo>
                <a:cubicBezTo>
                  <a:pt x="1013705" y="6353462"/>
                  <a:pt x="1012707" y="6352468"/>
                  <a:pt x="1011476" y="6352465"/>
                </a:cubicBezTo>
                <a:lnTo>
                  <a:pt x="939722" y="6352465"/>
                </a:lnTo>
                <a:cubicBezTo>
                  <a:pt x="938499" y="6352478"/>
                  <a:pt x="937511" y="6353469"/>
                  <a:pt x="937505" y="6354693"/>
                </a:cubicBezTo>
                <a:lnTo>
                  <a:pt x="937505" y="6531687"/>
                </a:lnTo>
                <a:cubicBezTo>
                  <a:pt x="937114" y="6564445"/>
                  <a:pt x="944441" y="6560317"/>
                  <a:pt x="956169" y="6580597"/>
                </a:cubicBezTo>
                <a:cubicBezTo>
                  <a:pt x="965786" y="6597192"/>
                  <a:pt x="957584" y="6620596"/>
                  <a:pt x="933757" y="6622233"/>
                </a:cubicBezTo>
                <a:cubicBezTo>
                  <a:pt x="913879" y="6623605"/>
                  <a:pt x="896386" y="6600940"/>
                  <a:pt x="911229" y="6578211"/>
                </a:cubicBezTo>
                <a:cubicBezTo>
                  <a:pt x="926906" y="6554247"/>
                  <a:pt x="933483" y="6565342"/>
                  <a:pt x="911229" y="6499616"/>
                </a:cubicBezTo>
                <a:lnTo>
                  <a:pt x="860979" y="6354587"/>
                </a:lnTo>
                <a:cubicBezTo>
                  <a:pt x="860500" y="6353357"/>
                  <a:pt x="859341" y="6352525"/>
                  <a:pt x="858023" y="6352465"/>
                </a:cubicBezTo>
                <a:lnTo>
                  <a:pt x="769304" y="6352465"/>
                </a:lnTo>
                <a:cubicBezTo>
                  <a:pt x="767988" y="6352525"/>
                  <a:pt x="766831" y="6353352"/>
                  <a:pt x="766348" y="6354577"/>
                </a:cubicBezTo>
                <a:lnTo>
                  <a:pt x="702131" y="6537684"/>
                </a:lnTo>
                <a:cubicBezTo>
                  <a:pt x="701719" y="6538845"/>
                  <a:pt x="701065" y="6538845"/>
                  <a:pt x="700674" y="6537684"/>
                </a:cubicBezTo>
                <a:lnTo>
                  <a:pt x="637070" y="6354587"/>
                </a:lnTo>
                <a:cubicBezTo>
                  <a:pt x="636591" y="6353357"/>
                  <a:pt x="635432" y="6352525"/>
                  <a:pt x="634114" y="6352465"/>
                </a:cubicBezTo>
                <a:close/>
                <a:moveTo>
                  <a:pt x="0" y="0"/>
                </a:moveTo>
                <a:lnTo>
                  <a:pt x="3674155" y="0"/>
                </a:lnTo>
                <a:cubicBezTo>
                  <a:pt x="3883902" y="438150"/>
                  <a:pt x="4417803" y="1833563"/>
                  <a:pt x="3712291" y="3409950"/>
                </a:cubicBezTo>
                <a:cubicBezTo>
                  <a:pt x="2963875" y="5086350"/>
                  <a:pt x="2968642" y="6186488"/>
                  <a:pt x="3145020" y="6858000"/>
                </a:cubicBezTo>
                <a:cubicBezTo>
                  <a:pt x="1482835" y="6858000"/>
                  <a:pt x="547856" y="6858000"/>
                  <a:pt x="21930" y="6858000"/>
                </a:cubicBezTo>
                <a:lnTo>
                  <a:pt x="0" y="6858000"/>
                </a:ln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75162" y="1219200"/>
            <a:ext cx="7273925" cy="4910138"/>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30CB508B-8AC0-4766-B3AB-334A68857A6A}"/>
              </a:ext>
            </a:extLst>
          </p:cNvPr>
          <p:cNvSpPr>
            <a:spLocks noGrp="1"/>
          </p:cNvSpPr>
          <p:nvPr>
            <p:ph type="title"/>
          </p:nvPr>
        </p:nvSpPr>
        <p:spPr>
          <a:xfrm>
            <a:off x="4475163" y="221456"/>
            <a:ext cx="7273925" cy="775597"/>
          </a:xfrm>
        </p:spPr>
        <p:txBody>
          <a:bodyPr/>
          <a:lstStyle/>
          <a:p>
            <a:r>
              <a:rPr lang="en-US"/>
              <a:t>Click to edit Master title style</a:t>
            </a:r>
            <a:endParaRPr lang="en-US" dirty="0"/>
          </a:p>
        </p:txBody>
      </p:sp>
      <p:sp>
        <p:nvSpPr>
          <p:cNvPr id="2" name="Date Placeholder 19">
            <a:extLst>
              <a:ext uri="{FF2B5EF4-FFF2-40B4-BE49-F238E27FC236}">
                <a16:creationId xmlns:a16="http://schemas.microsoft.com/office/drawing/2014/main" id="{DD2197B6-F9EA-A4F4-DF4E-8AC0F9BA8C45}"/>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E30E702F-6D85-FDE7-9EB4-AD1FBFB6A899}"/>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 name="Footer Placeholder 4">
            <a:extLst>
              <a:ext uri="{FF2B5EF4-FFF2-40B4-BE49-F238E27FC236}">
                <a16:creationId xmlns:a16="http://schemas.microsoft.com/office/drawing/2014/main" id="{0BF10239-2E0E-E1F9-891E-0F08C3AA871D}"/>
              </a:ext>
            </a:extLst>
          </p:cNvPr>
          <p:cNvSpPr>
            <a:spLocks noGrp="1"/>
          </p:cNvSpPr>
          <p:nvPr>
            <p:ph type="ftr" sz="quarter" idx="16"/>
          </p:nvPr>
        </p:nvSpPr>
        <p:spPr/>
        <p:txBody>
          <a:bodyPr/>
          <a:lstStyle/>
          <a:p>
            <a:endParaRPr lang="en-GB"/>
          </a:p>
        </p:txBody>
      </p:sp>
    </p:spTree>
    <p:extLst>
      <p:ext uri="{BB962C8B-B14F-4D97-AF65-F5344CB8AC3E}">
        <p14:creationId xmlns:p14="http://schemas.microsoft.com/office/powerpoint/2010/main" val="570917271"/>
      </p:ext>
    </p:extLst>
  </p:cSld>
  <p:clrMapOvr>
    <a:masterClrMapping/>
  </p:clrMapOvr>
  <p:extLst>
    <p:ext uri="{DCECCB84-F9BA-43D5-87BE-67443E8EF086}">
      <p15:sldGuideLst xmlns:p15="http://schemas.microsoft.com/office/powerpoint/2012/main">
        <p15:guide id="1" pos="2819">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Picture left_Blue logo">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80B2781-0CC3-4F92-B815-8D4328F13D4C}"/>
              </a:ext>
            </a:extLst>
          </p:cNvPr>
          <p:cNvSpPr/>
          <p:nvPr userDrawn="1"/>
        </p:nvSpPr>
        <p:spPr>
          <a:xfrm>
            <a:off x="0" y="6308725"/>
            <a:ext cx="1279525" cy="549275"/>
          </a:xfrm>
          <a:prstGeom prst="rect">
            <a:avLst/>
          </a:prstGeom>
          <a:solidFill>
            <a:srgbClr val="2067CA"/>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13" name="Picture Placeholder 12">
            <a:extLst>
              <a:ext uri="{FF2B5EF4-FFF2-40B4-BE49-F238E27FC236}">
                <a16:creationId xmlns:a16="http://schemas.microsoft.com/office/drawing/2014/main" id="{B4EE9AD7-9511-4781-98BB-BCB9D935E939}"/>
              </a:ext>
            </a:extLst>
          </p:cNvPr>
          <p:cNvSpPr>
            <a:spLocks noGrp="1"/>
          </p:cNvSpPr>
          <p:nvPr>
            <p:ph type="pic" sz="quarter" idx="18"/>
          </p:nvPr>
        </p:nvSpPr>
        <p:spPr>
          <a:xfrm>
            <a:off x="-1588" y="0"/>
            <a:ext cx="4065588" cy="6858000"/>
          </a:xfrm>
          <a:custGeom>
            <a:avLst/>
            <a:gdLst>
              <a:gd name="connsiteX0" fmla="*/ 813178 w 4065588"/>
              <a:gd name="connsiteY0" fmla="*/ 6423839 h 6858000"/>
              <a:gd name="connsiteX1" fmla="*/ 814139 w 4065588"/>
              <a:gd name="connsiteY1" fmla="*/ 6425983 h 6858000"/>
              <a:gd name="connsiteX2" fmla="*/ 844574 w 4065588"/>
              <a:gd name="connsiteY2" fmla="*/ 6528784 h 6858000"/>
              <a:gd name="connsiteX3" fmla="*/ 843672 w 4065588"/>
              <a:gd name="connsiteY3" fmla="*/ 6530809 h 6858000"/>
              <a:gd name="connsiteX4" fmla="*/ 842969 w 4065588"/>
              <a:gd name="connsiteY4" fmla="*/ 6530906 h 6858000"/>
              <a:gd name="connsiteX5" fmla="*/ 783397 w 4065588"/>
              <a:gd name="connsiteY5" fmla="*/ 6530906 h 6858000"/>
              <a:gd name="connsiteX6" fmla="*/ 781698 w 4065588"/>
              <a:gd name="connsiteY6" fmla="*/ 6529469 h 6858000"/>
              <a:gd name="connsiteX7" fmla="*/ 781792 w 4065588"/>
              <a:gd name="connsiteY7" fmla="*/ 6528784 h 6858000"/>
              <a:gd name="connsiteX8" fmla="*/ 812228 w 4065588"/>
              <a:gd name="connsiteY8" fmla="*/ 6425983 h 6858000"/>
              <a:gd name="connsiteX9" fmla="*/ 813178 w 4065588"/>
              <a:gd name="connsiteY9" fmla="*/ 6423839 h 6858000"/>
              <a:gd name="connsiteX10" fmla="*/ 589279 w 4065588"/>
              <a:gd name="connsiteY10" fmla="*/ 6423839 h 6858000"/>
              <a:gd name="connsiteX11" fmla="*/ 590229 w 4065588"/>
              <a:gd name="connsiteY11" fmla="*/ 6425983 h 6858000"/>
              <a:gd name="connsiteX12" fmla="*/ 620665 w 4065588"/>
              <a:gd name="connsiteY12" fmla="*/ 6528784 h 6858000"/>
              <a:gd name="connsiteX13" fmla="*/ 619786 w 4065588"/>
              <a:gd name="connsiteY13" fmla="*/ 6530804 h 6858000"/>
              <a:gd name="connsiteX14" fmla="*/ 619071 w 4065588"/>
              <a:gd name="connsiteY14" fmla="*/ 6530906 h 6858000"/>
              <a:gd name="connsiteX15" fmla="*/ 559499 w 4065588"/>
              <a:gd name="connsiteY15" fmla="*/ 6530906 h 6858000"/>
              <a:gd name="connsiteX16" fmla="*/ 557798 w 4065588"/>
              <a:gd name="connsiteY16" fmla="*/ 6529478 h 6858000"/>
              <a:gd name="connsiteX17" fmla="*/ 557894 w 4065588"/>
              <a:gd name="connsiteY17" fmla="*/ 6528784 h 6858000"/>
              <a:gd name="connsiteX18" fmla="*/ 588340 w 4065588"/>
              <a:gd name="connsiteY18" fmla="*/ 6425983 h 6858000"/>
              <a:gd name="connsiteX19" fmla="*/ 589279 w 4065588"/>
              <a:gd name="connsiteY19" fmla="*/ 6423839 h 6858000"/>
              <a:gd name="connsiteX20" fmla="*/ 545405 w 4065588"/>
              <a:gd name="connsiteY20" fmla="*/ 6352465 h 6858000"/>
              <a:gd name="connsiteX21" fmla="*/ 542449 w 4065588"/>
              <a:gd name="connsiteY21" fmla="*/ 6354577 h 6858000"/>
              <a:gd name="connsiteX22" fmla="*/ 444641 w 4065588"/>
              <a:gd name="connsiteY22" fmla="*/ 6633486 h 6858000"/>
              <a:gd name="connsiteX23" fmla="*/ 445355 w 4065588"/>
              <a:gd name="connsiteY23" fmla="*/ 6635455 h 6858000"/>
              <a:gd name="connsiteX24" fmla="*/ 446130 w 4065588"/>
              <a:gd name="connsiteY24" fmla="*/ 6635587 h 6858000"/>
              <a:gd name="connsiteX25" fmla="*/ 523331 w 4065588"/>
              <a:gd name="connsiteY25" fmla="*/ 6635587 h 6858000"/>
              <a:gd name="connsiteX26" fmla="*/ 526192 w 4065588"/>
              <a:gd name="connsiteY26" fmla="*/ 6633454 h 6858000"/>
              <a:gd name="connsiteX27" fmla="*/ 538691 w 4065588"/>
              <a:gd name="connsiteY27" fmla="*/ 6591713 h 6858000"/>
              <a:gd name="connsiteX28" fmla="*/ 541563 w 4065588"/>
              <a:gd name="connsiteY28" fmla="*/ 6589581 h 6858000"/>
              <a:gd name="connsiteX29" fmla="*/ 637006 w 4065588"/>
              <a:gd name="connsiteY29" fmla="*/ 6589581 h 6858000"/>
              <a:gd name="connsiteX30" fmla="*/ 639867 w 4065588"/>
              <a:gd name="connsiteY30" fmla="*/ 6591713 h 6858000"/>
              <a:gd name="connsiteX31" fmla="*/ 652377 w 4065588"/>
              <a:gd name="connsiteY31" fmla="*/ 6633454 h 6858000"/>
              <a:gd name="connsiteX32" fmla="*/ 655238 w 4065588"/>
              <a:gd name="connsiteY32" fmla="*/ 6635587 h 6858000"/>
              <a:gd name="connsiteX33" fmla="*/ 747230 w 4065588"/>
              <a:gd name="connsiteY33" fmla="*/ 6635587 h 6858000"/>
              <a:gd name="connsiteX34" fmla="*/ 750090 w 4065588"/>
              <a:gd name="connsiteY34" fmla="*/ 6633454 h 6858000"/>
              <a:gd name="connsiteX35" fmla="*/ 762600 w 4065588"/>
              <a:gd name="connsiteY35" fmla="*/ 6591713 h 6858000"/>
              <a:gd name="connsiteX36" fmla="*/ 765461 w 4065588"/>
              <a:gd name="connsiteY36" fmla="*/ 6589581 h 6858000"/>
              <a:gd name="connsiteX37" fmla="*/ 860915 w 4065588"/>
              <a:gd name="connsiteY37" fmla="*/ 6589581 h 6858000"/>
              <a:gd name="connsiteX38" fmla="*/ 863776 w 4065588"/>
              <a:gd name="connsiteY38" fmla="*/ 6591713 h 6858000"/>
              <a:gd name="connsiteX39" fmla="*/ 876265 w 4065588"/>
              <a:gd name="connsiteY39" fmla="*/ 6633454 h 6858000"/>
              <a:gd name="connsiteX40" fmla="*/ 879126 w 4065588"/>
              <a:gd name="connsiteY40" fmla="*/ 6635587 h 6858000"/>
              <a:gd name="connsiteX41" fmla="*/ 1011476 w 4065588"/>
              <a:gd name="connsiteY41" fmla="*/ 6635587 h 6858000"/>
              <a:gd name="connsiteX42" fmla="*/ 1013714 w 4065588"/>
              <a:gd name="connsiteY42" fmla="*/ 6633359 h 6858000"/>
              <a:gd name="connsiteX43" fmla="*/ 1013714 w 4065588"/>
              <a:gd name="connsiteY43" fmla="*/ 6558121 h 6858000"/>
              <a:gd name="connsiteX44" fmla="*/ 1015266 w 4065588"/>
              <a:gd name="connsiteY44" fmla="*/ 6554289 h 6858000"/>
              <a:gd name="connsiteX45" fmla="*/ 1044498 w 4065588"/>
              <a:gd name="connsiteY45" fmla="*/ 6524182 h 6858000"/>
              <a:gd name="connsiteX46" fmla="*/ 1046852 w 4065588"/>
              <a:gd name="connsiteY46" fmla="*/ 6523986 h 6858000"/>
              <a:gd name="connsiteX47" fmla="*/ 1047242 w 4065588"/>
              <a:gd name="connsiteY47" fmla="*/ 6524467 h 6858000"/>
              <a:gd name="connsiteX48" fmla="*/ 1115629 w 4065588"/>
              <a:gd name="connsiteY48" fmla="*/ 6633698 h 6858000"/>
              <a:gd name="connsiteX49" fmla="*/ 1119130 w 4065588"/>
              <a:gd name="connsiteY49" fmla="*/ 6635587 h 6858000"/>
              <a:gd name="connsiteX50" fmla="*/ 1216415 w 4065588"/>
              <a:gd name="connsiteY50" fmla="*/ 6635587 h 6858000"/>
              <a:gd name="connsiteX51" fmla="*/ 1217428 w 4065588"/>
              <a:gd name="connsiteY51" fmla="*/ 6633718 h 6858000"/>
              <a:gd name="connsiteX52" fmla="*/ 1108430 w 4065588"/>
              <a:gd name="connsiteY52" fmla="*/ 6465760 h 6858000"/>
              <a:gd name="connsiteX53" fmla="*/ 1108736 w 4065588"/>
              <a:gd name="connsiteY53" fmla="*/ 6462277 h 6858000"/>
              <a:gd name="connsiteX54" fmla="*/ 1209120 w 4065588"/>
              <a:gd name="connsiteY54" fmla="*/ 6354102 h 6858000"/>
              <a:gd name="connsiteX55" fmla="*/ 1208413 w 4065588"/>
              <a:gd name="connsiteY55" fmla="*/ 6352465 h 6858000"/>
              <a:gd name="connsiteX56" fmla="*/ 1111354 w 4065588"/>
              <a:gd name="connsiteY56" fmla="*/ 6352465 h 6858000"/>
              <a:gd name="connsiteX57" fmla="*/ 1107680 w 4065588"/>
              <a:gd name="connsiteY57" fmla="*/ 6354165 h 6858000"/>
              <a:gd name="connsiteX58" fmla="*/ 1015161 w 4065588"/>
              <a:gd name="connsiteY58" fmla="*/ 6461812 h 6858000"/>
              <a:gd name="connsiteX59" fmla="*/ 1013714 w 4065588"/>
              <a:gd name="connsiteY59" fmla="*/ 6461263 h 6858000"/>
              <a:gd name="connsiteX60" fmla="*/ 1013714 w 4065588"/>
              <a:gd name="connsiteY60" fmla="*/ 6354693 h 6858000"/>
              <a:gd name="connsiteX61" fmla="*/ 1011476 w 4065588"/>
              <a:gd name="connsiteY61" fmla="*/ 6352465 h 6858000"/>
              <a:gd name="connsiteX62" fmla="*/ 939722 w 4065588"/>
              <a:gd name="connsiteY62" fmla="*/ 6352465 h 6858000"/>
              <a:gd name="connsiteX63" fmla="*/ 937505 w 4065588"/>
              <a:gd name="connsiteY63" fmla="*/ 6354693 h 6858000"/>
              <a:gd name="connsiteX64" fmla="*/ 937505 w 4065588"/>
              <a:gd name="connsiteY64" fmla="*/ 6531687 h 6858000"/>
              <a:gd name="connsiteX65" fmla="*/ 956169 w 4065588"/>
              <a:gd name="connsiteY65" fmla="*/ 6580597 h 6858000"/>
              <a:gd name="connsiteX66" fmla="*/ 933757 w 4065588"/>
              <a:gd name="connsiteY66" fmla="*/ 6622233 h 6858000"/>
              <a:gd name="connsiteX67" fmla="*/ 911229 w 4065588"/>
              <a:gd name="connsiteY67" fmla="*/ 6578211 h 6858000"/>
              <a:gd name="connsiteX68" fmla="*/ 911229 w 4065588"/>
              <a:gd name="connsiteY68" fmla="*/ 6499616 h 6858000"/>
              <a:gd name="connsiteX69" fmla="*/ 860979 w 4065588"/>
              <a:gd name="connsiteY69" fmla="*/ 6354587 h 6858000"/>
              <a:gd name="connsiteX70" fmla="*/ 858023 w 4065588"/>
              <a:gd name="connsiteY70" fmla="*/ 6352465 h 6858000"/>
              <a:gd name="connsiteX71" fmla="*/ 769304 w 4065588"/>
              <a:gd name="connsiteY71" fmla="*/ 6352465 h 6858000"/>
              <a:gd name="connsiteX72" fmla="*/ 766348 w 4065588"/>
              <a:gd name="connsiteY72" fmla="*/ 6354577 h 6858000"/>
              <a:gd name="connsiteX73" fmla="*/ 702131 w 4065588"/>
              <a:gd name="connsiteY73" fmla="*/ 6537684 h 6858000"/>
              <a:gd name="connsiteX74" fmla="*/ 700674 w 4065588"/>
              <a:gd name="connsiteY74" fmla="*/ 6537684 h 6858000"/>
              <a:gd name="connsiteX75" fmla="*/ 637070 w 4065588"/>
              <a:gd name="connsiteY75" fmla="*/ 6354587 h 6858000"/>
              <a:gd name="connsiteX76" fmla="*/ 634114 w 4065588"/>
              <a:gd name="connsiteY76" fmla="*/ 6352465 h 6858000"/>
              <a:gd name="connsiteX77" fmla="*/ 0 w 4065588"/>
              <a:gd name="connsiteY77" fmla="*/ 0 h 6858000"/>
              <a:gd name="connsiteX78" fmla="*/ 3674155 w 4065588"/>
              <a:gd name="connsiteY78" fmla="*/ 0 h 6858000"/>
              <a:gd name="connsiteX79" fmla="*/ 3712291 w 4065588"/>
              <a:gd name="connsiteY79" fmla="*/ 3409950 h 6858000"/>
              <a:gd name="connsiteX80" fmla="*/ 3145020 w 4065588"/>
              <a:gd name="connsiteY80" fmla="*/ 6858000 h 6858000"/>
              <a:gd name="connsiteX81" fmla="*/ 21930 w 4065588"/>
              <a:gd name="connsiteY81" fmla="*/ 6858000 h 6858000"/>
              <a:gd name="connsiteX82" fmla="*/ 0 w 4065588"/>
              <a:gd name="connsiteY8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065588" h="6858000">
                <a:moveTo>
                  <a:pt x="813178" y="6423839"/>
                </a:moveTo>
                <a:cubicBezTo>
                  <a:pt x="813368" y="6423840"/>
                  <a:pt x="813800" y="6424811"/>
                  <a:pt x="814139" y="6425983"/>
                </a:cubicBezTo>
                <a:lnTo>
                  <a:pt x="844574" y="6528784"/>
                </a:lnTo>
                <a:cubicBezTo>
                  <a:pt x="844884" y="6529592"/>
                  <a:pt x="844480" y="6530499"/>
                  <a:pt x="843672" y="6530809"/>
                </a:cubicBezTo>
                <a:cubicBezTo>
                  <a:pt x="843448" y="6530894"/>
                  <a:pt x="843208" y="6530928"/>
                  <a:pt x="842969" y="6530906"/>
                </a:cubicBezTo>
                <a:lnTo>
                  <a:pt x="783397" y="6530906"/>
                </a:lnTo>
                <a:cubicBezTo>
                  <a:pt x="782531" y="6530979"/>
                  <a:pt x="781770" y="6530335"/>
                  <a:pt x="781698" y="6529469"/>
                </a:cubicBezTo>
                <a:cubicBezTo>
                  <a:pt x="781678" y="6529236"/>
                  <a:pt x="781711" y="6529003"/>
                  <a:pt x="781792" y="6528784"/>
                </a:cubicBezTo>
                <a:lnTo>
                  <a:pt x="812228" y="6425983"/>
                </a:lnTo>
                <a:cubicBezTo>
                  <a:pt x="812371" y="6425203"/>
                  <a:pt x="812697" y="6424469"/>
                  <a:pt x="813178" y="6423839"/>
                </a:cubicBezTo>
                <a:close/>
                <a:moveTo>
                  <a:pt x="589279" y="6423839"/>
                </a:moveTo>
                <a:cubicBezTo>
                  <a:pt x="589760" y="6424469"/>
                  <a:pt x="590086" y="6425203"/>
                  <a:pt x="590229" y="6425983"/>
                </a:cubicBezTo>
                <a:lnTo>
                  <a:pt x="620665" y="6528784"/>
                </a:lnTo>
                <a:cubicBezTo>
                  <a:pt x="620980" y="6529585"/>
                  <a:pt x="620587" y="6530489"/>
                  <a:pt x="619786" y="6530804"/>
                </a:cubicBezTo>
                <a:cubicBezTo>
                  <a:pt x="619559" y="6530894"/>
                  <a:pt x="619314" y="6530929"/>
                  <a:pt x="619071" y="6530906"/>
                </a:cubicBezTo>
                <a:lnTo>
                  <a:pt x="559499" y="6530906"/>
                </a:lnTo>
                <a:cubicBezTo>
                  <a:pt x="558635" y="6530981"/>
                  <a:pt x="557873" y="6530342"/>
                  <a:pt x="557798" y="6529478"/>
                </a:cubicBezTo>
                <a:cubicBezTo>
                  <a:pt x="557777" y="6529243"/>
                  <a:pt x="557810" y="6529005"/>
                  <a:pt x="557894" y="6528784"/>
                </a:cubicBezTo>
                <a:lnTo>
                  <a:pt x="588340" y="6425983"/>
                </a:lnTo>
                <a:cubicBezTo>
                  <a:pt x="588487" y="6425207"/>
                  <a:pt x="588808" y="6424474"/>
                  <a:pt x="589279" y="6423839"/>
                </a:cubicBezTo>
                <a:close/>
                <a:moveTo>
                  <a:pt x="545405" y="6352465"/>
                </a:moveTo>
                <a:cubicBezTo>
                  <a:pt x="544090" y="6352525"/>
                  <a:pt x="542932" y="6353352"/>
                  <a:pt x="542449" y="6354577"/>
                </a:cubicBezTo>
                <a:lnTo>
                  <a:pt x="444641" y="6633486"/>
                </a:lnTo>
                <a:cubicBezTo>
                  <a:pt x="444294" y="6634227"/>
                  <a:pt x="444614" y="6635108"/>
                  <a:pt x="445355" y="6635455"/>
                </a:cubicBezTo>
                <a:cubicBezTo>
                  <a:pt x="445596" y="6635568"/>
                  <a:pt x="445864" y="6635614"/>
                  <a:pt x="446130" y="6635587"/>
                </a:cubicBezTo>
                <a:lnTo>
                  <a:pt x="523331" y="6635587"/>
                </a:lnTo>
                <a:cubicBezTo>
                  <a:pt x="524632" y="6635530"/>
                  <a:pt x="525766" y="6634685"/>
                  <a:pt x="526192" y="6633454"/>
                </a:cubicBezTo>
                <a:lnTo>
                  <a:pt x="538691" y="6591713"/>
                </a:lnTo>
                <a:cubicBezTo>
                  <a:pt x="539119" y="6590480"/>
                  <a:pt x="540258" y="6589634"/>
                  <a:pt x="541563" y="6589581"/>
                </a:cubicBezTo>
                <a:lnTo>
                  <a:pt x="637006" y="6589581"/>
                </a:lnTo>
                <a:cubicBezTo>
                  <a:pt x="638306" y="6589641"/>
                  <a:pt x="639438" y="6590485"/>
                  <a:pt x="639867" y="6591713"/>
                </a:cubicBezTo>
                <a:lnTo>
                  <a:pt x="652377" y="6633454"/>
                </a:lnTo>
                <a:cubicBezTo>
                  <a:pt x="652806" y="6634683"/>
                  <a:pt x="653938" y="6635527"/>
                  <a:pt x="655238" y="6635587"/>
                </a:cubicBezTo>
                <a:lnTo>
                  <a:pt x="747230" y="6635587"/>
                </a:lnTo>
                <a:cubicBezTo>
                  <a:pt x="748530" y="6635530"/>
                  <a:pt x="749664" y="6634685"/>
                  <a:pt x="750090" y="6633454"/>
                </a:cubicBezTo>
                <a:lnTo>
                  <a:pt x="762600" y="6591713"/>
                </a:lnTo>
                <a:cubicBezTo>
                  <a:pt x="763021" y="6590479"/>
                  <a:pt x="764158" y="6589631"/>
                  <a:pt x="765461" y="6589581"/>
                </a:cubicBezTo>
                <a:lnTo>
                  <a:pt x="860915" y="6589581"/>
                </a:lnTo>
                <a:cubicBezTo>
                  <a:pt x="862215" y="6589641"/>
                  <a:pt x="863347" y="6590485"/>
                  <a:pt x="863776" y="6591713"/>
                </a:cubicBezTo>
                <a:lnTo>
                  <a:pt x="876265" y="6633454"/>
                </a:lnTo>
                <a:cubicBezTo>
                  <a:pt x="876696" y="6634681"/>
                  <a:pt x="877827" y="6635524"/>
                  <a:pt x="879126" y="6635587"/>
                </a:cubicBezTo>
                <a:lnTo>
                  <a:pt x="1011476" y="6635587"/>
                </a:lnTo>
                <a:cubicBezTo>
                  <a:pt x="1012707" y="6635584"/>
                  <a:pt x="1013705" y="6634590"/>
                  <a:pt x="1013714" y="6633359"/>
                </a:cubicBezTo>
                <a:lnTo>
                  <a:pt x="1013714" y="6558121"/>
                </a:lnTo>
                <a:cubicBezTo>
                  <a:pt x="1013784" y="6556706"/>
                  <a:pt x="1014331" y="6555355"/>
                  <a:pt x="1015266" y="6554289"/>
                </a:cubicBezTo>
                <a:lnTo>
                  <a:pt x="1044498" y="6524182"/>
                </a:lnTo>
                <a:cubicBezTo>
                  <a:pt x="1045094" y="6523478"/>
                  <a:pt x="1046148" y="6523390"/>
                  <a:pt x="1046852" y="6523986"/>
                </a:cubicBezTo>
                <a:cubicBezTo>
                  <a:pt x="1047011" y="6524121"/>
                  <a:pt x="1047143" y="6524284"/>
                  <a:pt x="1047242" y="6524467"/>
                </a:cubicBezTo>
                <a:lnTo>
                  <a:pt x="1115629" y="6633698"/>
                </a:lnTo>
                <a:cubicBezTo>
                  <a:pt x="1116385" y="6634897"/>
                  <a:pt x="1117713" y="6635613"/>
                  <a:pt x="1119130" y="6635587"/>
                </a:cubicBezTo>
                <a:lnTo>
                  <a:pt x="1216415" y="6635587"/>
                </a:lnTo>
                <a:cubicBezTo>
                  <a:pt x="1217650" y="6635587"/>
                  <a:pt x="1218104" y="6634743"/>
                  <a:pt x="1217428" y="6633718"/>
                </a:cubicBezTo>
                <a:lnTo>
                  <a:pt x="1108430" y="6465760"/>
                </a:lnTo>
                <a:cubicBezTo>
                  <a:pt x="1107760" y="6464657"/>
                  <a:pt x="1107884" y="6463247"/>
                  <a:pt x="1108736" y="6462277"/>
                </a:cubicBezTo>
                <a:lnTo>
                  <a:pt x="1209120" y="6354102"/>
                </a:lnTo>
                <a:cubicBezTo>
                  <a:pt x="1209954" y="6353204"/>
                  <a:pt x="1209637" y="6352465"/>
                  <a:pt x="1208413" y="6352465"/>
                </a:cubicBezTo>
                <a:lnTo>
                  <a:pt x="1111354" y="6352465"/>
                </a:lnTo>
                <a:cubicBezTo>
                  <a:pt x="1109958" y="6352546"/>
                  <a:pt x="1108645" y="6353153"/>
                  <a:pt x="1107680" y="6354165"/>
                </a:cubicBezTo>
                <a:lnTo>
                  <a:pt x="1015161" y="6461812"/>
                </a:lnTo>
                <a:cubicBezTo>
                  <a:pt x="1014358" y="6462741"/>
                  <a:pt x="1013714" y="6462488"/>
                  <a:pt x="1013714" y="6461263"/>
                </a:cubicBezTo>
                <a:lnTo>
                  <a:pt x="1013714" y="6354693"/>
                </a:lnTo>
                <a:cubicBezTo>
                  <a:pt x="1013705" y="6353462"/>
                  <a:pt x="1012707" y="6352468"/>
                  <a:pt x="1011476" y="6352465"/>
                </a:cubicBezTo>
                <a:lnTo>
                  <a:pt x="939722" y="6352465"/>
                </a:lnTo>
                <a:cubicBezTo>
                  <a:pt x="938499" y="6352478"/>
                  <a:pt x="937511" y="6353469"/>
                  <a:pt x="937505" y="6354693"/>
                </a:cubicBezTo>
                <a:lnTo>
                  <a:pt x="937505" y="6531687"/>
                </a:lnTo>
                <a:cubicBezTo>
                  <a:pt x="937114" y="6564445"/>
                  <a:pt x="944441" y="6560317"/>
                  <a:pt x="956169" y="6580597"/>
                </a:cubicBezTo>
                <a:cubicBezTo>
                  <a:pt x="965786" y="6597192"/>
                  <a:pt x="957584" y="6620596"/>
                  <a:pt x="933757" y="6622233"/>
                </a:cubicBezTo>
                <a:cubicBezTo>
                  <a:pt x="913879" y="6623605"/>
                  <a:pt x="896386" y="6600940"/>
                  <a:pt x="911229" y="6578211"/>
                </a:cubicBezTo>
                <a:cubicBezTo>
                  <a:pt x="926906" y="6554247"/>
                  <a:pt x="933483" y="6565342"/>
                  <a:pt x="911229" y="6499616"/>
                </a:cubicBezTo>
                <a:lnTo>
                  <a:pt x="860979" y="6354587"/>
                </a:lnTo>
                <a:cubicBezTo>
                  <a:pt x="860500" y="6353357"/>
                  <a:pt x="859341" y="6352525"/>
                  <a:pt x="858023" y="6352465"/>
                </a:cubicBezTo>
                <a:lnTo>
                  <a:pt x="769304" y="6352465"/>
                </a:lnTo>
                <a:cubicBezTo>
                  <a:pt x="767988" y="6352525"/>
                  <a:pt x="766831" y="6353352"/>
                  <a:pt x="766348" y="6354577"/>
                </a:cubicBezTo>
                <a:lnTo>
                  <a:pt x="702131" y="6537684"/>
                </a:lnTo>
                <a:cubicBezTo>
                  <a:pt x="701719" y="6538845"/>
                  <a:pt x="701065" y="6538845"/>
                  <a:pt x="700674" y="6537684"/>
                </a:cubicBezTo>
                <a:lnTo>
                  <a:pt x="637070" y="6354587"/>
                </a:lnTo>
                <a:cubicBezTo>
                  <a:pt x="636591" y="6353357"/>
                  <a:pt x="635432" y="6352525"/>
                  <a:pt x="634114" y="6352465"/>
                </a:cubicBezTo>
                <a:close/>
                <a:moveTo>
                  <a:pt x="0" y="0"/>
                </a:moveTo>
                <a:lnTo>
                  <a:pt x="3674155" y="0"/>
                </a:lnTo>
                <a:cubicBezTo>
                  <a:pt x="3883902" y="438150"/>
                  <a:pt x="4417803" y="1833563"/>
                  <a:pt x="3712291" y="3409950"/>
                </a:cubicBezTo>
                <a:cubicBezTo>
                  <a:pt x="2963875" y="5086350"/>
                  <a:pt x="2968642" y="6186488"/>
                  <a:pt x="3145020" y="6858000"/>
                </a:cubicBezTo>
                <a:cubicBezTo>
                  <a:pt x="1482835" y="6858000"/>
                  <a:pt x="547856" y="6858000"/>
                  <a:pt x="21930" y="6858000"/>
                </a:cubicBezTo>
                <a:lnTo>
                  <a:pt x="0" y="6858000"/>
                </a:ln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75162" y="1219200"/>
            <a:ext cx="7273925" cy="4910138"/>
          </a:xfrm>
        </p:spPr>
        <p:txBody>
          <a:bodyPr/>
          <a:lstStyle>
            <a:lvl3pPr>
              <a:lnSpc>
                <a:spcPct val="90000"/>
              </a:lnSpc>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CF30406A-F6DC-4711-8E52-5214C1D51CA5}"/>
              </a:ext>
            </a:extLst>
          </p:cNvPr>
          <p:cNvSpPr>
            <a:spLocks noGrp="1"/>
          </p:cNvSpPr>
          <p:nvPr>
            <p:ph type="title"/>
          </p:nvPr>
        </p:nvSpPr>
        <p:spPr>
          <a:xfrm>
            <a:off x="4475163" y="221456"/>
            <a:ext cx="7273925" cy="775597"/>
          </a:xfrm>
        </p:spPr>
        <p:txBody>
          <a:bodyPr/>
          <a:lstStyle/>
          <a:p>
            <a:r>
              <a:rPr lang="en-US"/>
              <a:t>Click to edit Master title style</a:t>
            </a:r>
            <a:endParaRPr lang="en-US" dirty="0"/>
          </a:p>
        </p:txBody>
      </p:sp>
      <p:sp>
        <p:nvSpPr>
          <p:cNvPr id="2" name="Date Placeholder 19">
            <a:extLst>
              <a:ext uri="{FF2B5EF4-FFF2-40B4-BE49-F238E27FC236}">
                <a16:creationId xmlns:a16="http://schemas.microsoft.com/office/drawing/2014/main" id="{57D07CFA-1164-AE67-3550-9619462EC9D5}"/>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AAF81A32-374E-83B1-28CC-7A550C050C69}"/>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 name="Footer Placeholder 4">
            <a:extLst>
              <a:ext uri="{FF2B5EF4-FFF2-40B4-BE49-F238E27FC236}">
                <a16:creationId xmlns:a16="http://schemas.microsoft.com/office/drawing/2014/main" id="{BC317B64-4B47-36E8-5D63-C23FDC7F85E8}"/>
              </a:ext>
            </a:extLst>
          </p:cNvPr>
          <p:cNvSpPr>
            <a:spLocks noGrp="1"/>
          </p:cNvSpPr>
          <p:nvPr>
            <p:ph type="ftr" sz="quarter" idx="19"/>
          </p:nvPr>
        </p:nvSpPr>
        <p:spPr/>
        <p:txBody>
          <a:bodyPr/>
          <a:lstStyle/>
          <a:p>
            <a:endParaRPr lang="en-GB"/>
          </a:p>
        </p:txBody>
      </p:sp>
    </p:spTree>
    <p:extLst>
      <p:ext uri="{BB962C8B-B14F-4D97-AF65-F5344CB8AC3E}">
        <p14:creationId xmlns:p14="http://schemas.microsoft.com/office/powerpoint/2010/main" val="2449060220"/>
      </p:ext>
    </p:extLst>
  </p:cSld>
  <p:clrMapOvr>
    <a:masterClrMapping/>
  </p:clrMapOvr>
  <p:extLst>
    <p:ext uri="{DCECCB84-F9BA-43D5-87BE-67443E8EF086}">
      <p15:sldGuideLst xmlns:p15="http://schemas.microsoft.com/office/powerpoint/2012/main">
        <p15:guide id="1" pos="2819">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icture right_Blue footer">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1219200"/>
            <a:ext cx="7273925" cy="4910138"/>
          </a:xfrm>
        </p:spPr>
        <p:txBody>
          <a:bodyPr/>
          <a:lstStyle>
            <a:lvl4pPr>
              <a:lnSpc>
                <a:spcPct val="90000"/>
              </a:lnSpc>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CC509639-F8F2-4A3B-8E77-BF2B3C0FB070}"/>
              </a:ext>
            </a:extLst>
          </p:cNvPr>
          <p:cNvSpPr>
            <a:spLocks noGrp="1"/>
          </p:cNvSpPr>
          <p:nvPr>
            <p:ph type="title"/>
          </p:nvPr>
        </p:nvSpPr>
        <p:spPr>
          <a:xfrm>
            <a:off x="442913" y="221456"/>
            <a:ext cx="7273925" cy="775597"/>
          </a:xfrm>
        </p:spPr>
        <p:txBody>
          <a:bodyPr/>
          <a:lstStyle/>
          <a:p>
            <a:r>
              <a:rPr lang="en-US"/>
              <a:t>Click to edit Master title style</a:t>
            </a:r>
            <a:endParaRPr lang="en-US" dirty="0"/>
          </a:p>
        </p:txBody>
      </p:sp>
      <p:sp>
        <p:nvSpPr>
          <p:cNvPr id="13" name="Picture Placeholder 12">
            <a:extLst>
              <a:ext uri="{FF2B5EF4-FFF2-40B4-BE49-F238E27FC236}">
                <a16:creationId xmlns:a16="http://schemas.microsoft.com/office/drawing/2014/main" id="{6E3AD4FA-B85C-4165-BD3B-78778C0EA996}"/>
              </a:ext>
            </a:extLst>
          </p:cNvPr>
          <p:cNvSpPr>
            <a:spLocks noGrp="1"/>
          </p:cNvSpPr>
          <p:nvPr>
            <p:ph type="pic" sz="quarter" idx="15"/>
          </p:nvPr>
        </p:nvSpPr>
        <p:spPr>
          <a:xfrm>
            <a:off x="8126413" y="0"/>
            <a:ext cx="4065587" cy="6858000"/>
          </a:xfrm>
          <a:custGeom>
            <a:avLst/>
            <a:gdLst>
              <a:gd name="connsiteX0" fmla="*/ 920567 w 4065587"/>
              <a:gd name="connsiteY0" fmla="*/ 0 h 6858000"/>
              <a:gd name="connsiteX1" fmla="*/ 4043657 w 4065587"/>
              <a:gd name="connsiteY1" fmla="*/ 0 h 6858000"/>
              <a:gd name="connsiteX2" fmla="*/ 4065587 w 4065587"/>
              <a:gd name="connsiteY2" fmla="*/ 0 h 6858000"/>
              <a:gd name="connsiteX3" fmla="*/ 4065587 w 4065587"/>
              <a:gd name="connsiteY3" fmla="*/ 6858000 h 6858000"/>
              <a:gd name="connsiteX4" fmla="*/ 391433 w 4065587"/>
              <a:gd name="connsiteY4" fmla="*/ 6858000 h 6858000"/>
              <a:gd name="connsiteX5" fmla="*/ 353297 w 4065587"/>
              <a:gd name="connsiteY5" fmla="*/ 3448050 h 6858000"/>
              <a:gd name="connsiteX6" fmla="*/ 920567 w 406558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5587" h="6858000">
                <a:moveTo>
                  <a:pt x="920567" y="0"/>
                </a:moveTo>
                <a:cubicBezTo>
                  <a:pt x="2582752" y="0"/>
                  <a:pt x="3517731" y="0"/>
                  <a:pt x="4043657" y="0"/>
                </a:cubicBezTo>
                <a:lnTo>
                  <a:pt x="4065587" y="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endParaRPr lang="en-US" dirty="0"/>
          </a:p>
        </p:txBody>
      </p:sp>
      <p:sp>
        <p:nvSpPr>
          <p:cNvPr id="2" name="Date Placeholder 19">
            <a:extLst>
              <a:ext uri="{FF2B5EF4-FFF2-40B4-BE49-F238E27FC236}">
                <a16:creationId xmlns:a16="http://schemas.microsoft.com/office/drawing/2014/main" id="{46DA812E-DD77-C0EF-7463-9018160242A8}"/>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919ED543-58B0-045B-7694-382FCF0CAAD2}"/>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 name="Footer Placeholder 4">
            <a:extLst>
              <a:ext uri="{FF2B5EF4-FFF2-40B4-BE49-F238E27FC236}">
                <a16:creationId xmlns:a16="http://schemas.microsoft.com/office/drawing/2014/main" id="{49DDDE52-68CE-B44C-B43E-54FE7CAABD0D}"/>
              </a:ext>
            </a:extLst>
          </p:cNvPr>
          <p:cNvSpPr>
            <a:spLocks noGrp="1"/>
          </p:cNvSpPr>
          <p:nvPr>
            <p:ph type="ftr" sz="quarter" idx="16"/>
          </p:nvPr>
        </p:nvSpPr>
        <p:spPr/>
        <p:txBody>
          <a:bodyPr/>
          <a:lstStyle/>
          <a:p>
            <a:endParaRPr lang="en-GB"/>
          </a:p>
        </p:txBody>
      </p:sp>
    </p:spTree>
    <p:extLst>
      <p:ext uri="{BB962C8B-B14F-4D97-AF65-F5344CB8AC3E}">
        <p14:creationId xmlns:p14="http://schemas.microsoft.com/office/powerpoint/2010/main" val="3083602188"/>
      </p:ext>
    </p:extLst>
  </p:cSld>
  <p:clrMapOvr>
    <a:masterClrMapping/>
  </p:clrMapOvr>
  <p:extLst>
    <p:ext uri="{DCECCB84-F9BA-43D5-87BE-67443E8EF086}">
      <p15:sldGuideLst xmlns:p15="http://schemas.microsoft.com/office/powerpoint/2012/main">
        <p15:guide id="1" pos="486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Big picture left_White logo">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AFBBB2-26EC-4B92-8CD3-8297E108AEAD}"/>
              </a:ext>
            </a:extLst>
          </p:cNvPr>
          <p:cNvSpPr/>
          <p:nvPr userDrawn="1"/>
        </p:nvSpPr>
        <p:spPr>
          <a:xfrm>
            <a:off x="0" y="6308725"/>
            <a:ext cx="1279525" cy="549275"/>
          </a:xfrm>
          <a:prstGeom prst="rect">
            <a:avLst/>
          </a:pr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8526463" y="1219200"/>
            <a:ext cx="3222624" cy="4910138"/>
          </a:xfrm>
        </p:spPr>
        <p:txBody>
          <a:bodyPr/>
          <a:lstStyle>
            <a:lvl3pPr>
              <a:lnSpc>
                <a:spcPct val="90000"/>
              </a:lnSpc>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B7462A84-DAC6-4BEC-8599-CFCC54B90947}"/>
              </a:ext>
            </a:extLst>
          </p:cNvPr>
          <p:cNvSpPr>
            <a:spLocks noGrp="1"/>
          </p:cNvSpPr>
          <p:nvPr>
            <p:ph type="title"/>
          </p:nvPr>
        </p:nvSpPr>
        <p:spPr>
          <a:xfrm>
            <a:off x="8509000" y="221456"/>
            <a:ext cx="3240088" cy="775597"/>
          </a:xfrm>
        </p:spPr>
        <p:txBody>
          <a:bodyPr/>
          <a:lstStyle/>
          <a:p>
            <a:r>
              <a:rPr lang="en-US"/>
              <a:t>Click to edit Master title style</a:t>
            </a:r>
            <a:endParaRPr lang="en-US" dirty="0"/>
          </a:p>
        </p:txBody>
      </p:sp>
      <p:sp>
        <p:nvSpPr>
          <p:cNvPr id="14" name="Picture Placeholder 13">
            <a:extLst>
              <a:ext uri="{FF2B5EF4-FFF2-40B4-BE49-F238E27FC236}">
                <a16:creationId xmlns:a16="http://schemas.microsoft.com/office/drawing/2014/main" id="{F32589BB-007C-4263-AE9A-45A07A831DD1}"/>
              </a:ext>
            </a:extLst>
          </p:cNvPr>
          <p:cNvSpPr>
            <a:spLocks noGrp="1"/>
          </p:cNvSpPr>
          <p:nvPr>
            <p:ph type="pic" sz="quarter" idx="14"/>
          </p:nvPr>
        </p:nvSpPr>
        <p:spPr>
          <a:xfrm>
            <a:off x="0" y="0"/>
            <a:ext cx="8112124" cy="6858000"/>
          </a:xfrm>
          <a:custGeom>
            <a:avLst/>
            <a:gdLst>
              <a:gd name="connsiteX0" fmla="*/ 811590 w 8112124"/>
              <a:gd name="connsiteY0" fmla="*/ 6423839 h 6858000"/>
              <a:gd name="connsiteX1" fmla="*/ 812551 w 8112124"/>
              <a:gd name="connsiteY1" fmla="*/ 6425983 h 6858000"/>
              <a:gd name="connsiteX2" fmla="*/ 842986 w 8112124"/>
              <a:gd name="connsiteY2" fmla="*/ 6528784 h 6858000"/>
              <a:gd name="connsiteX3" fmla="*/ 842084 w 8112124"/>
              <a:gd name="connsiteY3" fmla="*/ 6530809 h 6858000"/>
              <a:gd name="connsiteX4" fmla="*/ 841381 w 8112124"/>
              <a:gd name="connsiteY4" fmla="*/ 6530906 h 6858000"/>
              <a:gd name="connsiteX5" fmla="*/ 781809 w 8112124"/>
              <a:gd name="connsiteY5" fmla="*/ 6530906 h 6858000"/>
              <a:gd name="connsiteX6" fmla="*/ 780110 w 8112124"/>
              <a:gd name="connsiteY6" fmla="*/ 6529469 h 6858000"/>
              <a:gd name="connsiteX7" fmla="*/ 780204 w 8112124"/>
              <a:gd name="connsiteY7" fmla="*/ 6528784 h 6858000"/>
              <a:gd name="connsiteX8" fmla="*/ 810640 w 8112124"/>
              <a:gd name="connsiteY8" fmla="*/ 6425983 h 6858000"/>
              <a:gd name="connsiteX9" fmla="*/ 811590 w 8112124"/>
              <a:gd name="connsiteY9" fmla="*/ 6423839 h 6858000"/>
              <a:gd name="connsiteX10" fmla="*/ 587692 w 8112124"/>
              <a:gd name="connsiteY10" fmla="*/ 6423839 h 6858000"/>
              <a:gd name="connsiteX11" fmla="*/ 588641 w 8112124"/>
              <a:gd name="connsiteY11" fmla="*/ 6425983 h 6858000"/>
              <a:gd name="connsiteX12" fmla="*/ 619077 w 8112124"/>
              <a:gd name="connsiteY12" fmla="*/ 6528784 h 6858000"/>
              <a:gd name="connsiteX13" fmla="*/ 618198 w 8112124"/>
              <a:gd name="connsiteY13" fmla="*/ 6530804 h 6858000"/>
              <a:gd name="connsiteX14" fmla="*/ 617483 w 8112124"/>
              <a:gd name="connsiteY14" fmla="*/ 6530906 h 6858000"/>
              <a:gd name="connsiteX15" fmla="*/ 557911 w 8112124"/>
              <a:gd name="connsiteY15" fmla="*/ 6530906 h 6858000"/>
              <a:gd name="connsiteX16" fmla="*/ 556210 w 8112124"/>
              <a:gd name="connsiteY16" fmla="*/ 6529478 h 6858000"/>
              <a:gd name="connsiteX17" fmla="*/ 556306 w 8112124"/>
              <a:gd name="connsiteY17" fmla="*/ 6528784 h 6858000"/>
              <a:gd name="connsiteX18" fmla="*/ 586752 w 8112124"/>
              <a:gd name="connsiteY18" fmla="*/ 6425983 h 6858000"/>
              <a:gd name="connsiteX19" fmla="*/ 587692 w 8112124"/>
              <a:gd name="connsiteY19" fmla="*/ 6423839 h 6858000"/>
              <a:gd name="connsiteX20" fmla="*/ 543817 w 8112124"/>
              <a:gd name="connsiteY20" fmla="*/ 6352465 h 6858000"/>
              <a:gd name="connsiteX21" fmla="*/ 540861 w 8112124"/>
              <a:gd name="connsiteY21" fmla="*/ 6354577 h 6858000"/>
              <a:gd name="connsiteX22" fmla="*/ 443053 w 8112124"/>
              <a:gd name="connsiteY22" fmla="*/ 6633486 h 6858000"/>
              <a:gd name="connsiteX23" fmla="*/ 443767 w 8112124"/>
              <a:gd name="connsiteY23" fmla="*/ 6635455 h 6858000"/>
              <a:gd name="connsiteX24" fmla="*/ 444542 w 8112124"/>
              <a:gd name="connsiteY24" fmla="*/ 6635587 h 6858000"/>
              <a:gd name="connsiteX25" fmla="*/ 521743 w 8112124"/>
              <a:gd name="connsiteY25" fmla="*/ 6635587 h 6858000"/>
              <a:gd name="connsiteX26" fmla="*/ 524604 w 8112124"/>
              <a:gd name="connsiteY26" fmla="*/ 6633454 h 6858000"/>
              <a:gd name="connsiteX27" fmla="*/ 537103 w 8112124"/>
              <a:gd name="connsiteY27" fmla="*/ 6591713 h 6858000"/>
              <a:gd name="connsiteX28" fmla="*/ 539975 w 8112124"/>
              <a:gd name="connsiteY28" fmla="*/ 6589581 h 6858000"/>
              <a:gd name="connsiteX29" fmla="*/ 635418 w 8112124"/>
              <a:gd name="connsiteY29" fmla="*/ 6589581 h 6858000"/>
              <a:gd name="connsiteX30" fmla="*/ 638279 w 8112124"/>
              <a:gd name="connsiteY30" fmla="*/ 6591713 h 6858000"/>
              <a:gd name="connsiteX31" fmla="*/ 650789 w 8112124"/>
              <a:gd name="connsiteY31" fmla="*/ 6633454 h 6858000"/>
              <a:gd name="connsiteX32" fmla="*/ 653650 w 8112124"/>
              <a:gd name="connsiteY32" fmla="*/ 6635587 h 6858000"/>
              <a:gd name="connsiteX33" fmla="*/ 745642 w 8112124"/>
              <a:gd name="connsiteY33" fmla="*/ 6635587 h 6858000"/>
              <a:gd name="connsiteX34" fmla="*/ 748502 w 8112124"/>
              <a:gd name="connsiteY34" fmla="*/ 6633454 h 6858000"/>
              <a:gd name="connsiteX35" fmla="*/ 761012 w 8112124"/>
              <a:gd name="connsiteY35" fmla="*/ 6591713 h 6858000"/>
              <a:gd name="connsiteX36" fmla="*/ 763873 w 8112124"/>
              <a:gd name="connsiteY36" fmla="*/ 6589581 h 6858000"/>
              <a:gd name="connsiteX37" fmla="*/ 859328 w 8112124"/>
              <a:gd name="connsiteY37" fmla="*/ 6589581 h 6858000"/>
              <a:gd name="connsiteX38" fmla="*/ 862188 w 8112124"/>
              <a:gd name="connsiteY38" fmla="*/ 6591713 h 6858000"/>
              <a:gd name="connsiteX39" fmla="*/ 874677 w 8112124"/>
              <a:gd name="connsiteY39" fmla="*/ 6633454 h 6858000"/>
              <a:gd name="connsiteX40" fmla="*/ 877538 w 8112124"/>
              <a:gd name="connsiteY40" fmla="*/ 6635587 h 6858000"/>
              <a:gd name="connsiteX41" fmla="*/ 1009888 w 8112124"/>
              <a:gd name="connsiteY41" fmla="*/ 6635587 h 6858000"/>
              <a:gd name="connsiteX42" fmla="*/ 1012126 w 8112124"/>
              <a:gd name="connsiteY42" fmla="*/ 6633359 h 6858000"/>
              <a:gd name="connsiteX43" fmla="*/ 1012126 w 8112124"/>
              <a:gd name="connsiteY43" fmla="*/ 6558121 h 6858000"/>
              <a:gd name="connsiteX44" fmla="*/ 1013678 w 8112124"/>
              <a:gd name="connsiteY44" fmla="*/ 6554289 h 6858000"/>
              <a:gd name="connsiteX45" fmla="*/ 1042910 w 8112124"/>
              <a:gd name="connsiteY45" fmla="*/ 6524182 h 6858000"/>
              <a:gd name="connsiteX46" fmla="*/ 1045264 w 8112124"/>
              <a:gd name="connsiteY46" fmla="*/ 6523986 h 6858000"/>
              <a:gd name="connsiteX47" fmla="*/ 1045655 w 8112124"/>
              <a:gd name="connsiteY47" fmla="*/ 6524467 h 6858000"/>
              <a:gd name="connsiteX48" fmla="*/ 1114041 w 8112124"/>
              <a:gd name="connsiteY48" fmla="*/ 6633698 h 6858000"/>
              <a:gd name="connsiteX49" fmla="*/ 1117542 w 8112124"/>
              <a:gd name="connsiteY49" fmla="*/ 6635587 h 6858000"/>
              <a:gd name="connsiteX50" fmla="*/ 1214827 w 8112124"/>
              <a:gd name="connsiteY50" fmla="*/ 6635587 h 6858000"/>
              <a:gd name="connsiteX51" fmla="*/ 1215840 w 8112124"/>
              <a:gd name="connsiteY51" fmla="*/ 6633718 h 6858000"/>
              <a:gd name="connsiteX52" fmla="*/ 1106842 w 8112124"/>
              <a:gd name="connsiteY52" fmla="*/ 6465760 h 6858000"/>
              <a:gd name="connsiteX53" fmla="*/ 1107148 w 8112124"/>
              <a:gd name="connsiteY53" fmla="*/ 6462277 h 6858000"/>
              <a:gd name="connsiteX54" fmla="*/ 1207532 w 8112124"/>
              <a:gd name="connsiteY54" fmla="*/ 6354102 h 6858000"/>
              <a:gd name="connsiteX55" fmla="*/ 1206825 w 8112124"/>
              <a:gd name="connsiteY55" fmla="*/ 6352465 h 6858000"/>
              <a:gd name="connsiteX56" fmla="*/ 1109766 w 8112124"/>
              <a:gd name="connsiteY56" fmla="*/ 6352465 h 6858000"/>
              <a:gd name="connsiteX57" fmla="*/ 1106092 w 8112124"/>
              <a:gd name="connsiteY57" fmla="*/ 6354165 h 6858000"/>
              <a:gd name="connsiteX58" fmla="*/ 1013573 w 8112124"/>
              <a:gd name="connsiteY58" fmla="*/ 6461812 h 6858000"/>
              <a:gd name="connsiteX59" fmla="*/ 1012126 w 8112124"/>
              <a:gd name="connsiteY59" fmla="*/ 6461263 h 6858000"/>
              <a:gd name="connsiteX60" fmla="*/ 1012126 w 8112124"/>
              <a:gd name="connsiteY60" fmla="*/ 6354693 h 6858000"/>
              <a:gd name="connsiteX61" fmla="*/ 1009888 w 8112124"/>
              <a:gd name="connsiteY61" fmla="*/ 6352465 h 6858000"/>
              <a:gd name="connsiteX62" fmla="*/ 938134 w 8112124"/>
              <a:gd name="connsiteY62" fmla="*/ 6352465 h 6858000"/>
              <a:gd name="connsiteX63" fmla="*/ 935917 w 8112124"/>
              <a:gd name="connsiteY63" fmla="*/ 6354693 h 6858000"/>
              <a:gd name="connsiteX64" fmla="*/ 935917 w 8112124"/>
              <a:gd name="connsiteY64" fmla="*/ 6531687 h 6858000"/>
              <a:gd name="connsiteX65" fmla="*/ 954581 w 8112124"/>
              <a:gd name="connsiteY65" fmla="*/ 6580597 h 6858000"/>
              <a:gd name="connsiteX66" fmla="*/ 932169 w 8112124"/>
              <a:gd name="connsiteY66" fmla="*/ 6622233 h 6858000"/>
              <a:gd name="connsiteX67" fmla="*/ 909641 w 8112124"/>
              <a:gd name="connsiteY67" fmla="*/ 6578211 h 6858000"/>
              <a:gd name="connsiteX68" fmla="*/ 909641 w 8112124"/>
              <a:gd name="connsiteY68" fmla="*/ 6499616 h 6858000"/>
              <a:gd name="connsiteX69" fmla="*/ 859391 w 8112124"/>
              <a:gd name="connsiteY69" fmla="*/ 6354587 h 6858000"/>
              <a:gd name="connsiteX70" fmla="*/ 856435 w 8112124"/>
              <a:gd name="connsiteY70" fmla="*/ 6352465 h 6858000"/>
              <a:gd name="connsiteX71" fmla="*/ 767716 w 8112124"/>
              <a:gd name="connsiteY71" fmla="*/ 6352465 h 6858000"/>
              <a:gd name="connsiteX72" fmla="*/ 764760 w 8112124"/>
              <a:gd name="connsiteY72" fmla="*/ 6354577 h 6858000"/>
              <a:gd name="connsiteX73" fmla="*/ 700543 w 8112124"/>
              <a:gd name="connsiteY73" fmla="*/ 6537684 h 6858000"/>
              <a:gd name="connsiteX74" fmla="*/ 699087 w 8112124"/>
              <a:gd name="connsiteY74" fmla="*/ 6537684 h 6858000"/>
              <a:gd name="connsiteX75" fmla="*/ 635482 w 8112124"/>
              <a:gd name="connsiteY75" fmla="*/ 6354587 h 6858000"/>
              <a:gd name="connsiteX76" fmla="*/ 632526 w 8112124"/>
              <a:gd name="connsiteY76" fmla="*/ 6352465 h 6858000"/>
              <a:gd name="connsiteX77" fmla="*/ 0 w 8112124"/>
              <a:gd name="connsiteY77" fmla="*/ 0 h 6858000"/>
              <a:gd name="connsiteX78" fmla="*/ 14393 w 8112124"/>
              <a:gd name="connsiteY78" fmla="*/ 0 h 6858000"/>
              <a:gd name="connsiteX79" fmla="*/ 7188731 w 8112124"/>
              <a:gd name="connsiteY79" fmla="*/ 0 h 6858000"/>
              <a:gd name="connsiteX80" fmla="*/ 7760334 w 8112124"/>
              <a:gd name="connsiteY80" fmla="*/ 3448050 h 6858000"/>
              <a:gd name="connsiteX81" fmla="*/ 7722227 w 8112124"/>
              <a:gd name="connsiteY81" fmla="*/ 6858000 h 6858000"/>
              <a:gd name="connsiteX82" fmla="*/ 0 w 8112124"/>
              <a:gd name="connsiteY8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8112124" h="6858000">
                <a:moveTo>
                  <a:pt x="811590" y="6423839"/>
                </a:moveTo>
                <a:cubicBezTo>
                  <a:pt x="811780" y="6423840"/>
                  <a:pt x="812212" y="6424811"/>
                  <a:pt x="812551" y="6425983"/>
                </a:cubicBezTo>
                <a:lnTo>
                  <a:pt x="842986" y="6528784"/>
                </a:lnTo>
                <a:cubicBezTo>
                  <a:pt x="843296" y="6529592"/>
                  <a:pt x="842892" y="6530499"/>
                  <a:pt x="842084" y="6530809"/>
                </a:cubicBezTo>
                <a:cubicBezTo>
                  <a:pt x="841860" y="6530894"/>
                  <a:pt x="841620" y="6530928"/>
                  <a:pt x="841381" y="6530906"/>
                </a:cubicBezTo>
                <a:lnTo>
                  <a:pt x="781809" y="6530906"/>
                </a:lnTo>
                <a:cubicBezTo>
                  <a:pt x="780943" y="6530979"/>
                  <a:pt x="780182" y="6530335"/>
                  <a:pt x="780110" y="6529469"/>
                </a:cubicBezTo>
                <a:cubicBezTo>
                  <a:pt x="780090" y="6529236"/>
                  <a:pt x="780123" y="6529003"/>
                  <a:pt x="780204" y="6528784"/>
                </a:cubicBezTo>
                <a:lnTo>
                  <a:pt x="810640" y="6425983"/>
                </a:lnTo>
                <a:cubicBezTo>
                  <a:pt x="810784" y="6425203"/>
                  <a:pt x="811109" y="6424469"/>
                  <a:pt x="811590" y="6423839"/>
                </a:cubicBezTo>
                <a:close/>
                <a:moveTo>
                  <a:pt x="587692" y="6423839"/>
                </a:moveTo>
                <a:cubicBezTo>
                  <a:pt x="588172" y="6424469"/>
                  <a:pt x="588498" y="6425203"/>
                  <a:pt x="588641" y="6425983"/>
                </a:cubicBezTo>
                <a:lnTo>
                  <a:pt x="619077" y="6528784"/>
                </a:lnTo>
                <a:cubicBezTo>
                  <a:pt x="619392" y="6529585"/>
                  <a:pt x="618999" y="6530489"/>
                  <a:pt x="618198" y="6530804"/>
                </a:cubicBezTo>
                <a:cubicBezTo>
                  <a:pt x="617971" y="6530894"/>
                  <a:pt x="617726" y="6530929"/>
                  <a:pt x="617483" y="6530906"/>
                </a:cubicBezTo>
                <a:lnTo>
                  <a:pt x="557911" y="6530906"/>
                </a:lnTo>
                <a:cubicBezTo>
                  <a:pt x="557047" y="6530981"/>
                  <a:pt x="556285" y="6530342"/>
                  <a:pt x="556210" y="6529478"/>
                </a:cubicBezTo>
                <a:cubicBezTo>
                  <a:pt x="556189" y="6529243"/>
                  <a:pt x="556222" y="6529005"/>
                  <a:pt x="556306" y="6528784"/>
                </a:cubicBezTo>
                <a:lnTo>
                  <a:pt x="586752" y="6425983"/>
                </a:lnTo>
                <a:cubicBezTo>
                  <a:pt x="586899" y="6425207"/>
                  <a:pt x="587220" y="6424474"/>
                  <a:pt x="587692" y="6423839"/>
                </a:cubicBezTo>
                <a:close/>
                <a:moveTo>
                  <a:pt x="543817" y="6352465"/>
                </a:moveTo>
                <a:cubicBezTo>
                  <a:pt x="542502" y="6352525"/>
                  <a:pt x="541345" y="6353352"/>
                  <a:pt x="540861" y="6354577"/>
                </a:cubicBezTo>
                <a:lnTo>
                  <a:pt x="443053" y="6633486"/>
                </a:lnTo>
                <a:cubicBezTo>
                  <a:pt x="442706" y="6634227"/>
                  <a:pt x="443026" y="6635108"/>
                  <a:pt x="443767" y="6635455"/>
                </a:cubicBezTo>
                <a:cubicBezTo>
                  <a:pt x="444008" y="6635568"/>
                  <a:pt x="444276" y="6635614"/>
                  <a:pt x="444542" y="6635587"/>
                </a:cubicBezTo>
                <a:lnTo>
                  <a:pt x="521743" y="6635587"/>
                </a:lnTo>
                <a:cubicBezTo>
                  <a:pt x="523044" y="6635530"/>
                  <a:pt x="524178" y="6634685"/>
                  <a:pt x="524604" y="6633454"/>
                </a:cubicBezTo>
                <a:lnTo>
                  <a:pt x="537103" y="6591713"/>
                </a:lnTo>
                <a:cubicBezTo>
                  <a:pt x="537531" y="6590480"/>
                  <a:pt x="538670" y="6589634"/>
                  <a:pt x="539975" y="6589581"/>
                </a:cubicBezTo>
                <a:lnTo>
                  <a:pt x="635418" y="6589581"/>
                </a:lnTo>
                <a:cubicBezTo>
                  <a:pt x="636718" y="6589641"/>
                  <a:pt x="637850" y="6590485"/>
                  <a:pt x="638279" y="6591713"/>
                </a:cubicBezTo>
                <a:lnTo>
                  <a:pt x="650789" y="6633454"/>
                </a:lnTo>
                <a:cubicBezTo>
                  <a:pt x="651218" y="6634683"/>
                  <a:pt x="652351" y="6635527"/>
                  <a:pt x="653650" y="6635587"/>
                </a:cubicBezTo>
                <a:lnTo>
                  <a:pt x="745642" y="6635587"/>
                </a:lnTo>
                <a:cubicBezTo>
                  <a:pt x="746942" y="6635530"/>
                  <a:pt x="748076" y="6634685"/>
                  <a:pt x="748502" y="6633454"/>
                </a:cubicBezTo>
                <a:lnTo>
                  <a:pt x="761012" y="6591713"/>
                </a:lnTo>
                <a:cubicBezTo>
                  <a:pt x="761433" y="6590479"/>
                  <a:pt x="762570" y="6589631"/>
                  <a:pt x="763873" y="6589581"/>
                </a:cubicBezTo>
                <a:lnTo>
                  <a:pt x="859328" y="6589581"/>
                </a:lnTo>
                <a:cubicBezTo>
                  <a:pt x="860627" y="6589641"/>
                  <a:pt x="861759" y="6590485"/>
                  <a:pt x="862188" y="6591713"/>
                </a:cubicBezTo>
                <a:lnTo>
                  <a:pt x="874677" y="6633454"/>
                </a:lnTo>
                <a:cubicBezTo>
                  <a:pt x="875109" y="6634681"/>
                  <a:pt x="876240" y="6635524"/>
                  <a:pt x="877538" y="6635587"/>
                </a:cubicBezTo>
                <a:lnTo>
                  <a:pt x="1009888" y="6635587"/>
                </a:lnTo>
                <a:cubicBezTo>
                  <a:pt x="1011119" y="6635584"/>
                  <a:pt x="1012117" y="6634590"/>
                  <a:pt x="1012126" y="6633359"/>
                </a:cubicBezTo>
                <a:lnTo>
                  <a:pt x="1012126" y="6558121"/>
                </a:lnTo>
                <a:cubicBezTo>
                  <a:pt x="1012196" y="6556706"/>
                  <a:pt x="1012743" y="6555355"/>
                  <a:pt x="1013678" y="6554289"/>
                </a:cubicBezTo>
                <a:lnTo>
                  <a:pt x="1042910" y="6524182"/>
                </a:lnTo>
                <a:cubicBezTo>
                  <a:pt x="1043506" y="6523478"/>
                  <a:pt x="1044560" y="6523390"/>
                  <a:pt x="1045264" y="6523986"/>
                </a:cubicBezTo>
                <a:cubicBezTo>
                  <a:pt x="1045423" y="6524121"/>
                  <a:pt x="1045555" y="6524284"/>
                  <a:pt x="1045655" y="6524467"/>
                </a:cubicBezTo>
                <a:lnTo>
                  <a:pt x="1114041" y="6633698"/>
                </a:lnTo>
                <a:cubicBezTo>
                  <a:pt x="1114797" y="6634897"/>
                  <a:pt x="1116125" y="6635613"/>
                  <a:pt x="1117542" y="6635587"/>
                </a:cubicBezTo>
                <a:lnTo>
                  <a:pt x="1214827" y="6635587"/>
                </a:lnTo>
                <a:cubicBezTo>
                  <a:pt x="1216062" y="6635587"/>
                  <a:pt x="1216516" y="6634743"/>
                  <a:pt x="1215840" y="6633718"/>
                </a:cubicBezTo>
                <a:lnTo>
                  <a:pt x="1106842" y="6465760"/>
                </a:lnTo>
                <a:cubicBezTo>
                  <a:pt x="1106172" y="6464657"/>
                  <a:pt x="1106296" y="6463247"/>
                  <a:pt x="1107148" y="6462277"/>
                </a:cubicBezTo>
                <a:lnTo>
                  <a:pt x="1207532" y="6354102"/>
                </a:lnTo>
                <a:cubicBezTo>
                  <a:pt x="1208366" y="6353204"/>
                  <a:pt x="1208049" y="6352465"/>
                  <a:pt x="1206825" y="6352465"/>
                </a:cubicBezTo>
                <a:lnTo>
                  <a:pt x="1109766" y="6352465"/>
                </a:lnTo>
                <a:cubicBezTo>
                  <a:pt x="1108370" y="6352546"/>
                  <a:pt x="1107057" y="6353153"/>
                  <a:pt x="1106092" y="6354165"/>
                </a:cubicBezTo>
                <a:lnTo>
                  <a:pt x="1013573" y="6461812"/>
                </a:lnTo>
                <a:cubicBezTo>
                  <a:pt x="1012770" y="6462741"/>
                  <a:pt x="1012126" y="6462488"/>
                  <a:pt x="1012126" y="6461263"/>
                </a:cubicBezTo>
                <a:lnTo>
                  <a:pt x="1012126" y="6354693"/>
                </a:lnTo>
                <a:cubicBezTo>
                  <a:pt x="1012117" y="6353462"/>
                  <a:pt x="1011119" y="6352468"/>
                  <a:pt x="1009888" y="6352465"/>
                </a:cubicBezTo>
                <a:lnTo>
                  <a:pt x="938134" y="6352465"/>
                </a:lnTo>
                <a:cubicBezTo>
                  <a:pt x="936911" y="6352478"/>
                  <a:pt x="935923" y="6353469"/>
                  <a:pt x="935917" y="6354693"/>
                </a:cubicBezTo>
                <a:lnTo>
                  <a:pt x="935917" y="6531687"/>
                </a:lnTo>
                <a:cubicBezTo>
                  <a:pt x="935526" y="6564445"/>
                  <a:pt x="942853" y="6560317"/>
                  <a:pt x="954581" y="6580597"/>
                </a:cubicBezTo>
                <a:cubicBezTo>
                  <a:pt x="964198" y="6597192"/>
                  <a:pt x="955996" y="6620596"/>
                  <a:pt x="932169" y="6622233"/>
                </a:cubicBezTo>
                <a:cubicBezTo>
                  <a:pt x="912291" y="6623605"/>
                  <a:pt x="894798" y="6600940"/>
                  <a:pt x="909641" y="6578211"/>
                </a:cubicBezTo>
                <a:cubicBezTo>
                  <a:pt x="925318" y="6554247"/>
                  <a:pt x="931895" y="6565342"/>
                  <a:pt x="909641" y="6499616"/>
                </a:cubicBezTo>
                <a:lnTo>
                  <a:pt x="859391" y="6354587"/>
                </a:lnTo>
                <a:cubicBezTo>
                  <a:pt x="858913" y="6353357"/>
                  <a:pt x="857754" y="6352525"/>
                  <a:pt x="856435" y="6352465"/>
                </a:cubicBezTo>
                <a:lnTo>
                  <a:pt x="767716" y="6352465"/>
                </a:lnTo>
                <a:cubicBezTo>
                  <a:pt x="766401" y="6352525"/>
                  <a:pt x="765243" y="6353352"/>
                  <a:pt x="764760" y="6354577"/>
                </a:cubicBezTo>
                <a:lnTo>
                  <a:pt x="700543" y="6537684"/>
                </a:lnTo>
                <a:cubicBezTo>
                  <a:pt x="700132" y="6538845"/>
                  <a:pt x="699477" y="6538845"/>
                  <a:pt x="699087" y="6537684"/>
                </a:cubicBezTo>
                <a:lnTo>
                  <a:pt x="635482" y="6354587"/>
                </a:lnTo>
                <a:cubicBezTo>
                  <a:pt x="635004" y="6353357"/>
                  <a:pt x="633844" y="6352525"/>
                  <a:pt x="632526" y="6352465"/>
                </a:cubicBezTo>
                <a:close/>
                <a:moveTo>
                  <a:pt x="0" y="0"/>
                </a:moveTo>
                <a:lnTo>
                  <a:pt x="14393" y="0"/>
                </a:lnTo>
                <a:cubicBezTo>
                  <a:pt x="680054" y="0"/>
                  <a:pt x="2455148" y="0"/>
                  <a:pt x="7188731" y="0"/>
                </a:cubicBezTo>
                <a:cubicBezTo>
                  <a:pt x="7017250" y="671513"/>
                  <a:pt x="7007724" y="1771650"/>
                  <a:pt x="7760334" y="3448050"/>
                </a:cubicBezTo>
                <a:cubicBezTo>
                  <a:pt x="8465310" y="5024438"/>
                  <a:pt x="7927051" y="6419850"/>
                  <a:pt x="7722227" y="6858000"/>
                </a:cubicBezTo>
                <a:lnTo>
                  <a:pt x="0" y="6858000"/>
                </a:ln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endParaRPr lang="en-US" dirty="0"/>
          </a:p>
        </p:txBody>
      </p:sp>
      <p:sp>
        <p:nvSpPr>
          <p:cNvPr id="2" name="Date Placeholder 19">
            <a:extLst>
              <a:ext uri="{FF2B5EF4-FFF2-40B4-BE49-F238E27FC236}">
                <a16:creationId xmlns:a16="http://schemas.microsoft.com/office/drawing/2014/main" id="{84DDF498-B58A-9316-237B-1F504E18932C}"/>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5" name="Slide Number Placeholder 20">
            <a:extLst>
              <a:ext uri="{FF2B5EF4-FFF2-40B4-BE49-F238E27FC236}">
                <a16:creationId xmlns:a16="http://schemas.microsoft.com/office/drawing/2014/main" id="{3DC4ECD2-BB7D-B6B3-42AB-889011985EB2}"/>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E13442D1-3EDB-628E-F4DA-4BE92C16403E}"/>
              </a:ext>
            </a:extLst>
          </p:cNvPr>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2250072112"/>
      </p:ext>
    </p:extLst>
  </p:cSld>
  <p:clrMapOvr>
    <a:masterClrMapping/>
  </p:clrMapOvr>
  <p:extLst>
    <p:ext uri="{DCECCB84-F9BA-43D5-87BE-67443E8EF086}">
      <p15:sldGuideLst xmlns:p15="http://schemas.microsoft.com/office/powerpoint/2012/main">
        <p15:guide id="1" pos="53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Big picture left_Blue logo">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7F1509F-92B9-45AD-971F-5B782C8B2183}"/>
              </a:ext>
            </a:extLst>
          </p:cNvPr>
          <p:cNvSpPr/>
          <p:nvPr userDrawn="1"/>
        </p:nvSpPr>
        <p:spPr>
          <a:xfrm>
            <a:off x="0" y="6308725"/>
            <a:ext cx="1279525" cy="549275"/>
          </a:xfrm>
          <a:prstGeom prst="rect">
            <a:avLst/>
          </a:prstGeom>
          <a:solidFill>
            <a:srgbClr val="2067CA"/>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10" name="Picture Placeholder 9">
            <a:extLst>
              <a:ext uri="{FF2B5EF4-FFF2-40B4-BE49-F238E27FC236}">
                <a16:creationId xmlns:a16="http://schemas.microsoft.com/office/drawing/2014/main" id="{0695726F-C554-4189-8B3E-40D9DBA4BD90}"/>
              </a:ext>
            </a:extLst>
          </p:cNvPr>
          <p:cNvSpPr>
            <a:spLocks noGrp="1"/>
          </p:cNvSpPr>
          <p:nvPr>
            <p:ph type="pic" sz="quarter" idx="14"/>
          </p:nvPr>
        </p:nvSpPr>
        <p:spPr>
          <a:xfrm>
            <a:off x="0" y="0"/>
            <a:ext cx="8112124" cy="6858000"/>
          </a:xfrm>
          <a:custGeom>
            <a:avLst/>
            <a:gdLst>
              <a:gd name="connsiteX0" fmla="*/ 811590 w 8112124"/>
              <a:gd name="connsiteY0" fmla="*/ 6423839 h 6858000"/>
              <a:gd name="connsiteX1" fmla="*/ 812551 w 8112124"/>
              <a:gd name="connsiteY1" fmla="*/ 6425983 h 6858000"/>
              <a:gd name="connsiteX2" fmla="*/ 842986 w 8112124"/>
              <a:gd name="connsiteY2" fmla="*/ 6528784 h 6858000"/>
              <a:gd name="connsiteX3" fmla="*/ 842084 w 8112124"/>
              <a:gd name="connsiteY3" fmla="*/ 6530809 h 6858000"/>
              <a:gd name="connsiteX4" fmla="*/ 841381 w 8112124"/>
              <a:gd name="connsiteY4" fmla="*/ 6530906 h 6858000"/>
              <a:gd name="connsiteX5" fmla="*/ 781809 w 8112124"/>
              <a:gd name="connsiteY5" fmla="*/ 6530906 h 6858000"/>
              <a:gd name="connsiteX6" fmla="*/ 780110 w 8112124"/>
              <a:gd name="connsiteY6" fmla="*/ 6529469 h 6858000"/>
              <a:gd name="connsiteX7" fmla="*/ 780204 w 8112124"/>
              <a:gd name="connsiteY7" fmla="*/ 6528784 h 6858000"/>
              <a:gd name="connsiteX8" fmla="*/ 810640 w 8112124"/>
              <a:gd name="connsiteY8" fmla="*/ 6425983 h 6858000"/>
              <a:gd name="connsiteX9" fmla="*/ 811590 w 8112124"/>
              <a:gd name="connsiteY9" fmla="*/ 6423839 h 6858000"/>
              <a:gd name="connsiteX10" fmla="*/ 587692 w 8112124"/>
              <a:gd name="connsiteY10" fmla="*/ 6423839 h 6858000"/>
              <a:gd name="connsiteX11" fmla="*/ 588641 w 8112124"/>
              <a:gd name="connsiteY11" fmla="*/ 6425983 h 6858000"/>
              <a:gd name="connsiteX12" fmla="*/ 619077 w 8112124"/>
              <a:gd name="connsiteY12" fmla="*/ 6528784 h 6858000"/>
              <a:gd name="connsiteX13" fmla="*/ 618198 w 8112124"/>
              <a:gd name="connsiteY13" fmla="*/ 6530804 h 6858000"/>
              <a:gd name="connsiteX14" fmla="*/ 617483 w 8112124"/>
              <a:gd name="connsiteY14" fmla="*/ 6530906 h 6858000"/>
              <a:gd name="connsiteX15" fmla="*/ 557911 w 8112124"/>
              <a:gd name="connsiteY15" fmla="*/ 6530906 h 6858000"/>
              <a:gd name="connsiteX16" fmla="*/ 556210 w 8112124"/>
              <a:gd name="connsiteY16" fmla="*/ 6529478 h 6858000"/>
              <a:gd name="connsiteX17" fmla="*/ 556306 w 8112124"/>
              <a:gd name="connsiteY17" fmla="*/ 6528784 h 6858000"/>
              <a:gd name="connsiteX18" fmla="*/ 586752 w 8112124"/>
              <a:gd name="connsiteY18" fmla="*/ 6425983 h 6858000"/>
              <a:gd name="connsiteX19" fmla="*/ 587692 w 8112124"/>
              <a:gd name="connsiteY19" fmla="*/ 6423839 h 6858000"/>
              <a:gd name="connsiteX20" fmla="*/ 543817 w 8112124"/>
              <a:gd name="connsiteY20" fmla="*/ 6352465 h 6858000"/>
              <a:gd name="connsiteX21" fmla="*/ 540861 w 8112124"/>
              <a:gd name="connsiteY21" fmla="*/ 6354577 h 6858000"/>
              <a:gd name="connsiteX22" fmla="*/ 443053 w 8112124"/>
              <a:gd name="connsiteY22" fmla="*/ 6633486 h 6858000"/>
              <a:gd name="connsiteX23" fmla="*/ 443767 w 8112124"/>
              <a:gd name="connsiteY23" fmla="*/ 6635455 h 6858000"/>
              <a:gd name="connsiteX24" fmla="*/ 444542 w 8112124"/>
              <a:gd name="connsiteY24" fmla="*/ 6635587 h 6858000"/>
              <a:gd name="connsiteX25" fmla="*/ 521743 w 8112124"/>
              <a:gd name="connsiteY25" fmla="*/ 6635587 h 6858000"/>
              <a:gd name="connsiteX26" fmla="*/ 524604 w 8112124"/>
              <a:gd name="connsiteY26" fmla="*/ 6633454 h 6858000"/>
              <a:gd name="connsiteX27" fmla="*/ 537103 w 8112124"/>
              <a:gd name="connsiteY27" fmla="*/ 6591713 h 6858000"/>
              <a:gd name="connsiteX28" fmla="*/ 539975 w 8112124"/>
              <a:gd name="connsiteY28" fmla="*/ 6589581 h 6858000"/>
              <a:gd name="connsiteX29" fmla="*/ 635418 w 8112124"/>
              <a:gd name="connsiteY29" fmla="*/ 6589581 h 6858000"/>
              <a:gd name="connsiteX30" fmla="*/ 638279 w 8112124"/>
              <a:gd name="connsiteY30" fmla="*/ 6591713 h 6858000"/>
              <a:gd name="connsiteX31" fmla="*/ 650789 w 8112124"/>
              <a:gd name="connsiteY31" fmla="*/ 6633454 h 6858000"/>
              <a:gd name="connsiteX32" fmla="*/ 653650 w 8112124"/>
              <a:gd name="connsiteY32" fmla="*/ 6635587 h 6858000"/>
              <a:gd name="connsiteX33" fmla="*/ 745642 w 8112124"/>
              <a:gd name="connsiteY33" fmla="*/ 6635587 h 6858000"/>
              <a:gd name="connsiteX34" fmla="*/ 748502 w 8112124"/>
              <a:gd name="connsiteY34" fmla="*/ 6633454 h 6858000"/>
              <a:gd name="connsiteX35" fmla="*/ 761012 w 8112124"/>
              <a:gd name="connsiteY35" fmla="*/ 6591713 h 6858000"/>
              <a:gd name="connsiteX36" fmla="*/ 763873 w 8112124"/>
              <a:gd name="connsiteY36" fmla="*/ 6589581 h 6858000"/>
              <a:gd name="connsiteX37" fmla="*/ 859328 w 8112124"/>
              <a:gd name="connsiteY37" fmla="*/ 6589581 h 6858000"/>
              <a:gd name="connsiteX38" fmla="*/ 862188 w 8112124"/>
              <a:gd name="connsiteY38" fmla="*/ 6591713 h 6858000"/>
              <a:gd name="connsiteX39" fmla="*/ 874677 w 8112124"/>
              <a:gd name="connsiteY39" fmla="*/ 6633454 h 6858000"/>
              <a:gd name="connsiteX40" fmla="*/ 877538 w 8112124"/>
              <a:gd name="connsiteY40" fmla="*/ 6635587 h 6858000"/>
              <a:gd name="connsiteX41" fmla="*/ 1009888 w 8112124"/>
              <a:gd name="connsiteY41" fmla="*/ 6635587 h 6858000"/>
              <a:gd name="connsiteX42" fmla="*/ 1012126 w 8112124"/>
              <a:gd name="connsiteY42" fmla="*/ 6633359 h 6858000"/>
              <a:gd name="connsiteX43" fmla="*/ 1012126 w 8112124"/>
              <a:gd name="connsiteY43" fmla="*/ 6558121 h 6858000"/>
              <a:gd name="connsiteX44" fmla="*/ 1013678 w 8112124"/>
              <a:gd name="connsiteY44" fmla="*/ 6554289 h 6858000"/>
              <a:gd name="connsiteX45" fmla="*/ 1042910 w 8112124"/>
              <a:gd name="connsiteY45" fmla="*/ 6524182 h 6858000"/>
              <a:gd name="connsiteX46" fmla="*/ 1045264 w 8112124"/>
              <a:gd name="connsiteY46" fmla="*/ 6523986 h 6858000"/>
              <a:gd name="connsiteX47" fmla="*/ 1045655 w 8112124"/>
              <a:gd name="connsiteY47" fmla="*/ 6524467 h 6858000"/>
              <a:gd name="connsiteX48" fmla="*/ 1114041 w 8112124"/>
              <a:gd name="connsiteY48" fmla="*/ 6633698 h 6858000"/>
              <a:gd name="connsiteX49" fmla="*/ 1117542 w 8112124"/>
              <a:gd name="connsiteY49" fmla="*/ 6635587 h 6858000"/>
              <a:gd name="connsiteX50" fmla="*/ 1214827 w 8112124"/>
              <a:gd name="connsiteY50" fmla="*/ 6635587 h 6858000"/>
              <a:gd name="connsiteX51" fmla="*/ 1215840 w 8112124"/>
              <a:gd name="connsiteY51" fmla="*/ 6633718 h 6858000"/>
              <a:gd name="connsiteX52" fmla="*/ 1106842 w 8112124"/>
              <a:gd name="connsiteY52" fmla="*/ 6465760 h 6858000"/>
              <a:gd name="connsiteX53" fmla="*/ 1107148 w 8112124"/>
              <a:gd name="connsiteY53" fmla="*/ 6462277 h 6858000"/>
              <a:gd name="connsiteX54" fmla="*/ 1207532 w 8112124"/>
              <a:gd name="connsiteY54" fmla="*/ 6354102 h 6858000"/>
              <a:gd name="connsiteX55" fmla="*/ 1206825 w 8112124"/>
              <a:gd name="connsiteY55" fmla="*/ 6352465 h 6858000"/>
              <a:gd name="connsiteX56" fmla="*/ 1109766 w 8112124"/>
              <a:gd name="connsiteY56" fmla="*/ 6352465 h 6858000"/>
              <a:gd name="connsiteX57" fmla="*/ 1106092 w 8112124"/>
              <a:gd name="connsiteY57" fmla="*/ 6354165 h 6858000"/>
              <a:gd name="connsiteX58" fmla="*/ 1013573 w 8112124"/>
              <a:gd name="connsiteY58" fmla="*/ 6461812 h 6858000"/>
              <a:gd name="connsiteX59" fmla="*/ 1012126 w 8112124"/>
              <a:gd name="connsiteY59" fmla="*/ 6461263 h 6858000"/>
              <a:gd name="connsiteX60" fmla="*/ 1012126 w 8112124"/>
              <a:gd name="connsiteY60" fmla="*/ 6354693 h 6858000"/>
              <a:gd name="connsiteX61" fmla="*/ 1009888 w 8112124"/>
              <a:gd name="connsiteY61" fmla="*/ 6352465 h 6858000"/>
              <a:gd name="connsiteX62" fmla="*/ 938134 w 8112124"/>
              <a:gd name="connsiteY62" fmla="*/ 6352465 h 6858000"/>
              <a:gd name="connsiteX63" fmla="*/ 935917 w 8112124"/>
              <a:gd name="connsiteY63" fmla="*/ 6354693 h 6858000"/>
              <a:gd name="connsiteX64" fmla="*/ 935917 w 8112124"/>
              <a:gd name="connsiteY64" fmla="*/ 6531687 h 6858000"/>
              <a:gd name="connsiteX65" fmla="*/ 954581 w 8112124"/>
              <a:gd name="connsiteY65" fmla="*/ 6580597 h 6858000"/>
              <a:gd name="connsiteX66" fmla="*/ 932169 w 8112124"/>
              <a:gd name="connsiteY66" fmla="*/ 6622233 h 6858000"/>
              <a:gd name="connsiteX67" fmla="*/ 909641 w 8112124"/>
              <a:gd name="connsiteY67" fmla="*/ 6578211 h 6858000"/>
              <a:gd name="connsiteX68" fmla="*/ 909641 w 8112124"/>
              <a:gd name="connsiteY68" fmla="*/ 6499616 h 6858000"/>
              <a:gd name="connsiteX69" fmla="*/ 859391 w 8112124"/>
              <a:gd name="connsiteY69" fmla="*/ 6354587 h 6858000"/>
              <a:gd name="connsiteX70" fmla="*/ 856435 w 8112124"/>
              <a:gd name="connsiteY70" fmla="*/ 6352465 h 6858000"/>
              <a:gd name="connsiteX71" fmla="*/ 767716 w 8112124"/>
              <a:gd name="connsiteY71" fmla="*/ 6352465 h 6858000"/>
              <a:gd name="connsiteX72" fmla="*/ 764760 w 8112124"/>
              <a:gd name="connsiteY72" fmla="*/ 6354577 h 6858000"/>
              <a:gd name="connsiteX73" fmla="*/ 700543 w 8112124"/>
              <a:gd name="connsiteY73" fmla="*/ 6537684 h 6858000"/>
              <a:gd name="connsiteX74" fmla="*/ 699087 w 8112124"/>
              <a:gd name="connsiteY74" fmla="*/ 6537684 h 6858000"/>
              <a:gd name="connsiteX75" fmla="*/ 635482 w 8112124"/>
              <a:gd name="connsiteY75" fmla="*/ 6354587 h 6858000"/>
              <a:gd name="connsiteX76" fmla="*/ 632526 w 8112124"/>
              <a:gd name="connsiteY76" fmla="*/ 6352465 h 6858000"/>
              <a:gd name="connsiteX77" fmla="*/ 0 w 8112124"/>
              <a:gd name="connsiteY77" fmla="*/ 0 h 6858000"/>
              <a:gd name="connsiteX78" fmla="*/ 14393 w 8112124"/>
              <a:gd name="connsiteY78" fmla="*/ 0 h 6858000"/>
              <a:gd name="connsiteX79" fmla="*/ 7188731 w 8112124"/>
              <a:gd name="connsiteY79" fmla="*/ 0 h 6858000"/>
              <a:gd name="connsiteX80" fmla="*/ 7760334 w 8112124"/>
              <a:gd name="connsiteY80" fmla="*/ 3448050 h 6858000"/>
              <a:gd name="connsiteX81" fmla="*/ 7722227 w 8112124"/>
              <a:gd name="connsiteY81" fmla="*/ 6858000 h 6858000"/>
              <a:gd name="connsiteX82" fmla="*/ 0 w 8112124"/>
              <a:gd name="connsiteY8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8112124" h="6858000">
                <a:moveTo>
                  <a:pt x="811590" y="6423839"/>
                </a:moveTo>
                <a:cubicBezTo>
                  <a:pt x="811780" y="6423840"/>
                  <a:pt x="812212" y="6424811"/>
                  <a:pt x="812551" y="6425983"/>
                </a:cubicBezTo>
                <a:lnTo>
                  <a:pt x="842986" y="6528784"/>
                </a:lnTo>
                <a:cubicBezTo>
                  <a:pt x="843296" y="6529592"/>
                  <a:pt x="842892" y="6530499"/>
                  <a:pt x="842084" y="6530809"/>
                </a:cubicBezTo>
                <a:cubicBezTo>
                  <a:pt x="841860" y="6530894"/>
                  <a:pt x="841620" y="6530928"/>
                  <a:pt x="841381" y="6530906"/>
                </a:cubicBezTo>
                <a:lnTo>
                  <a:pt x="781809" y="6530906"/>
                </a:lnTo>
                <a:cubicBezTo>
                  <a:pt x="780943" y="6530979"/>
                  <a:pt x="780182" y="6530335"/>
                  <a:pt x="780110" y="6529469"/>
                </a:cubicBezTo>
                <a:cubicBezTo>
                  <a:pt x="780090" y="6529236"/>
                  <a:pt x="780123" y="6529003"/>
                  <a:pt x="780204" y="6528784"/>
                </a:cubicBezTo>
                <a:lnTo>
                  <a:pt x="810640" y="6425983"/>
                </a:lnTo>
                <a:cubicBezTo>
                  <a:pt x="810784" y="6425203"/>
                  <a:pt x="811109" y="6424469"/>
                  <a:pt x="811590" y="6423839"/>
                </a:cubicBezTo>
                <a:close/>
                <a:moveTo>
                  <a:pt x="587692" y="6423839"/>
                </a:moveTo>
                <a:cubicBezTo>
                  <a:pt x="588172" y="6424469"/>
                  <a:pt x="588498" y="6425203"/>
                  <a:pt x="588641" y="6425983"/>
                </a:cubicBezTo>
                <a:lnTo>
                  <a:pt x="619077" y="6528784"/>
                </a:lnTo>
                <a:cubicBezTo>
                  <a:pt x="619392" y="6529585"/>
                  <a:pt x="618999" y="6530489"/>
                  <a:pt x="618198" y="6530804"/>
                </a:cubicBezTo>
                <a:cubicBezTo>
                  <a:pt x="617971" y="6530894"/>
                  <a:pt x="617726" y="6530929"/>
                  <a:pt x="617483" y="6530906"/>
                </a:cubicBezTo>
                <a:lnTo>
                  <a:pt x="557911" y="6530906"/>
                </a:lnTo>
                <a:cubicBezTo>
                  <a:pt x="557047" y="6530981"/>
                  <a:pt x="556285" y="6530342"/>
                  <a:pt x="556210" y="6529478"/>
                </a:cubicBezTo>
                <a:cubicBezTo>
                  <a:pt x="556189" y="6529243"/>
                  <a:pt x="556222" y="6529005"/>
                  <a:pt x="556306" y="6528784"/>
                </a:cubicBezTo>
                <a:lnTo>
                  <a:pt x="586752" y="6425983"/>
                </a:lnTo>
                <a:cubicBezTo>
                  <a:pt x="586899" y="6425207"/>
                  <a:pt x="587220" y="6424474"/>
                  <a:pt x="587692" y="6423839"/>
                </a:cubicBezTo>
                <a:close/>
                <a:moveTo>
                  <a:pt x="543817" y="6352465"/>
                </a:moveTo>
                <a:cubicBezTo>
                  <a:pt x="542502" y="6352525"/>
                  <a:pt x="541345" y="6353352"/>
                  <a:pt x="540861" y="6354577"/>
                </a:cubicBezTo>
                <a:lnTo>
                  <a:pt x="443053" y="6633486"/>
                </a:lnTo>
                <a:cubicBezTo>
                  <a:pt x="442706" y="6634227"/>
                  <a:pt x="443026" y="6635108"/>
                  <a:pt x="443767" y="6635455"/>
                </a:cubicBezTo>
                <a:cubicBezTo>
                  <a:pt x="444008" y="6635568"/>
                  <a:pt x="444276" y="6635614"/>
                  <a:pt x="444542" y="6635587"/>
                </a:cubicBezTo>
                <a:lnTo>
                  <a:pt x="521743" y="6635587"/>
                </a:lnTo>
                <a:cubicBezTo>
                  <a:pt x="523044" y="6635530"/>
                  <a:pt x="524178" y="6634685"/>
                  <a:pt x="524604" y="6633454"/>
                </a:cubicBezTo>
                <a:lnTo>
                  <a:pt x="537103" y="6591713"/>
                </a:lnTo>
                <a:cubicBezTo>
                  <a:pt x="537531" y="6590480"/>
                  <a:pt x="538670" y="6589634"/>
                  <a:pt x="539975" y="6589581"/>
                </a:cubicBezTo>
                <a:lnTo>
                  <a:pt x="635418" y="6589581"/>
                </a:lnTo>
                <a:cubicBezTo>
                  <a:pt x="636718" y="6589641"/>
                  <a:pt x="637850" y="6590485"/>
                  <a:pt x="638279" y="6591713"/>
                </a:cubicBezTo>
                <a:lnTo>
                  <a:pt x="650789" y="6633454"/>
                </a:lnTo>
                <a:cubicBezTo>
                  <a:pt x="651218" y="6634683"/>
                  <a:pt x="652351" y="6635527"/>
                  <a:pt x="653650" y="6635587"/>
                </a:cubicBezTo>
                <a:lnTo>
                  <a:pt x="745642" y="6635587"/>
                </a:lnTo>
                <a:cubicBezTo>
                  <a:pt x="746942" y="6635530"/>
                  <a:pt x="748076" y="6634685"/>
                  <a:pt x="748502" y="6633454"/>
                </a:cubicBezTo>
                <a:lnTo>
                  <a:pt x="761012" y="6591713"/>
                </a:lnTo>
                <a:cubicBezTo>
                  <a:pt x="761433" y="6590479"/>
                  <a:pt x="762570" y="6589631"/>
                  <a:pt x="763873" y="6589581"/>
                </a:cubicBezTo>
                <a:lnTo>
                  <a:pt x="859328" y="6589581"/>
                </a:lnTo>
                <a:cubicBezTo>
                  <a:pt x="860627" y="6589641"/>
                  <a:pt x="861759" y="6590485"/>
                  <a:pt x="862188" y="6591713"/>
                </a:cubicBezTo>
                <a:lnTo>
                  <a:pt x="874677" y="6633454"/>
                </a:lnTo>
                <a:cubicBezTo>
                  <a:pt x="875109" y="6634681"/>
                  <a:pt x="876240" y="6635524"/>
                  <a:pt x="877538" y="6635587"/>
                </a:cubicBezTo>
                <a:lnTo>
                  <a:pt x="1009888" y="6635587"/>
                </a:lnTo>
                <a:cubicBezTo>
                  <a:pt x="1011119" y="6635584"/>
                  <a:pt x="1012117" y="6634590"/>
                  <a:pt x="1012126" y="6633359"/>
                </a:cubicBezTo>
                <a:lnTo>
                  <a:pt x="1012126" y="6558121"/>
                </a:lnTo>
                <a:cubicBezTo>
                  <a:pt x="1012196" y="6556706"/>
                  <a:pt x="1012743" y="6555355"/>
                  <a:pt x="1013678" y="6554289"/>
                </a:cubicBezTo>
                <a:lnTo>
                  <a:pt x="1042910" y="6524182"/>
                </a:lnTo>
                <a:cubicBezTo>
                  <a:pt x="1043506" y="6523478"/>
                  <a:pt x="1044560" y="6523390"/>
                  <a:pt x="1045264" y="6523986"/>
                </a:cubicBezTo>
                <a:cubicBezTo>
                  <a:pt x="1045423" y="6524121"/>
                  <a:pt x="1045555" y="6524284"/>
                  <a:pt x="1045655" y="6524467"/>
                </a:cubicBezTo>
                <a:lnTo>
                  <a:pt x="1114041" y="6633698"/>
                </a:lnTo>
                <a:cubicBezTo>
                  <a:pt x="1114797" y="6634897"/>
                  <a:pt x="1116125" y="6635613"/>
                  <a:pt x="1117542" y="6635587"/>
                </a:cubicBezTo>
                <a:lnTo>
                  <a:pt x="1214827" y="6635587"/>
                </a:lnTo>
                <a:cubicBezTo>
                  <a:pt x="1216062" y="6635587"/>
                  <a:pt x="1216516" y="6634743"/>
                  <a:pt x="1215840" y="6633718"/>
                </a:cubicBezTo>
                <a:lnTo>
                  <a:pt x="1106842" y="6465760"/>
                </a:lnTo>
                <a:cubicBezTo>
                  <a:pt x="1106172" y="6464657"/>
                  <a:pt x="1106296" y="6463247"/>
                  <a:pt x="1107148" y="6462277"/>
                </a:cubicBezTo>
                <a:lnTo>
                  <a:pt x="1207532" y="6354102"/>
                </a:lnTo>
                <a:cubicBezTo>
                  <a:pt x="1208366" y="6353204"/>
                  <a:pt x="1208049" y="6352465"/>
                  <a:pt x="1206825" y="6352465"/>
                </a:cubicBezTo>
                <a:lnTo>
                  <a:pt x="1109766" y="6352465"/>
                </a:lnTo>
                <a:cubicBezTo>
                  <a:pt x="1108370" y="6352546"/>
                  <a:pt x="1107057" y="6353153"/>
                  <a:pt x="1106092" y="6354165"/>
                </a:cubicBezTo>
                <a:lnTo>
                  <a:pt x="1013573" y="6461812"/>
                </a:lnTo>
                <a:cubicBezTo>
                  <a:pt x="1012770" y="6462741"/>
                  <a:pt x="1012126" y="6462488"/>
                  <a:pt x="1012126" y="6461263"/>
                </a:cubicBezTo>
                <a:lnTo>
                  <a:pt x="1012126" y="6354693"/>
                </a:lnTo>
                <a:cubicBezTo>
                  <a:pt x="1012117" y="6353462"/>
                  <a:pt x="1011119" y="6352468"/>
                  <a:pt x="1009888" y="6352465"/>
                </a:cubicBezTo>
                <a:lnTo>
                  <a:pt x="938134" y="6352465"/>
                </a:lnTo>
                <a:cubicBezTo>
                  <a:pt x="936911" y="6352478"/>
                  <a:pt x="935923" y="6353469"/>
                  <a:pt x="935917" y="6354693"/>
                </a:cubicBezTo>
                <a:lnTo>
                  <a:pt x="935917" y="6531687"/>
                </a:lnTo>
                <a:cubicBezTo>
                  <a:pt x="935526" y="6564445"/>
                  <a:pt x="942853" y="6560317"/>
                  <a:pt x="954581" y="6580597"/>
                </a:cubicBezTo>
                <a:cubicBezTo>
                  <a:pt x="964198" y="6597192"/>
                  <a:pt x="955996" y="6620596"/>
                  <a:pt x="932169" y="6622233"/>
                </a:cubicBezTo>
                <a:cubicBezTo>
                  <a:pt x="912291" y="6623605"/>
                  <a:pt x="894798" y="6600940"/>
                  <a:pt x="909641" y="6578211"/>
                </a:cubicBezTo>
                <a:cubicBezTo>
                  <a:pt x="925318" y="6554247"/>
                  <a:pt x="931895" y="6565342"/>
                  <a:pt x="909641" y="6499616"/>
                </a:cubicBezTo>
                <a:lnTo>
                  <a:pt x="859391" y="6354587"/>
                </a:lnTo>
                <a:cubicBezTo>
                  <a:pt x="858913" y="6353357"/>
                  <a:pt x="857754" y="6352525"/>
                  <a:pt x="856435" y="6352465"/>
                </a:cubicBezTo>
                <a:lnTo>
                  <a:pt x="767716" y="6352465"/>
                </a:lnTo>
                <a:cubicBezTo>
                  <a:pt x="766401" y="6352525"/>
                  <a:pt x="765243" y="6353352"/>
                  <a:pt x="764760" y="6354577"/>
                </a:cubicBezTo>
                <a:lnTo>
                  <a:pt x="700543" y="6537684"/>
                </a:lnTo>
                <a:cubicBezTo>
                  <a:pt x="700132" y="6538845"/>
                  <a:pt x="699477" y="6538845"/>
                  <a:pt x="699087" y="6537684"/>
                </a:cubicBezTo>
                <a:lnTo>
                  <a:pt x="635482" y="6354587"/>
                </a:lnTo>
                <a:cubicBezTo>
                  <a:pt x="635004" y="6353357"/>
                  <a:pt x="633844" y="6352525"/>
                  <a:pt x="632526" y="6352465"/>
                </a:cubicBezTo>
                <a:close/>
                <a:moveTo>
                  <a:pt x="0" y="0"/>
                </a:moveTo>
                <a:lnTo>
                  <a:pt x="14393" y="0"/>
                </a:lnTo>
                <a:cubicBezTo>
                  <a:pt x="680054" y="0"/>
                  <a:pt x="2455148" y="0"/>
                  <a:pt x="7188731" y="0"/>
                </a:cubicBezTo>
                <a:cubicBezTo>
                  <a:pt x="7017250" y="671513"/>
                  <a:pt x="7007724" y="1771650"/>
                  <a:pt x="7760334" y="3448050"/>
                </a:cubicBezTo>
                <a:cubicBezTo>
                  <a:pt x="8465310" y="5024438"/>
                  <a:pt x="7927051" y="6419850"/>
                  <a:pt x="7722227" y="6858000"/>
                </a:cubicBezTo>
                <a:lnTo>
                  <a:pt x="0" y="6858000"/>
                </a:ln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8526463" y="1219200"/>
            <a:ext cx="3222624" cy="4910138"/>
          </a:xfrm>
        </p:spPr>
        <p:txBody>
          <a:bodyPr/>
          <a:lstStyle>
            <a:lvl3pPr>
              <a:lnSpc>
                <a:spcPct val="90000"/>
              </a:lnSpc>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A8A231-4A77-4CD1-8796-424BFE328F1F}"/>
              </a:ext>
            </a:extLst>
          </p:cNvPr>
          <p:cNvSpPr>
            <a:spLocks noGrp="1"/>
          </p:cNvSpPr>
          <p:nvPr>
            <p:ph type="title"/>
          </p:nvPr>
        </p:nvSpPr>
        <p:spPr>
          <a:xfrm>
            <a:off x="8509000" y="221456"/>
            <a:ext cx="3240088" cy="775597"/>
          </a:xfrm>
        </p:spPr>
        <p:txBody>
          <a:bodyPr/>
          <a:lstStyle/>
          <a:p>
            <a:r>
              <a:rPr lang="en-US"/>
              <a:t>Click to edit Master title style</a:t>
            </a:r>
            <a:endParaRPr lang="en-US" dirty="0"/>
          </a:p>
        </p:txBody>
      </p:sp>
      <p:sp>
        <p:nvSpPr>
          <p:cNvPr id="2" name="Date Placeholder 19">
            <a:extLst>
              <a:ext uri="{FF2B5EF4-FFF2-40B4-BE49-F238E27FC236}">
                <a16:creationId xmlns:a16="http://schemas.microsoft.com/office/drawing/2014/main" id="{37B37464-CBBF-92D8-EE1F-2369C01BC959}"/>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5" name="Slide Number Placeholder 20">
            <a:extLst>
              <a:ext uri="{FF2B5EF4-FFF2-40B4-BE49-F238E27FC236}">
                <a16:creationId xmlns:a16="http://schemas.microsoft.com/office/drawing/2014/main" id="{66E29106-EE8D-C2D1-B4A8-68197A7A4578}"/>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31AB46E5-49E3-1C92-0643-F0F1DF831A22}"/>
              </a:ext>
            </a:extLst>
          </p:cNvPr>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2004145682"/>
      </p:ext>
    </p:extLst>
  </p:cSld>
  <p:clrMapOvr>
    <a:masterClrMapping/>
  </p:clrMapOvr>
  <p:extLst>
    <p:ext uri="{DCECCB84-F9BA-43D5-87BE-67443E8EF086}">
      <p15:sldGuideLst xmlns:p15="http://schemas.microsoft.com/office/powerpoint/2012/main">
        <p15:guide id="1" pos="53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ig picture right_Blue footer">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EF8D621-2565-4951-A9F9-874D9D49B001}"/>
              </a:ext>
            </a:extLst>
          </p:cNvPr>
          <p:cNvSpPr>
            <a:spLocks noGrp="1"/>
          </p:cNvSpPr>
          <p:nvPr>
            <p:ph type="pic" sz="quarter" idx="16"/>
          </p:nvPr>
        </p:nvSpPr>
        <p:spPr>
          <a:xfrm>
            <a:off x="4475163" y="0"/>
            <a:ext cx="7716837" cy="6858000"/>
          </a:xfrm>
          <a:custGeom>
            <a:avLst/>
            <a:gdLst>
              <a:gd name="connsiteX0" fmla="*/ 920567 w 7716837"/>
              <a:gd name="connsiteY0" fmla="*/ 0 h 6858000"/>
              <a:gd name="connsiteX1" fmla="*/ 4043657 w 7716837"/>
              <a:gd name="connsiteY1" fmla="*/ 0 h 6858000"/>
              <a:gd name="connsiteX2" fmla="*/ 4065587 w 7716837"/>
              <a:gd name="connsiteY2" fmla="*/ 0 h 6858000"/>
              <a:gd name="connsiteX3" fmla="*/ 7716837 w 7716837"/>
              <a:gd name="connsiteY3" fmla="*/ 0 h 6858000"/>
              <a:gd name="connsiteX4" fmla="*/ 7716837 w 7716837"/>
              <a:gd name="connsiteY4" fmla="*/ 6858000 h 6858000"/>
              <a:gd name="connsiteX5" fmla="*/ 4065587 w 7716837"/>
              <a:gd name="connsiteY5" fmla="*/ 6858000 h 6858000"/>
              <a:gd name="connsiteX6" fmla="*/ 391433 w 7716837"/>
              <a:gd name="connsiteY6" fmla="*/ 6858000 h 6858000"/>
              <a:gd name="connsiteX7" fmla="*/ 353297 w 7716837"/>
              <a:gd name="connsiteY7" fmla="*/ 3448050 h 6858000"/>
              <a:gd name="connsiteX8" fmla="*/ 920567 w 7716837"/>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6837" h="6858000">
                <a:moveTo>
                  <a:pt x="920567" y="0"/>
                </a:moveTo>
                <a:cubicBezTo>
                  <a:pt x="2582752" y="0"/>
                  <a:pt x="3517731" y="0"/>
                  <a:pt x="4043657" y="0"/>
                </a:cubicBezTo>
                <a:lnTo>
                  <a:pt x="4065587" y="0"/>
                </a:lnTo>
                <a:lnTo>
                  <a:pt x="7716837" y="0"/>
                </a:lnTo>
                <a:lnTo>
                  <a:pt x="7716837" y="685800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1219200"/>
            <a:ext cx="3608385" cy="4910137"/>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09AB31A-494F-4409-9C8A-3C88DED7B81F}"/>
              </a:ext>
            </a:extLst>
          </p:cNvPr>
          <p:cNvSpPr>
            <a:spLocks noGrp="1"/>
          </p:cNvSpPr>
          <p:nvPr>
            <p:ph type="title"/>
          </p:nvPr>
        </p:nvSpPr>
        <p:spPr>
          <a:xfrm>
            <a:off x="442914" y="221456"/>
            <a:ext cx="3636962" cy="775597"/>
          </a:xfrm>
        </p:spPr>
        <p:txBody>
          <a:bodyPr/>
          <a:lstStyle/>
          <a:p>
            <a:r>
              <a:rPr lang="en-US"/>
              <a:t>Click to edit Master title style</a:t>
            </a:r>
            <a:endParaRPr lang="en-US" dirty="0"/>
          </a:p>
        </p:txBody>
      </p:sp>
      <p:sp>
        <p:nvSpPr>
          <p:cNvPr id="2" name="Date Placeholder 19">
            <a:extLst>
              <a:ext uri="{FF2B5EF4-FFF2-40B4-BE49-F238E27FC236}">
                <a16:creationId xmlns:a16="http://schemas.microsoft.com/office/drawing/2014/main" id="{C3FC1214-62C6-DDA2-C126-88262F752763}"/>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5" name="Slide Number Placeholder 20">
            <a:extLst>
              <a:ext uri="{FF2B5EF4-FFF2-40B4-BE49-F238E27FC236}">
                <a16:creationId xmlns:a16="http://schemas.microsoft.com/office/drawing/2014/main" id="{A6748A15-BC98-9975-44D5-F92A3B53913B}"/>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EFF98155-2E4B-15D9-AF4B-EB0ACF1D3718}"/>
              </a:ext>
            </a:extLst>
          </p:cNvPr>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2132567721"/>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2271935-9D7E-C21F-20F3-3A5A469A4D38}"/>
              </a:ext>
            </a:extLst>
          </p:cNvPr>
          <p:cNvSpPr>
            <a:spLocks/>
          </p:cNvSpPr>
          <p:nvPr userDrawn="1"/>
        </p:nvSpPr>
        <p:spPr>
          <a:xfrm>
            <a:off x="0" y="0"/>
            <a:ext cx="12192000" cy="6858000"/>
          </a:xfrm>
          <a:prstGeom prst="rect">
            <a:avLst/>
          </a:prstGeom>
          <a:solidFill>
            <a:schemeClr val="bg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14" name="Rectangle 13">
            <a:extLst>
              <a:ext uri="{FF2B5EF4-FFF2-40B4-BE49-F238E27FC236}">
                <a16:creationId xmlns:a16="http://schemas.microsoft.com/office/drawing/2014/main" id="{03CDEE1C-81AA-3DD2-0F38-135FB802F3F8}"/>
              </a:ext>
            </a:extLst>
          </p:cNvPr>
          <p:cNvSpPr>
            <a:spLocks/>
          </p:cNvSpPr>
          <p:nvPr userDrawn="1"/>
        </p:nvSpPr>
        <p:spPr>
          <a:xfrm>
            <a:off x="442911" y="3202702"/>
            <a:ext cx="11306178" cy="1074140"/>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The following layouts are for agenda slides.</a:t>
            </a: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Do not use this slide)</a:t>
            </a:r>
            <a:endParaRPr kumimoji="0" lang="en-US" sz="11500" b="0" i="0" u="none" strike="noStrike" kern="1200" cap="none" spc="-30" normalizeH="0" baseline="0" noProof="0" dirty="0">
              <a:ln>
                <a:noFill/>
              </a:ln>
              <a:solidFill>
                <a:srgbClr val="00264E"/>
              </a:solidFill>
              <a:effectLst/>
              <a:uLnTx/>
              <a:uFillTx/>
              <a:latin typeface="Work Sans Medium" pitchFamily="2" charset="0"/>
              <a:ea typeface="+mn-ea"/>
              <a:cs typeface="+mn-cs"/>
            </a:endParaRPr>
          </a:p>
        </p:txBody>
      </p:sp>
      <p:sp>
        <p:nvSpPr>
          <p:cNvPr id="15" name="Rectangle 14">
            <a:extLst>
              <a:ext uri="{FF2B5EF4-FFF2-40B4-BE49-F238E27FC236}">
                <a16:creationId xmlns:a16="http://schemas.microsoft.com/office/drawing/2014/main" id="{B71096FC-EE7B-D0C0-F369-3E74CB2934A4}"/>
              </a:ext>
            </a:extLst>
          </p:cNvPr>
          <p:cNvSpPr>
            <a:spLocks/>
          </p:cNvSpPr>
          <p:nvPr userDrawn="1"/>
        </p:nvSpPr>
        <p:spPr>
          <a:xfrm>
            <a:off x="2945780" y="2202881"/>
            <a:ext cx="6300443" cy="914096"/>
          </a:xfrm>
          <a:prstGeom prst="rect">
            <a:avLst/>
          </a:prstGeom>
          <a:noFill/>
          <a:ln w="9525" cap="flat">
            <a:noFill/>
            <a:prstDash val="solid"/>
            <a:miter/>
          </a:ln>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6600" b="0" i="0" u="none" strike="noStrike" kern="1200" cap="none" spc="-30" normalizeH="0" baseline="0" noProof="0" dirty="0">
                <a:ln>
                  <a:noFill/>
                </a:ln>
                <a:solidFill>
                  <a:srgbClr val="00264E"/>
                </a:solidFill>
                <a:effectLst/>
                <a:uLnTx/>
                <a:uFillTx/>
                <a:latin typeface="Work Sans Medium" pitchFamily="2" charset="0"/>
                <a:ea typeface="+mn-ea"/>
                <a:cs typeface="+mn-cs"/>
              </a:rPr>
              <a:t>Agenda layouts</a:t>
            </a:r>
          </a:p>
        </p:txBody>
      </p:sp>
    </p:spTree>
    <p:extLst>
      <p:ext uri="{BB962C8B-B14F-4D97-AF65-F5344CB8AC3E}">
        <p14:creationId xmlns:p14="http://schemas.microsoft.com/office/powerpoint/2010/main" val="17221767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Narrow colored S-curve_White logo">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9D71849-3080-90B6-B9D1-12CF5D906512}"/>
              </a:ext>
            </a:extLst>
          </p:cNvPr>
          <p:cNvGraphicFramePr>
            <a:graphicFrameLocks noChangeAspect="1"/>
          </p:cNvGraphicFramePr>
          <p:nvPr userDrawn="1">
            <p:custDataLst>
              <p:tags r:id="rId1"/>
            </p:custDataLst>
            <p:extLst>
              <p:ext uri="{D42A27DB-BD31-4B8C-83A1-F6EECF244321}">
                <p14:modId xmlns:p14="http://schemas.microsoft.com/office/powerpoint/2010/main" val="1544451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79D71849-3080-90B6-B9D1-12CF5D9065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Text Placeholder 19">
            <a:extLst>
              <a:ext uri="{FF2B5EF4-FFF2-40B4-BE49-F238E27FC236}">
                <a16:creationId xmlns:a16="http://schemas.microsoft.com/office/drawing/2014/main" id="{BCE12F71-1910-4CB5-AE52-00E58C7ADAFF}"/>
              </a:ext>
            </a:extLst>
          </p:cNvPr>
          <p:cNvSpPr>
            <a:spLocks noGrp="1"/>
          </p:cNvSpPr>
          <p:nvPr>
            <p:ph type="body" sz="quarter" idx="13" hasCustomPrompt="1"/>
          </p:nvPr>
        </p:nvSpPr>
        <p:spPr>
          <a:xfrm>
            <a:off x="0" y="0"/>
            <a:ext cx="4064000" cy="6858000"/>
          </a:xfrm>
          <a:custGeom>
            <a:avLst/>
            <a:gdLst>
              <a:gd name="connsiteX0" fmla="*/ 811590 w 4064000"/>
              <a:gd name="connsiteY0" fmla="*/ 6423839 h 6858000"/>
              <a:gd name="connsiteX1" fmla="*/ 812551 w 4064000"/>
              <a:gd name="connsiteY1" fmla="*/ 6425983 h 6858000"/>
              <a:gd name="connsiteX2" fmla="*/ 842986 w 4064000"/>
              <a:gd name="connsiteY2" fmla="*/ 6528784 h 6858000"/>
              <a:gd name="connsiteX3" fmla="*/ 842084 w 4064000"/>
              <a:gd name="connsiteY3" fmla="*/ 6530809 h 6858000"/>
              <a:gd name="connsiteX4" fmla="*/ 841381 w 4064000"/>
              <a:gd name="connsiteY4" fmla="*/ 6530906 h 6858000"/>
              <a:gd name="connsiteX5" fmla="*/ 781809 w 4064000"/>
              <a:gd name="connsiteY5" fmla="*/ 6530906 h 6858000"/>
              <a:gd name="connsiteX6" fmla="*/ 780110 w 4064000"/>
              <a:gd name="connsiteY6" fmla="*/ 6529469 h 6858000"/>
              <a:gd name="connsiteX7" fmla="*/ 780204 w 4064000"/>
              <a:gd name="connsiteY7" fmla="*/ 6528784 h 6858000"/>
              <a:gd name="connsiteX8" fmla="*/ 810640 w 4064000"/>
              <a:gd name="connsiteY8" fmla="*/ 6425983 h 6858000"/>
              <a:gd name="connsiteX9" fmla="*/ 811590 w 4064000"/>
              <a:gd name="connsiteY9" fmla="*/ 6423839 h 6858000"/>
              <a:gd name="connsiteX10" fmla="*/ 587691 w 4064000"/>
              <a:gd name="connsiteY10" fmla="*/ 6423839 h 6858000"/>
              <a:gd name="connsiteX11" fmla="*/ 588641 w 4064000"/>
              <a:gd name="connsiteY11" fmla="*/ 6425983 h 6858000"/>
              <a:gd name="connsiteX12" fmla="*/ 619077 w 4064000"/>
              <a:gd name="connsiteY12" fmla="*/ 6528784 h 6858000"/>
              <a:gd name="connsiteX13" fmla="*/ 618198 w 4064000"/>
              <a:gd name="connsiteY13" fmla="*/ 6530804 h 6858000"/>
              <a:gd name="connsiteX14" fmla="*/ 617483 w 4064000"/>
              <a:gd name="connsiteY14" fmla="*/ 6530906 h 6858000"/>
              <a:gd name="connsiteX15" fmla="*/ 557911 w 4064000"/>
              <a:gd name="connsiteY15" fmla="*/ 6530906 h 6858000"/>
              <a:gd name="connsiteX16" fmla="*/ 556210 w 4064000"/>
              <a:gd name="connsiteY16" fmla="*/ 6529478 h 6858000"/>
              <a:gd name="connsiteX17" fmla="*/ 556306 w 4064000"/>
              <a:gd name="connsiteY17" fmla="*/ 6528784 h 6858000"/>
              <a:gd name="connsiteX18" fmla="*/ 586752 w 4064000"/>
              <a:gd name="connsiteY18" fmla="*/ 6425983 h 6858000"/>
              <a:gd name="connsiteX19" fmla="*/ 587691 w 4064000"/>
              <a:gd name="connsiteY19" fmla="*/ 6423839 h 6858000"/>
              <a:gd name="connsiteX20" fmla="*/ 543817 w 4064000"/>
              <a:gd name="connsiteY20" fmla="*/ 6352465 h 6858000"/>
              <a:gd name="connsiteX21" fmla="*/ 540861 w 4064000"/>
              <a:gd name="connsiteY21" fmla="*/ 6354577 h 6858000"/>
              <a:gd name="connsiteX22" fmla="*/ 443053 w 4064000"/>
              <a:gd name="connsiteY22" fmla="*/ 6633486 h 6858000"/>
              <a:gd name="connsiteX23" fmla="*/ 443767 w 4064000"/>
              <a:gd name="connsiteY23" fmla="*/ 6635455 h 6858000"/>
              <a:gd name="connsiteX24" fmla="*/ 444542 w 4064000"/>
              <a:gd name="connsiteY24" fmla="*/ 6635587 h 6858000"/>
              <a:gd name="connsiteX25" fmla="*/ 521743 w 4064000"/>
              <a:gd name="connsiteY25" fmla="*/ 6635587 h 6858000"/>
              <a:gd name="connsiteX26" fmla="*/ 524604 w 4064000"/>
              <a:gd name="connsiteY26" fmla="*/ 6633454 h 6858000"/>
              <a:gd name="connsiteX27" fmla="*/ 537103 w 4064000"/>
              <a:gd name="connsiteY27" fmla="*/ 6591713 h 6858000"/>
              <a:gd name="connsiteX28" fmla="*/ 539975 w 4064000"/>
              <a:gd name="connsiteY28" fmla="*/ 6589581 h 6858000"/>
              <a:gd name="connsiteX29" fmla="*/ 635418 w 4064000"/>
              <a:gd name="connsiteY29" fmla="*/ 6589581 h 6858000"/>
              <a:gd name="connsiteX30" fmla="*/ 638279 w 4064000"/>
              <a:gd name="connsiteY30" fmla="*/ 6591713 h 6858000"/>
              <a:gd name="connsiteX31" fmla="*/ 650789 w 4064000"/>
              <a:gd name="connsiteY31" fmla="*/ 6633454 h 6858000"/>
              <a:gd name="connsiteX32" fmla="*/ 653650 w 4064000"/>
              <a:gd name="connsiteY32" fmla="*/ 6635587 h 6858000"/>
              <a:gd name="connsiteX33" fmla="*/ 745642 w 4064000"/>
              <a:gd name="connsiteY33" fmla="*/ 6635587 h 6858000"/>
              <a:gd name="connsiteX34" fmla="*/ 748502 w 4064000"/>
              <a:gd name="connsiteY34" fmla="*/ 6633454 h 6858000"/>
              <a:gd name="connsiteX35" fmla="*/ 761012 w 4064000"/>
              <a:gd name="connsiteY35" fmla="*/ 6591713 h 6858000"/>
              <a:gd name="connsiteX36" fmla="*/ 763873 w 4064000"/>
              <a:gd name="connsiteY36" fmla="*/ 6589581 h 6858000"/>
              <a:gd name="connsiteX37" fmla="*/ 859327 w 4064000"/>
              <a:gd name="connsiteY37" fmla="*/ 6589581 h 6858000"/>
              <a:gd name="connsiteX38" fmla="*/ 862188 w 4064000"/>
              <a:gd name="connsiteY38" fmla="*/ 6591713 h 6858000"/>
              <a:gd name="connsiteX39" fmla="*/ 874677 w 4064000"/>
              <a:gd name="connsiteY39" fmla="*/ 6633454 h 6858000"/>
              <a:gd name="connsiteX40" fmla="*/ 877538 w 4064000"/>
              <a:gd name="connsiteY40" fmla="*/ 6635587 h 6858000"/>
              <a:gd name="connsiteX41" fmla="*/ 1009888 w 4064000"/>
              <a:gd name="connsiteY41" fmla="*/ 6635587 h 6858000"/>
              <a:gd name="connsiteX42" fmla="*/ 1012126 w 4064000"/>
              <a:gd name="connsiteY42" fmla="*/ 6633359 h 6858000"/>
              <a:gd name="connsiteX43" fmla="*/ 1012126 w 4064000"/>
              <a:gd name="connsiteY43" fmla="*/ 6558121 h 6858000"/>
              <a:gd name="connsiteX44" fmla="*/ 1013678 w 4064000"/>
              <a:gd name="connsiteY44" fmla="*/ 6554289 h 6858000"/>
              <a:gd name="connsiteX45" fmla="*/ 1042910 w 4064000"/>
              <a:gd name="connsiteY45" fmla="*/ 6524182 h 6858000"/>
              <a:gd name="connsiteX46" fmla="*/ 1045264 w 4064000"/>
              <a:gd name="connsiteY46" fmla="*/ 6523986 h 6858000"/>
              <a:gd name="connsiteX47" fmla="*/ 1045654 w 4064000"/>
              <a:gd name="connsiteY47" fmla="*/ 6524467 h 6858000"/>
              <a:gd name="connsiteX48" fmla="*/ 1114041 w 4064000"/>
              <a:gd name="connsiteY48" fmla="*/ 6633698 h 6858000"/>
              <a:gd name="connsiteX49" fmla="*/ 1117542 w 4064000"/>
              <a:gd name="connsiteY49" fmla="*/ 6635587 h 6858000"/>
              <a:gd name="connsiteX50" fmla="*/ 1214827 w 4064000"/>
              <a:gd name="connsiteY50" fmla="*/ 6635587 h 6858000"/>
              <a:gd name="connsiteX51" fmla="*/ 1215840 w 4064000"/>
              <a:gd name="connsiteY51" fmla="*/ 6633718 h 6858000"/>
              <a:gd name="connsiteX52" fmla="*/ 1106842 w 4064000"/>
              <a:gd name="connsiteY52" fmla="*/ 6465760 h 6858000"/>
              <a:gd name="connsiteX53" fmla="*/ 1107148 w 4064000"/>
              <a:gd name="connsiteY53" fmla="*/ 6462277 h 6858000"/>
              <a:gd name="connsiteX54" fmla="*/ 1207532 w 4064000"/>
              <a:gd name="connsiteY54" fmla="*/ 6354102 h 6858000"/>
              <a:gd name="connsiteX55" fmla="*/ 1206825 w 4064000"/>
              <a:gd name="connsiteY55" fmla="*/ 6352465 h 6858000"/>
              <a:gd name="connsiteX56" fmla="*/ 1109766 w 4064000"/>
              <a:gd name="connsiteY56" fmla="*/ 6352465 h 6858000"/>
              <a:gd name="connsiteX57" fmla="*/ 1106092 w 4064000"/>
              <a:gd name="connsiteY57" fmla="*/ 6354165 h 6858000"/>
              <a:gd name="connsiteX58" fmla="*/ 1013573 w 4064000"/>
              <a:gd name="connsiteY58" fmla="*/ 6461812 h 6858000"/>
              <a:gd name="connsiteX59" fmla="*/ 1012126 w 4064000"/>
              <a:gd name="connsiteY59" fmla="*/ 6461263 h 6858000"/>
              <a:gd name="connsiteX60" fmla="*/ 1012126 w 4064000"/>
              <a:gd name="connsiteY60" fmla="*/ 6354693 h 6858000"/>
              <a:gd name="connsiteX61" fmla="*/ 1009888 w 4064000"/>
              <a:gd name="connsiteY61" fmla="*/ 6352465 h 6858000"/>
              <a:gd name="connsiteX62" fmla="*/ 938134 w 4064000"/>
              <a:gd name="connsiteY62" fmla="*/ 6352465 h 6858000"/>
              <a:gd name="connsiteX63" fmla="*/ 935917 w 4064000"/>
              <a:gd name="connsiteY63" fmla="*/ 6354693 h 6858000"/>
              <a:gd name="connsiteX64" fmla="*/ 935917 w 4064000"/>
              <a:gd name="connsiteY64" fmla="*/ 6531687 h 6858000"/>
              <a:gd name="connsiteX65" fmla="*/ 954581 w 4064000"/>
              <a:gd name="connsiteY65" fmla="*/ 6580597 h 6858000"/>
              <a:gd name="connsiteX66" fmla="*/ 932169 w 4064000"/>
              <a:gd name="connsiteY66" fmla="*/ 6622233 h 6858000"/>
              <a:gd name="connsiteX67" fmla="*/ 909641 w 4064000"/>
              <a:gd name="connsiteY67" fmla="*/ 6578211 h 6858000"/>
              <a:gd name="connsiteX68" fmla="*/ 909641 w 4064000"/>
              <a:gd name="connsiteY68" fmla="*/ 6499616 h 6858000"/>
              <a:gd name="connsiteX69" fmla="*/ 859391 w 4064000"/>
              <a:gd name="connsiteY69" fmla="*/ 6354587 h 6858000"/>
              <a:gd name="connsiteX70" fmla="*/ 856435 w 4064000"/>
              <a:gd name="connsiteY70" fmla="*/ 6352465 h 6858000"/>
              <a:gd name="connsiteX71" fmla="*/ 767716 w 4064000"/>
              <a:gd name="connsiteY71" fmla="*/ 6352465 h 6858000"/>
              <a:gd name="connsiteX72" fmla="*/ 764760 w 4064000"/>
              <a:gd name="connsiteY72" fmla="*/ 6354577 h 6858000"/>
              <a:gd name="connsiteX73" fmla="*/ 700543 w 4064000"/>
              <a:gd name="connsiteY73" fmla="*/ 6537684 h 6858000"/>
              <a:gd name="connsiteX74" fmla="*/ 699086 w 4064000"/>
              <a:gd name="connsiteY74" fmla="*/ 6537684 h 6858000"/>
              <a:gd name="connsiteX75" fmla="*/ 635482 w 4064000"/>
              <a:gd name="connsiteY75" fmla="*/ 6354587 h 6858000"/>
              <a:gd name="connsiteX76" fmla="*/ 632526 w 4064000"/>
              <a:gd name="connsiteY76" fmla="*/ 6352465 h 6858000"/>
              <a:gd name="connsiteX77" fmla="*/ 0 w 4064000"/>
              <a:gd name="connsiteY77" fmla="*/ 0 h 6858000"/>
              <a:gd name="connsiteX78" fmla="*/ 3672567 w 4064000"/>
              <a:gd name="connsiteY78" fmla="*/ 0 h 6858000"/>
              <a:gd name="connsiteX79" fmla="*/ 3710703 w 4064000"/>
              <a:gd name="connsiteY79" fmla="*/ 3409950 h 6858000"/>
              <a:gd name="connsiteX80" fmla="*/ 3143432 w 4064000"/>
              <a:gd name="connsiteY80" fmla="*/ 6858000 h 6858000"/>
              <a:gd name="connsiteX81" fmla="*/ 0 w 4064000"/>
              <a:gd name="connsiteY8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064000" h="6858000">
                <a:moveTo>
                  <a:pt x="811590" y="6423839"/>
                </a:moveTo>
                <a:cubicBezTo>
                  <a:pt x="811780" y="6423840"/>
                  <a:pt x="812212" y="6424811"/>
                  <a:pt x="812551" y="6425983"/>
                </a:cubicBezTo>
                <a:lnTo>
                  <a:pt x="842986" y="6528784"/>
                </a:lnTo>
                <a:cubicBezTo>
                  <a:pt x="843296" y="6529592"/>
                  <a:pt x="842892" y="6530499"/>
                  <a:pt x="842084" y="6530809"/>
                </a:cubicBezTo>
                <a:cubicBezTo>
                  <a:pt x="841860" y="6530894"/>
                  <a:pt x="841620" y="6530928"/>
                  <a:pt x="841381" y="6530906"/>
                </a:cubicBezTo>
                <a:lnTo>
                  <a:pt x="781809" y="6530906"/>
                </a:lnTo>
                <a:cubicBezTo>
                  <a:pt x="780943" y="6530979"/>
                  <a:pt x="780182" y="6530335"/>
                  <a:pt x="780110" y="6529469"/>
                </a:cubicBezTo>
                <a:cubicBezTo>
                  <a:pt x="780090" y="6529236"/>
                  <a:pt x="780123" y="6529003"/>
                  <a:pt x="780204" y="6528784"/>
                </a:cubicBezTo>
                <a:lnTo>
                  <a:pt x="810640" y="6425983"/>
                </a:lnTo>
                <a:cubicBezTo>
                  <a:pt x="810783" y="6425203"/>
                  <a:pt x="811109" y="6424469"/>
                  <a:pt x="811590" y="6423839"/>
                </a:cubicBezTo>
                <a:close/>
                <a:moveTo>
                  <a:pt x="587691" y="6423839"/>
                </a:moveTo>
                <a:cubicBezTo>
                  <a:pt x="588172" y="6424469"/>
                  <a:pt x="588498" y="6425203"/>
                  <a:pt x="588641" y="6425983"/>
                </a:cubicBezTo>
                <a:lnTo>
                  <a:pt x="619077" y="6528784"/>
                </a:lnTo>
                <a:cubicBezTo>
                  <a:pt x="619392" y="6529585"/>
                  <a:pt x="618999" y="6530489"/>
                  <a:pt x="618198" y="6530804"/>
                </a:cubicBezTo>
                <a:cubicBezTo>
                  <a:pt x="617971" y="6530894"/>
                  <a:pt x="617726" y="6530929"/>
                  <a:pt x="617483" y="6530906"/>
                </a:cubicBezTo>
                <a:lnTo>
                  <a:pt x="557911" y="6530906"/>
                </a:lnTo>
                <a:cubicBezTo>
                  <a:pt x="557047" y="6530981"/>
                  <a:pt x="556285" y="6530342"/>
                  <a:pt x="556210" y="6529478"/>
                </a:cubicBezTo>
                <a:cubicBezTo>
                  <a:pt x="556189" y="6529243"/>
                  <a:pt x="556222" y="6529005"/>
                  <a:pt x="556306" y="6528784"/>
                </a:cubicBezTo>
                <a:lnTo>
                  <a:pt x="586752" y="6425983"/>
                </a:lnTo>
                <a:cubicBezTo>
                  <a:pt x="586899" y="6425207"/>
                  <a:pt x="587220" y="6424474"/>
                  <a:pt x="587691" y="6423839"/>
                </a:cubicBezTo>
                <a:close/>
                <a:moveTo>
                  <a:pt x="543817" y="6352465"/>
                </a:moveTo>
                <a:cubicBezTo>
                  <a:pt x="542502" y="6352525"/>
                  <a:pt x="541344" y="6353352"/>
                  <a:pt x="540861" y="6354577"/>
                </a:cubicBezTo>
                <a:lnTo>
                  <a:pt x="443053" y="6633486"/>
                </a:lnTo>
                <a:cubicBezTo>
                  <a:pt x="442706" y="6634227"/>
                  <a:pt x="443026" y="6635108"/>
                  <a:pt x="443767" y="6635455"/>
                </a:cubicBezTo>
                <a:cubicBezTo>
                  <a:pt x="444008" y="6635568"/>
                  <a:pt x="444276" y="6635614"/>
                  <a:pt x="444542" y="6635587"/>
                </a:cubicBezTo>
                <a:lnTo>
                  <a:pt x="521743" y="6635587"/>
                </a:lnTo>
                <a:cubicBezTo>
                  <a:pt x="523044" y="6635530"/>
                  <a:pt x="524178" y="6634685"/>
                  <a:pt x="524604" y="6633454"/>
                </a:cubicBezTo>
                <a:lnTo>
                  <a:pt x="537103" y="6591713"/>
                </a:lnTo>
                <a:cubicBezTo>
                  <a:pt x="537531" y="6590480"/>
                  <a:pt x="538670" y="6589634"/>
                  <a:pt x="539975" y="6589581"/>
                </a:cubicBezTo>
                <a:lnTo>
                  <a:pt x="635418" y="6589581"/>
                </a:lnTo>
                <a:cubicBezTo>
                  <a:pt x="636718" y="6589641"/>
                  <a:pt x="637850" y="6590485"/>
                  <a:pt x="638279" y="6591713"/>
                </a:cubicBezTo>
                <a:lnTo>
                  <a:pt x="650789" y="6633454"/>
                </a:lnTo>
                <a:cubicBezTo>
                  <a:pt x="651218" y="6634683"/>
                  <a:pt x="652350" y="6635527"/>
                  <a:pt x="653650" y="6635587"/>
                </a:cubicBezTo>
                <a:lnTo>
                  <a:pt x="745642" y="6635587"/>
                </a:lnTo>
                <a:cubicBezTo>
                  <a:pt x="746942" y="6635530"/>
                  <a:pt x="748076" y="6634685"/>
                  <a:pt x="748502" y="6633454"/>
                </a:cubicBezTo>
                <a:lnTo>
                  <a:pt x="761012" y="6591713"/>
                </a:lnTo>
                <a:cubicBezTo>
                  <a:pt x="761433" y="6590479"/>
                  <a:pt x="762570" y="6589631"/>
                  <a:pt x="763873" y="6589581"/>
                </a:cubicBezTo>
                <a:lnTo>
                  <a:pt x="859327" y="6589581"/>
                </a:lnTo>
                <a:cubicBezTo>
                  <a:pt x="860627" y="6589641"/>
                  <a:pt x="861759" y="6590485"/>
                  <a:pt x="862188" y="6591713"/>
                </a:cubicBezTo>
                <a:lnTo>
                  <a:pt x="874677" y="6633454"/>
                </a:lnTo>
                <a:cubicBezTo>
                  <a:pt x="875108" y="6634681"/>
                  <a:pt x="876239" y="6635524"/>
                  <a:pt x="877538" y="6635587"/>
                </a:cubicBezTo>
                <a:lnTo>
                  <a:pt x="1009888" y="6635587"/>
                </a:lnTo>
                <a:cubicBezTo>
                  <a:pt x="1011119" y="6635584"/>
                  <a:pt x="1012117" y="6634590"/>
                  <a:pt x="1012126" y="6633359"/>
                </a:cubicBezTo>
                <a:lnTo>
                  <a:pt x="1012126" y="6558121"/>
                </a:lnTo>
                <a:cubicBezTo>
                  <a:pt x="1012196" y="6556706"/>
                  <a:pt x="1012743" y="6555355"/>
                  <a:pt x="1013678" y="6554289"/>
                </a:cubicBezTo>
                <a:lnTo>
                  <a:pt x="1042910" y="6524182"/>
                </a:lnTo>
                <a:cubicBezTo>
                  <a:pt x="1043506" y="6523478"/>
                  <a:pt x="1044560" y="6523390"/>
                  <a:pt x="1045264" y="6523986"/>
                </a:cubicBezTo>
                <a:cubicBezTo>
                  <a:pt x="1045423" y="6524121"/>
                  <a:pt x="1045555" y="6524284"/>
                  <a:pt x="1045654" y="6524467"/>
                </a:cubicBezTo>
                <a:lnTo>
                  <a:pt x="1114041" y="6633698"/>
                </a:lnTo>
                <a:cubicBezTo>
                  <a:pt x="1114797" y="6634897"/>
                  <a:pt x="1116125" y="6635613"/>
                  <a:pt x="1117542" y="6635587"/>
                </a:cubicBezTo>
                <a:lnTo>
                  <a:pt x="1214827" y="6635587"/>
                </a:lnTo>
                <a:cubicBezTo>
                  <a:pt x="1216062" y="6635587"/>
                  <a:pt x="1216516" y="6634743"/>
                  <a:pt x="1215840" y="6633718"/>
                </a:cubicBezTo>
                <a:lnTo>
                  <a:pt x="1106842" y="6465760"/>
                </a:lnTo>
                <a:cubicBezTo>
                  <a:pt x="1106172" y="6464657"/>
                  <a:pt x="1106296" y="6463247"/>
                  <a:pt x="1107148" y="6462277"/>
                </a:cubicBezTo>
                <a:lnTo>
                  <a:pt x="1207532" y="6354102"/>
                </a:lnTo>
                <a:cubicBezTo>
                  <a:pt x="1208366" y="6353204"/>
                  <a:pt x="1208049" y="6352465"/>
                  <a:pt x="1206825" y="6352465"/>
                </a:cubicBezTo>
                <a:lnTo>
                  <a:pt x="1109766" y="6352465"/>
                </a:lnTo>
                <a:cubicBezTo>
                  <a:pt x="1108370" y="6352546"/>
                  <a:pt x="1107057" y="6353153"/>
                  <a:pt x="1106092" y="6354165"/>
                </a:cubicBezTo>
                <a:lnTo>
                  <a:pt x="1013573" y="6461812"/>
                </a:lnTo>
                <a:cubicBezTo>
                  <a:pt x="1012770" y="6462741"/>
                  <a:pt x="1012126" y="6462488"/>
                  <a:pt x="1012126" y="6461263"/>
                </a:cubicBezTo>
                <a:lnTo>
                  <a:pt x="1012126" y="6354693"/>
                </a:lnTo>
                <a:cubicBezTo>
                  <a:pt x="1012117" y="6353462"/>
                  <a:pt x="1011118" y="6352468"/>
                  <a:pt x="1009888" y="6352465"/>
                </a:cubicBezTo>
                <a:lnTo>
                  <a:pt x="938134" y="6352465"/>
                </a:lnTo>
                <a:cubicBezTo>
                  <a:pt x="936911" y="6352478"/>
                  <a:pt x="935923" y="6353469"/>
                  <a:pt x="935917" y="6354693"/>
                </a:cubicBezTo>
                <a:lnTo>
                  <a:pt x="935917" y="6531687"/>
                </a:lnTo>
                <a:cubicBezTo>
                  <a:pt x="935526" y="6564445"/>
                  <a:pt x="942853" y="6560317"/>
                  <a:pt x="954581" y="6580597"/>
                </a:cubicBezTo>
                <a:cubicBezTo>
                  <a:pt x="964198" y="6597192"/>
                  <a:pt x="955996" y="6620596"/>
                  <a:pt x="932169" y="6622233"/>
                </a:cubicBezTo>
                <a:cubicBezTo>
                  <a:pt x="912291" y="6623605"/>
                  <a:pt x="894798" y="6600940"/>
                  <a:pt x="909641" y="6578211"/>
                </a:cubicBezTo>
                <a:cubicBezTo>
                  <a:pt x="925318" y="6554247"/>
                  <a:pt x="931895" y="6565342"/>
                  <a:pt x="909641" y="6499616"/>
                </a:cubicBezTo>
                <a:lnTo>
                  <a:pt x="859391" y="6354587"/>
                </a:lnTo>
                <a:cubicBezTo>
                  <a:pt x="858912" y="6353357"/>
                  <a:pt x="857753" y="6352525"/>
                  <a:pt x="856435" y="6352465"/>
                </a:cubicBezTo>
                <a:lnTo>
                  <a:pt x="767716" y="6352465"/>
                </a:lnTo>
                <a:cubicBezTo>
                  <a:pt x="766400" y="6352525"/>
                  <a:pt x="765243" y="6353352"/>
                  <a:pt x="764760" y="6354577"/>
                </a:cubicBezTo>
                <a:lnTo>
                  <a:pt x="700543" y="6537684"/>
                </a:lnTo>
                <a:cubicBezTo>
                  <a:pt x="700131" y="6538845"/>
                  <a:pt x="699477" y="6538845"/>
                  <a:pt x="699086" y="6537684"/>
                </a:cubicBezTo>
                <a:lnTo>
                  <a:pt x="635482" y="6354587"/>
                </a:lnTo>
                <a:cubicBezTo>
                  <a:pt x="635003" y="6353357"/>
                  <a:pt x="633844" y="6352525"/>
                  <a:pt x="632526" y="6352465"/>
                </a:cubicBezTo>
                <a:close/>
                <a:moveTo>
                  <a:pt x="0" y="0"/>
                </a:moveTo>
                <a:lnTo>
                  <a:pt x="3672567" y="0"/>
                </a:lnTo>
                <a:cubicBezTo>
                  <a:pt x="3882314" y="438150"/>
                  <a:pt x="4416215" y="1833563"/>
                  <a:pt x="3710703" y="3409950"/>
                </a:cubicBezTo>
                <a:cubicBezTo>
                  <a:pt x="2962287" y="5086350"/>
                  <a:pt x="2967054" y="6186488"/>
                  <a:pt x="3143432" y="6858000"/>
                </a:cubicBezTo>
                <a:lnTo>
                  <a:pt x="0" y="6858000"/>
                </a:lnTo>
                <a:close/>
              </a:path>
            </a:pathLst>
          </a:custGeom>
          <a:solidFill>
            <a:schemeClr val="accent1"/>
          </a:solidFill>
        </p:spPr>
        <p:txBody>
          <a:bodyPr wrap="square">
            <a:noAutofit/>
          </a:bodyPr>
          <a:lstStyle>
            <a:lvl1pPr marL="0" indent="0">
              <a:buNone/>
              <a:defRPr/>
            </a:lvl1pPr>
          </a:lstStyle>
          <a:p>
            <a:pPr lvl="0"/>
            <a:r>
              <a:rPr lang="en-US"/>
              <a:t> </a:t>
            </a:r>
          </a:p>
        </p:txBody>
      </p:sp>
      <p:sp>
        <p:nvSpPr>
          <p:cNvPr id="18" name="Content Placeholder 7">
            <a:extLst>
              <a:ext uri="{FF2B5EF4-FFF2-40B4-BE49-F238E27FC236}">
                <a16:creationId xmlns:a16="http://schemas.microsoft.com/office/drawing/2014/main" id="{9EBC5E73-30D0-4EC7-824B-D0A082599ADA}"/>
              </a:ext>
            </a:extLst>
          </p:cNvPr>
          <p:cNvSpPr>
            <a:spLocks noGrp="1"/>
          </p:cNvSpPr>
          <p:nvPr>
            <p:ph sz="quarter" idx="14"/>
          </p:nvPr>
        </p:nvSpPr>
        <p:spPr>
          <a:xfrm>
            <a:off x="4475162" y="1219200"/>
            <a:ext cx="7273925" cy="4910138"/>
          </a:xfrm>
        </p:spPr>
        <p:txBody>
          <a:bodyPr/>
          <a:lstStyle>
            <a:lvl3pPr>
              <a:lnSpc>
                <a:spcPct val="90000"/>
              </a:lnSpc>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itle 2">
            <a:extLst>
              <a:ext uri="{FF2B5EF4-FFF2-40B4-BE49-F238E27FC236}">
                <a16:creationId xmlns:a16="http://schemas.microsoft.com/office/drawing/2014/main" id="{572C6B4A-78DE-4C2F-8773-5C71D2B65CDC}"/>
              </a:ext>
            </a:extLst>
          </p:cNvPr>
          <p:cNvSpPr>
            <a:spLocks noGrp="1"/>
          </p:cNvSpPr>
          <p:nvPr>
            <p:ph type="title" hasCustomPrompt="1"/>
          </p:nvPr>
        </p:nvSpPr>
        <p:spPr>
          <a:xfrm>
            <a:off x="442914" y="1219200"/>
            <a:ext cx="2800246" cy="775597"/>
          </a:xfrm>
        </p:spPr>
        <p:txBody>
          <a:bodyPr vert="horz" anchor="t"/>
          <a:lstStyle>
            <a:lvl1pPr>
              <a:defRPr sz="2400">
                <a:solidFill>
                  <a:schemeClr val="bg1"/>
                </a:solidFill>
              </a:defRPr>
            </a:lvl1pPr>
          </a:lstStyle>
          <a:p>
            <a:r>
              <a:rPr lang="en-US" dirty="0"/>
              <a:t>Click to add Title </a:t>
            </a:r>
            <a:br>
              <a:rPr lang="en-US" dirty="0"/>
            </a:br>
            <a:r>
              <a:rPr lang="en-US" dirty="0"/>
              <a:t>or Statement</a:t>
            </a:r>
          </a:p>
        </p:txBody>
      </p:sp>
      <p:sp>
        <p:nvSpPr>
          <p:cNvPr id="2" name="Date Placeholder 19">
            <a:extLst>
              <a:ext uri="{FF2B5EF4-FFF2-40B4-BE49-F238E27FC236}">
                <a16:creationId xmlns:a16="http://schemas.microsoft.com/office/drawing/2014/main" id="{2F9A5833-9C8B-C7B2-67EC-3225681AA3B7}"/>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3" name="Slide Number Placeholder 20">
            <a:extLst>
              <a:ext uri="{FF2B5EF4-FFF2-40B4-BE49-F238E27FC236}">
                <a16:creationId xmlns:a16="http://schemas.microsoft.com/office/drawing/2014/main" id="{ADDAC0C2-281F-0A91-DAD8-6896F49E54FC}"/>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A9C3423E-0124-3B2C-FDD4-B7A9F06D614F}"/>
              </a:ext>
            </a:extLst>
          </p:cNvPr>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2941747188"/>
      </p:ext>
    </p:extLst>
  </p:cSld>
  <p:clrMapOvr>
    <a:masterClrMapping/>
  </p:clrMapOvr>
  <p:extLst>
    <p:ext uri="{DCECCB84-F9BA-43D5-87BE-67443E8EF086}">
      <p15:sldGuideLst xmlns:p15="http://schemas.microsoft.com/office/powerpoint/2012/main">
        <p15:guide id="1" pos="2819">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Wide colored S-curve_White logo">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D701FC4F-D593-4F64-B2F0-87C3FF5F801D}"/>
              </a:ext>
            </a:extLst>
          </p:cNvPr>
          <p:cNvSpPr>
            <a:spLocks noGrp="1"/>
          </p:cNvSpPr>
          <p:nvPr>
            <p:ph type="body" sz="quarter" idx="13" hasCustomPrompt="1"/>
          </p:nvPr>
        </p:nvSpPr>
        <p:spPr>
          <a:xfrm flipV="1">
            <a:off x="0" y="0"/>
            <a:ext cx="8112124" cy="6858000"/>
          </a:xfrm>
          <a:custGeom>
            <a:avLst/>
            <a:gdLst>
              <a:gd name="connsiteX0" fmla="*/ 811590 w 8112124"/>
              <a:gd name="connsiteY0" fmla="*/ 434161 h 6858000"/>
              <a:gd name="connsiteX1" fmla="*/ 812551 w 8112124"/>
              <a:gd name="connsiteY1" fmla="*/ 432018 h 6858000"/>
              <a:gd name="connsiteX2" fmla="*/ 842986 w 8112124"/>
              <a:gd name="connsiteY2" fmla="*/ 329216 h 6858000"/>
              <a:gd name="connsiteX3" fmla="*/ 842084 w 8112124"/>
              <a:gd name="connsiteY3" fmla="*/ 327192 h 6858000"/>
              <a:gd name="connsiteX4" fmla="*/ 841381 w 8112124"/>
              <a:gd name="connsiteY4" fmla="*/ 327094 h 6858000"/>
              <a:gd name="connsiteX5" fmla="*/ 781809 w 8112124"/>
              <a:gd name="connsiteY5" fmla="*/ 327094 h 6858000"/>
              <a:gd name="connsiteX6" fmla="*/ 780110 w 8112124"/>
              <a:gd name="connsiteY6" fmla="*/ 328532 h 6858000"/>
              <a:gd name="connsiteX7" fmla="*/ 780204 w 8112124"/>
              <a:gd name="connsiteY7" fmla="*/ 329216 h 6858000"/>
              <a:gd name="connsiteX8" fmla="*/ 810640 w 8112124"/>
              <a:gd name="connsiteY8" fmla="*/ 432018 h 6858000"/>
              <a:gd name="connsiteX9" fmla="*/ 811590 w 8112124"/>
              <a:gd name="connsiteY9" fmla="*/ 434161 h 6858000"/>
              <a:gd name="connsiteX10" fmla="*/ 587692 w 8112124"/>
              <a:gd name="connsiteY10" fmla="*/ 434161 h 6858000"/>
              <a:gd name="connsiteX11" fmla="*/ 588641 w 8112124"/>
              <a:gd name="connsiteY11" fmla="*/ 432018 h 6858000"/>
              <a:gd name="connsiteX12" fmla="*/ 619077 w 8112124"/>
              <a:gd name="connsiteY12" fmla="*/ 329216 h 6858000"/>
              <a:gd name="connsiteX13" fmla="*/ 618198 w 8112124"/>
              <a:gd name="connsiteY13" fmla="*/ 327196 h 6858000"/>
              <a:gd name="connsiteX14" fmla="*/ 617483 w 8112124"/>
              <a:gd name="connsiteY14" fmla="*/ 327094 h 6858000"/>
              <a:gd name="connsiteX15" fmla="*/ 557911 w 8112124"/>
              <a:gd name="connsiteY15" fmla="*/ 327094 h 6858000"/>
              <a:gd name="connsiteX16" fmla="*/ 556210 w 8112124"/>
              <a:gd name="connsiteY16" fmla="*/ 328522 h 6858000"/>
              <a:gd name="connsiteX17" fmla="*/ 556306 w 8112124"/>
              <a:gd name="connsiteY17" fmla="*/ 329216 h 6858000"/>
              <a:gd name="connsiteX18" fmla="*/ 586752 w 8112124"/>
              <a:gd name="connsiteY18" fmla="*/ 432018 h 6858000"/>
              <a:gd name="connsiteX19" fmla="*/ 587692 w 8112124"/>
              <a:gd name="connsiteY19" fmla="*/ 434161 h 6858000"/>
              <a:gd name="connsiteX20" fmla="*/ 543817 w 8112124"/>
              <a:gd name="connsiteY20" fmla="*/ 505535 h 6858000"/>
              <a:gd name="connsiteX21" fmla="*/ 540861 w 8112124"/>
              <a:gd name="connsiteY21" fmla="*/ 503424 h 6858000"/>
              <a:gd name="connsiteX22" fmla="*/ 443053 w 8112124"/>
              <a:gd name="connsiteY22" fmla="*/ 224514 h 6858000"/>
              <a:gd name="connsiteX23" fmla="*/ 443767 w 8112124"/>
              <a:gd name="connsiteY23" fmla="*/ 222546 h 6858000"/>
              <a:gd name="connsiteX24" fmla="*/ 444542 w 8112124"/>
              <a:gd name="connsiteY24" fmla="*/ 222413 h 6858000"/>
              <a:gd name="connsiteX25" fmla="*/ 521743 w 8112124"/>
              <a:gd name="connsiteY25" fmla="*/ 222413 h 6858000"/>
              <a:gd name="connsiteX26" fmla="*/ 524604 w 8112124"/>
              <a:gd name="connsiteY26" fmla="*/ 224546 h 6858000"/>
              <a:gd name="connsiteX27" fmla="*/ 537103 w 8112124"/>
              <a:gd name="connsiteY27" fmla="*/ 266287 h 6858000"/>
              <a:gd name="connsiteX28" fmla="*/ 539975 w 8112124"/>
              <a:gd name="connsiteY28" fmla="*/ 268420 h 6858000"/>
              <a:gd name="connsiteX29" fmla="*/ 635418 w 8112124"/>
              <a:gd name="connsiteY29" fmla="*/ 268420 h 6858000"/>
              <a:gd name="connsiteX30" fmla="*/ 638279 w 8112124"/>
              <a:gd name="connsiteY30" fmla="*/ 266287 h 6858000"/>
              <a:gd name="connsiteX31" fmla="*/ 650789 w 8112124"/>
              <a:gd name="connsiteY31" fmla="*/ 224546 h 6858000"/>
              <a:gd name="connsiteX32" fmla="*/ 653650 w 8112124"/>
              <a:gd name="connsiteY32" fmla="*/ 222413 h 6858000"/>
              <a:gd name="connsiteX33" fmla="*/ 745642 w 8112124"/>
              <a:gd name="connsiteY33" fmla="*/ 222413 h 6858000"/>
              <a:gd name="connsiteX34" fmla="*/ 748502 w 8112124"/>
              <a:gd name="connsiteY34" fmla="*/ 224546 h 6858000"/>
              <a:gd name="connsiteX35" fmla="*/ 761012 w 8112124"/>
              <a:gd name="connsiteY35" fmla="*/ 266287 h 6858000"/>
              <a:gd name="connsiteX36" fmla="*/ 763873 w 8112124"/>
              <a:gd name="connsiteY36" fmla="*/ 268420 h 6858000"/>
              <a:gd name="connsiteX37" fmla="*/ 859328 w 8112124"/>
              <a:gd name="connsiteY37" fmla="*/ 268420 h 6858000"/>
              <a:gd name="connsiteX38" fmla="*/ 862188 w 8112124"/>
              <a:gd name="connsiteY38" fmla="*/ 266287 h 6858000"/>
              <a:gd name="connsiteX39" fmla="*/ 874677 w 8112124"/>
              <a:gd name="connsiteY39" fmla="*/ 224546 h 6858000"/>
              <a:gd name="connsiteX40" fmla="*/ 877538 w 8112124"/>
              <a:gd name="connsiteY40" fmla="*/ 222413 h 6858000"/>
              <a:gd name="connsiteX41" fmla="*/ 1009888 w 8112124"/>
              <a:gd name="connsiteY41" fmla="*/ 222413 h 6858000"/>
              <a:gd name="connsiteX42" fmla="*/ 1012126 w 8112124"/>
              <a:gd name="connsiteY42" fmla="*/ 224641 h 6858000"/>
              <a:gd name="connsiteX43" fmla="*/ 1012126 w 8112124"/>
              <a:gd name="connsiteY43" fmla="*/ 299879 h 6858000"/>
              <a:gd name="connsiteX44" fmla="*/ 1013678 w 8112124"/>
              <a:gd name="connsiteY44" fmla="*/ 303711 h 6858000"/>
              <a:gd name="connsiteX45" fmla="*/ 1042910 w 8112124"/>
              <a:gd name="connsiteY45" fmla="*/ 333819 h 6858000"/>
              <a:gd name="connsiteX46" fmla="*/ 1045265 w 8112124"/>
              <a:gd name="connsiteY46" fmla="*/ 334014 h 6858000"/>
              <a:gd name="connsiteX47" fmla="*/ 1045654 w 8112124"/>
              <a:gd name="connsiteY47" fmla="*/ 333534 h 6858000"/>
              <a:gd name="connsiteX48" fmla="*/ 1114041 w 8112124"/>
              <a:gd name="connsiteY48" fmla="*/ 224303 h 6858000"/>
              <a:gd name="connsiteX49" fmla="*/ 1117542 w 8112124"/>
              <a:gd name="connsiteY49" fmla="*/ 222413 h 6858000"/>
              <a:gd name="connsiteX50" fmla="*/ 1214827 w 8112124"/>
              <a:gd name="connsiteY50" fmla="*/ 222413 h 6858000"/>
              <a:gd name="connsiteX51" fmla="*/ 1215840 w 8112124"/>
              <a:gd name="connsiteY51" fmla="*/ 224282 h 6858000"/>
              <a:gd name="connsiteX52" fmla="*/ 1106842 w 8112124"/>
              <a:gd name="connsiteY52" fmla="*/ 392240 h 6858000"/>
              <a:gd name="connsiteX53" fmla="*/ 1107148 w 8112124"/>
              <a:gd name="connsiteY53" fmla="*/ 395724 h 6858000"/>
              <a:gd name="connsiteX54" fmla="*/ 1207532 w 8112124"/>
              <a:gd name="connsiteY54" fmla="*/ 503899 h 6858000"/>
              <a:gd name="connsiteX55" fmla="*/ 1206825 w 8112124"/>
              <a:gd name="connsiteY55" fmla="*/ 505535 h 6858000"/>
              <a:gd name="connsiteX56" fmla="*/ 1109766 w 8112124"/>
              <a:gd name="connsiteY56" fmla="*/ 505535 h 6858000"/>
              <a:gd name="connsiteX57" fmla="*/ 1106092 w 8112124"/>
              <a:gd name="connsiteY57" fmla="*/ 503836 h 6858000"/>
              <a:gd name="connsiteX58" fmla="*/ 1013573 w 8112124"/>
              <a:gd name="connsiteY58" fmla="*/ 396188 h 6858000"/>
              <a:gd name="connsiteX59" fmla="*/ 1012126 w 8112124"/>
              <a:gd name="connsiteY59" fmla="*/ 396737 h 6858000"/>
              <a:gd name="connsiteX60" fmla="*/ 1012126 w 8112124"/>
              <a:gd name="connsiteY60" fmla="*/ 503308 h 6858000"/>
              <a:gd name="connsiteX61" fmla="*/ 1009888 w 8112124"/>
              <a:gd name="connsiteY61" fmla="*/ 505535 h 6858000"/>
              <a:gd name="connsiteX62" fmla="*/ 938134 w 8112124"/>
              <a:gd name="connsiteY62" fmla="*/ 505535 h 6858000"/>
              <a:gd name="connsiteX63" fmla="*/ 935917 w 8112124"/>
              <a:gd name="connsiteY63" fmla="*/ 503308 h 6858000"/>
              <a:gd name="connsiteX64" fmla="*/ 935917 w 8112124"/>
              <a:gd name="connsiteY64" fmla="*/ 326313 h 6858000"/>
              <a:gd name="connsiteX65" fmla="*/ 954581 w 8112124"/>
              <a:gd name="connsiteY65" fmla="*/ 277404 h 6858000"/>
              <a:gd name="connsiteX66" fmla="*/ 932169 w 8112124"/>
              <a:gd name="connsiteY66" fmla="*/ 235768 h 6858000"/>
              <a:gd name="connsiteX67" fmla="*/ 909641 w 8112124"/>
              <a:gd name="connsiteY67" fmla="*/ 279790 h 6858000"/>
              <a:gd name="connsiteX68" fmla="*/ 909641 w 8112124"/>
              <a:gd name="connsiteY68" fmla="*/ 358385 h 6858000"/>
              <a:gd name="connsiteX69" fmla="*/ 859391 w 8112124"/>
              <a:gd name="connsiteY69" fmla="*/ 503413 h 6858000"/>
              <a:gd name="connsiteX70" fmla="*/ 856435 w 8112124"/>
              <a:gd name="connsiteY70" fmla="*/ 505535 h 6858000"/>
              <a:gd name="connsiteX71" fmla="*/ 767716 w 8112124"/>
              <a:gd name="connsiteY71" fmla="*/ 505535 h 6858000"/>
              <a:gd name="connsiteX72" fmla="*/ 764760 w 8112124"/>
              <a:gd name="connsiteY72" fmla="*/ 503424 h 6858000"/>
              <a:gd name="connsiteX73" fmla="*/ 700543 w 8112124"/>
              <a:gd name="connsiteY73" fmla="*/ 320317 h 6858000"/>
              <a:gd name="connsiteX74" fmla="*/ 699086 w 8112124"/>
              <a:gd name="connsiteY74" fmla="*/ 320317 h 6858000"/>
              <a:gd name="connsiteX75" fmla="*/ 635482 w 8112124"/>
              <a:gd name="connsiteY75" fmla="*/ 503413 h 6858000"/>
              <a:gd name="connsiteX76" fmla="*/ 632526 w 8112124"/>
              <a:gd name="connsiteY76" fmla="*/ 505535 h 6858000"/>
              <a:gd name="connsiteX77" fmla="*/ 0 w 8112124"/>
              <a:gd name="connsiteY77" fmla="*/ 6858000 h 6858000"/>
              <a:gd name="connsiteX78" fmla="*/ 4048124 w 8112124"/>
              <a:gd name="connsiteY78" fmla="*/ 6858000 h 6858000"/>
              <a:gd name="connsiteX79" fmla="*/ 7191556 w 8112124"/>
              <a:gd name="connsiteY79" fmla="*/ 6858000 h 6858000"/>
              <a:gd name="connsiteX80" fmla="*/ 7758827 w 8112124"/>
              <a:gd name="connsiteY80" fmla="*/ 3409950 h 6858000"/>
              <a:gd name="connsiteX81" fmla="*/ 7720691 w 8112124"/>
              <a:gd name="connsiteY81" fmla="*/ 0 h 6858000"/>
              <a:gd name="connsiteX82" fmla="*/ 4048124 w 8112124"/>
              <a:gd name="connsiteY82" fmla="*/ 0 h 6858000"/>
              <a:gd name="connsiteX83" fmla="*/ 0 w 8112124"/>
              <a:gd name="connsiteY8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8112124" h="6858000">
                <a:moveTo>
                  <a:pt x="811590" y="434161"/>
                </a:moveTo>
                <a:cubicBezTo>
                  <a:pt x="811780" y="434161"/>
                  <a:pt x="812213" y="433190"/>
                  <a:pt x="812551" y="432018"/>
                </a:cubicBezTo>
                <a:lnTo>
                  <a:pt x="842986" y="329216"/>
                </a:lnTo>
                <a:cubicBezTo>
                  <a:pt x="843296" y="328408"/>
                  <a:pt x="842892" y="327502"/>
                  <a:pt x="842084" y="327192"/>
                </a:cubicBezTo>
                <a:cubicBezTo>
                  <a:pt x="841860" y="327106"/>
                  <a:pt x="841620" y="327073"/>
                  <a:pt x="841381" y="327094"/>
                </a:cubicBezTo>
                <a:lnTo>
                  <a:pt x="781809" y="327094"/>
                </a:lnTo>
                <a:cubicBezTo>
                  <a:pt x="780943" y="327022"/>
                  <a:pt x="780182" y="327666"/>
                  <a:pt x="780110" y="328532"/>
                </a:cubicBezTo>
                <a:cubicBezTo>
                  <a:pt x="780090" y="328764"/>
                  <a:pt x="780123" y="328998"/>
                  <a:pt x="780204" y="329216"/>
                </a:cubicBezTo>
                <a:lnTo>
                  <a:pt x="810640" y="432018"/>
                </a:lnTo>
                <a:cubicBezTo>
                  <a:pt x="810784" y="432797"/>
                  <a:pt x="811109" y="433531"/>
                  <a:pt x="811590" y="434161"/>
                </a:cubicBezTo>
                <a:close/>
                <a:moveTo>
                  <a:pt x="587692" y="434161"/>
                </a:moveTo>
                <a:cubicBezTo>
                  <a:pt x="588172" y="433531"/>
                  <a:pt x="588498" y="432797"/>
                  <a:pt x="588641" y="432018"/>
                </a:cubicBezTo>
                <a:lnTo>
                  <a:pt x="619077" y="329216"/>
                </a:lnTo>
                <a:cubicBezTo>
                  <a:pt x="619392" y="328416"/>
                  <a:pt x="618999" y="327511"/>
                  <a:pt x="618198" y="327196"/>
                </a:cubicBezTo>
                <a:cubicBezTo>
                  <a:pt x="617971" y="327106"/>
                  <a:pt x="617726" y="327071"/>
                  <a:pt x="617483" y="327094"/>
                </a:cubicBezTo>
                <a:lnTo>
                  <a:pt x="557911" y="327094"/>
                </a:lnTo>
                <a:cubicBezTo>
                  <a:pt x="557047" y="327019"/>
                  <a:pt x="556285" y="327658"/>
                  <a:pt x="556210" y="328522"/>
                </a:cubicBezTo>
                <a:cubicBezTo>
                  <a:pt x="556189" y="328758"/>
                  <a:pt x="556222" y="328995"/>
                  <a:pt x="556306" y="329216"/>
                </a:cubicBezTo>
                <a:lnTo>
                  <a:pt x="586752" y="432018"/>
                </a:lnTo>
                <a:cubicBezTo>
                  <a:pt x="586899" y="432794"/>
                  <a:pt x="587220" y="433527"/>
                  <a:pt x="587692" y="434161"/>
                </a:cubicBezTo>
                <a:close/>
                <a:moveTo>
                  <a:pt x="543817" y="505535"/>
                </a:moveTo>
                <a:cubicBezTo>
                  <a:pt x="542502" y="505476"/>
                  <a:pt x="541345" y="504649"/>
                  <a:pt x="540861" y="503424"/>
                </a:cubicBezTo>
                <a:lnTo>
                  <a:pt x="443053" y="224514"/>
                </a:lnTo>
                <a:cubicBezTo>
                  <a:pt x="442706" y="223774"/>
                  <a:pt x="443026" y="222892"/>
                  <a:pt x="443767" y="222546"/>
                </a:cubicBezTo>
                <a:cubicBezTo>
                  <a:pt x="444008" y="222433"/>
                  <a:pt x="444276" y="222387"/>
                  <a:pt x="444542" y="222413"/>
                </a:cubicBezTo>
                <a:lnTo>
                  <a:pt x="521743" y="222413"/>
                </a:lnTo>
                <a:cubicBezTo>
                  <a:pt x="523044" y="222470"/>
                  <a:pt x="524178" y="223316"/>
                  <a:pt x="524604" y="224546"/>
                </a:cubicBezTo>
                <a:lnTo>
                  <a:pt x="537103" y="266287"/>
                </a:lnTo>
                <a:cubicBezTo>
                  <a:pt x="537531" y="267521"/>
                  <a:pt x="538670" y="268366"/>
                  <a:pt x="539975" y="268420"/>
                </a:cubicBezTo>
                <a:lnTo>
                  <a:pt x="635418" y="268420"/>
                </a:lnTo>
                <a:cubicBezTo>
                  <a:pt x="636718" y="268360"/>
                  <a:pt x="637850" y="267516"/>
                  <a:pt x="638279" y="266287"/>
                </a:cubicBezTo>
                <a:lnTo>
                  <a:pt x="650789" y="224546"/>
                </a:lnTo>
                <a:cubicBezTo>
                  <a:pt x="651218" y="223318"/>
                  <a:pt x="652350" y="222474"/>
                  <a:pt x="653650" y="222413"/>
                </a:cubicBezTo>
                <a:lnTo>
                  <a:pt x="745642" y="222413"/>
                </a:lnTo>
                <a:cubicBezTo>
                  <a:pt x="746942" y="222470"/>
                  <a:pt x="748076" y="223316"/>
                  <a:pt x="748502" y="224546"/>
                </a:cubicBezTo>
                <a:lnTo>
                  <a:pt x="761012" y="266287"/>
                </a:lnTo>
                <a:cubicBezTo>
                  <a:pt x="761433" y="267521"/>
                  <a:pt x="762570" y="268369"/>
                  <a:pt x="763873" y="268420"/>
                </a:cubicBezTo>
                <a:lnTo>
                  <a:pt x="859328" y="268420"/>
                </a:lnTo>
                <a:cubicBezTo>
                  <a:pt x="860627" y="268360"/>
                  <a:pt x="861759" y="267516"/>
                  <a:pt x="862188" y="266287"/>
                </a:cubicBezTo>
                <a:lnTo>
                  <a:pt x="874677" y="224546"/>
                </a:lnTo>
                <a:cubicBezTo>
                  <a:pt x="875109" y="223320"/>
                  <a:pt x="876239" y="222477"/>
                  <a:pt x="877538" y="222413"/>
                </a:cubicBezTo>
                <a:lnTo>
                  <a:pt x="1009888" y="222413"/>
                </a:lnTo>
                <a:cubicBezTo>
                  <a:pt x="1011119" y="222417"/>
                  <a:pt x="1012118" y="223410"/>
                  <a:pt x="1012126" y="224641"/>
                </a:cubicBezTo>
                <a:lnTo>
                  <a:pt x="1012126" y="299879"/>
                </a:lnTo>
                <a:cubicBezTo>
                  <a:pt x="1012196" y="301295"/>
                  <a:pt x="1012743" y="302646"/>
                  <a:pt x="1013678" y="303711"/>
                </a:cubicBezTo>
                <a:lnTo>
                  <a:pt x="1042910" y="333819"/>
                </a:lnTo>
                <a:cubicBezTo>
                  <a:pt x="1043506" y="334523"/>
                  <a:pt x="1044560" y="334610"/>
                  <a:pt x="1045265" y="334014"/>
                </a:cubicBezTo>
                <a:cubicBezTo>
                  <a:pt x="1045423" y="333879"/>
                  <a:pt x="1045555" y="333717"/>
                  <a:pt x="1045654" y="333534"/>
                </a:cubicBezTo>
                <a:lnTo>
                  <a:pt x="1114041" y="224303"/>
                </a:lnTo>
                <a:cubicBezTo>
                  <a:pt x="1114797" y="223104"/>
                  <a:pt x="1116125" y="222387"/>
                  <a:pt x="1117542" y="222413"/>
                </a:cubicBezTo>
                <a:lnTo>
                  <a:pt x="1214827" y="222413"/>
                </a:lnTo>
                <a:cubicBezTo>
                  <a:pt x="1216062" y="222413"/>
                  <a:pt x="1216516" y="223258"/>
                  <a:pt x="1215840" y="224282"/>
                </a:cubicBezTo>
                <a:lnTo>
                  <a:pt x="1106842" y="392240"/>
                </a:lnTo>
                <a:cubicBezTo>
                  <a:pt x="1106172" y="393344"/>
                  <a:pt x="1106296" y="394754"/>
                  <a:pt x="1107148" y="395724"/>
                </a:cubicBezTo>
                <a:lnTo>
                  <a:pt x="1207532" y="503899"/>
                </a:lnTo>
                <a:cubicBezTo>
                  <a:pt x="1208366" y="504796"/>
                  <a:pt x="1208049" y="505535"/>
                  <a:pt x="1206825" y="505535"/>
                </a:cubicBezTo>
                <a:lnTo>
                  <a:pt x="1109766" y="505535"/>
                </a:lnTo>
                <a:cubicBezTo>
                  <a:pt x="1108370" y="505454"/>
                  <a:pt x="1107057" y="504847"/>
                  <a:pt x="1106092" y="503836"/>
                </a:cubicBezTo>
                <a:lnTo>
                  <a:pt x="1013573" y="396188"/>
                </a:lnTo>
                <a:cubicBezTo>
                  <a:pt x="1012770" y="395259"/>
                  <a:pt x="1012126" y="395513"/>
                  <a:pt x="1012126" y="396737"/>
                </a:cubicBezTo>
                <a:lnTo>
                  <a:pt x="1012126" y="503308"/>
                </a:lnTo>
                <a:cubicBezTo>
                  <a:pt x="1012117" y="504538"/>
                  <a:pt x="1011119" y="505532"/>
                  <a:pt x="1009888" y="505535"/>
                </a:cubicBezTo>
                <a:lnTo>
                  <a:pt x="938134" y="505535"/>
                </a:lnTo>
                <a:cubicBezTo>
                  <a:pt x="936911" y="505523"/>
                  <a:pt x="935923" y="504531"/>
                  <a:pt x="935917" y="503308"/>
                </a:cubicBezTo>
                <a:lnTo>
                  <a:pt x="935917" y="326313"/>
                </a:lnTo>
                <a:cubicBezTo>
                  <a:pt x="935526" y="293556"/>
                  <a:pt x="942853" y="297683"/>
                  <a:pt x="954581" y="277404"/>
                </a:cubicBezTo>
                <a:cubicBezTo>
                  <a:pt x="964198" y="260808"/>
                  <a:pt x="955996" y="237404"/>
                  <a:pt x="932169" y="235768"/>
                </a:cubicBezTo>
                <a:cubicBezTo>
                  <a:pt x="912291" y="234395"/>
                  <a:pt x="894798" y="257061"/>
                  <a:pt x="909641" y="279790"/>
                </a:cubicBezTo>
                <a:cubicBezTo>
                  <a:pt x="925318" y="303753"/>
                  <a:pt x="931895" y="292658"/>
                  <a:pt x="909641" y="358385"/>
                </a:cubicBezTo>
                <a:lnTo>
                  <a:pt x="859391" y="503413"/>
                </a:lnTo>
                <a:cubicBezTo>
                  <a:pt x="858913" y="504643"/>
                  <a:pt x="857754" y="505475"/>
                  <a:pt x="856435" y="505535"/>
                </a:cubicBezTo>
                <a:lnTo>
                  <a:pt x="767716" y="505535"/>
                </a:lnTo>
                <a:cubicBezTo>
                  <a:pt x="766400" y="505476"/>
                  <a:pt x="765243" y="504649"/>
                  <a:pt x="764760" y="503424"/>
                </a:cubicBezTo>
                <a:lnTo>
                  <a:pt x="700543" y="320317"/>
                </a:lnTo>
                <a:cubicBezTo>
                  <a:pt x="700131" y="319156"/>
                  <a:pt x="699477" y="319156"/>
                  <a:pt x="699086" y="320317"/>
                </a:cubicBezTo>
                <a:lnTo>
                  <a:pt x="635482" y="503413"/>
                </a:lnTo>
                <a:cubicBezTo>
                  <a:pt x="635003" y="504643"/>
                  <a:pt x="633844" y="505475"/>
                  <a:pt x="632526" y="505535"/>
                </a:cubicBezTo>
                <a:close/>
                <a:moveTo>
                  <a:pt x="0" y="6858000"/>
                </a:moveTo>
                <a:lnTo>
                  <a:pt x="4048124" y="6858000"/>
                </a:lnTo>
                <a:lnTo>
                  <a:pt x="7191556" y="6858000"/>
                </a:lnTo>
                <a:cubicBezTo>
                  <a:pt x="7015178" y="6186488"/>
                  <a:pt x="7010411" y="5086350"/>
                  <a:pt x="7758827" y="3409950"/>
                </a:cubicBezTo>
                <a:cubicBezTo>
                  <a:pt x="8464339" y="1833563"/>
                  <a:pt x="7930438" y="438150"/>
                  <a:pt x="7720691" y="0"/>
                </a:cubicBezTo>
                <a:lnTo>
                  <a:pt x="4048124" y="0"/>
                </a:lnTo>
                <a:lnTo>
                  <a:pt x="0" y="0"/>
                </a:lnTo>
                <a:close/>
              </a:path>
            </a:pathLst>
          </a:custGeom>
          <a:solidFill>
            <a:schemeClr val="accent1"/>
          </a:solidFill>
        </p:spPr>
        <p:txBody>
          <a:bodyPr wrap="square">
            <a:noAutofit/>
          </a:bodyPr>
          <a:lstStyle>
            <a:lvl1pPr marL="0" indent="0">
              <a:buNone/>
              <a:defRPr/>
            </a:lvl1pPr>
          </a:lstStyle>
          <a:p>
            <a:pPr lvl="0"/>
            <a:r>
              <a:rPr lang="en-US"/>
              <a:t> </a:t>
            </a:r>
          </a:p>
        </p:txBody>
      </p:sp>
      <p:sp>
        <p:nvSpPr>
          <p:cNvPr id="12" name="Content Placeholder 7">
            <a:extLst>
              <a:ext uri="{FF2B5EF4-FFF2-40B4-BE49-F238E27FC236}">
                <a16:creationId xmlns:a16="http://schemas.microsoft.com/office/drawing/2014/main" id="{D5EA6B99-3C9C-4BB1-8DD3-CB6727C126C6}"/>
              </a:ext>
            </a:extLst>
          </p:cNvPr>
          <p:cNvSpPr>
            <a:spLocks noGrp="1"/>
          </p:cNvSpPr>
          <p:nvPr>
            <p:ph sz="quarter" idx="16"/>
          </p:nvPr>
        </p:nvSpPr>
        <p:spPr>
          <a:xfrm>
            <a:off x="8526463" y="1219200"/>
            <a:ext cx="3222624" cy="4910138"/>
          </a:xfrm>
        </p:spPr>
        <p:txBody>
          <a:bodyPr/>
          <a:lstStyle>
            <a:lvl3pPr>
              <a:lnSpc>
                <a:spcPct val="90000"/>
              </a:lnSpc>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2">
            <a:extLst>
              <a:ext uri="{FF2B5EF4-FFF2-40B4-BE49-F238E27FC236}">
                <a16:creationId xmlns:a16="http://schemas.microsoft.com/office/drawing/2014/main" id="{CFB2899E-E2CA-4FE3-B171-DBFAC94CB5D1}"/>
              </a:ext>
            </a:extLst>
          </p:cNvPr>
          <p:cNvSpPr>
            <a:spLocks noGrp="1"/>
          </p:cNvSpPr>
          <p:nvPr>
            <p:ph type="title"/>
          </p:nvPr>
        </p:nvSpPr>
        <p:spPr>
          <a:xfrm>
            <a:off x="8509000" y="221456"/>
            <a:ext cx="3240088" cy="775597"/>
          </a:xfrm>
        </p:spPr>
        <p:txBody>
          <a:bodyPr/>
          <a:lstStyle/>
          <a:p>
            <a:r>
              <a:rPr lang="en-US"/>
              <a:t>Click to edit Master title style</a:t>
            </a:r>
            <a:endParaRPr lang="en-US" dirty="0"/>
          </a:p>
        </p:txBody>
      </p:sp>
      <p:sp>
        <p:nvSpPr>
          <p:cNvPr id="2" name="Date Placeholder 19">
            <a:extLst>
              <a:ext uri="{FF2B5EF4-FFF2-40B4-BE49-F238E27FC236}">
                <a16:creationId xmlns:a16="http://schemas.microsoft.com/office/drawing/2014/main" id="{BF79FE44-75D3-9F3D-CFFD-1EB59F2C4D44}"/>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BFC6E37A-DBDA-9A0B-8994-5DE6807EAB82}"/>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3" name="Footer Placeholder 2">
            <a:extLst>
              <a:ext uri="{FF2B5EF4-FFF2-40B4-BE49-F238E27FC236}">
                <a16:creationId xmlns:a16="http://schemas.microsoft.com/office/drawing/2014/main" id="{18B0373A-B089-BE0F-D987-49ADD33B06EA}"/>
              </a:ext>
            </a:extLst>
          </p:cNvPr>
          <p:cNvSpPr>
            <a:spLocks noGrp="1"/>
          </p:cNvSpPr>
          <p:nvPr>
            <p:ph type="ftr" sz="quarter" idx="17"/>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2725352188"/>
      </p:ext>
    </p:extLst>
  </p:cSld>
  <p:clrMapOvr>
    <a:masterClrMapping/>
  </p:clrMapOvr>
  <p:extLst>
    <p:ext uri="{DCECCB84-F9BA-43D5-87BE-67443E8EF086}">
      <p15:sldGuideLst xmlns:p15="http://schemas.microsoft.com/office/powerpoint/2012/main">
        <p15:guide id="1" pos="2819">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picture right_Black Olive Navy">
    <p:bg>
      <p:bgPr>
        <a:solidFill>
          <a:schemeClr val="accent1"/>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EF8D621-2565-4951-A9F9-874D9D49B001}"/>
              </a:ext>
            </a:extLst>
          </p:cNvPr>
          <p:cNvSpPr>
            <a:spLocks noGrp="1"/>
          </p:cNvSpPr>
          <p:nvPr>
            <p:ph type="pic" sz="quarter" idx="16"/>
          </p:nvPr>
        </p:nvSpPr>
        <p:spPr>
          <a:xfrm>
            <a:off x="4475163" y="0"/>
            <a:ext cx="7716837" cy="6858000"/>
          </a:xfrm>
          <a:custGeom>
            <a:avLst/>
            <a:gdLst>
              <a:gd name="connsiteX0" fmla="*/ 920567 w 7716837"/>
              <a:gd name="connsiteY0" fmla="*/ 0 h 6858000"/>
              <a:gd name="connsiteX1" fmla="*/ 4043657 w 7716837"/>
              <a:gd name="connsiteY1" fmla="*/ 0 h 6858000"/>
              <a:gd name="connsiteX2" fmla="*/ 4065587 w 7716837"/>
              <a:gd name="connsiteY2" fmla="*/ 0 h 6858000"/>
              <a:gd name="connsiteX3" fmla="*/ 7716837 w 7716837"/>
              <a:gd name="connsiteY3" fmla="*/ 0 h 6858000"/>
              <a:gd name="connsiteX4" fmla="*/ 7716837 w 7716837"/>
              <a:gd name="connsiteY4" fmla="*/ 6858000 h 6858000"/>
              <a:gd name="connsiteX5" fmla="*/ 4065587 w 7716837"/>
              <a:gd name="connsiteY5" fmla="*/ 6858000 h 6858000"/>
              <a:gd name="connsiteX6" fmla="*/ 391433 w 7716837"/>
              <a:gd name="connsiteY6" fmla="*/ 6858000 h 6858000"/>
              <a:gd name="connsiteX7" fmla="*/ 353297 w 7716837"/>
              <a:gd name="connsiteY7" fmla="*/ 3448050 h 6858000"/>
              <a:gd name="connsiteX8" fmla="*/ 920567 w 7716837"/>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6837" h="6858000">
                <a:moveTo>
                  <a:pt x="920567" y="0"/>
                </a:moveTo>
                <a:cubicBezTo>
                  <a:pt x="2582752" y="0"/>
                  <a:pt x="3517731" y="0"/>
                  <a:pt x="4043657" y="0"/>
                </a:cubicBezTo>
                <a:lnTo>
                  <a:pt x="4065587" y="0"/>
                </a:lnTo>
                <a:lnTo>
                  <a:pt x="7716837" y="0"/>
                </a:lnTo>
                <a:lnTo>
                  <a:pt x="7716837" y="685800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1219200"/>
            <a:ext cx="3608385" cy="4910137"/>
          </a:xfrm>
        </p:spPr>
        <p:txBody>
          <a:bodyPr/>
          <a:lstStyle>
            <a:lvl1pPr>
              <a:lnSpc>
                <a:spcPct val="90000"/>
              </a:lnSpc>
              <a:spcBef>
                <a:spcPts val="600"/>
              </a:spcBef>
              <a:spcAft>
                <a:spcPts val="0"/>
              </a:spcAft>
              <a:defRPr>
                <a:solidFill>
                  <a:schemeClr val="bg1"/>
                </a:solidFill>
              </a:defRPr>
            </a:lvl1pPr>
            <a:lvl2pPr>
              <a:lnSpc>
                <a:spcPct val="90000"/>
              </a:lnSpc>
              <a:spcBef>
                <a:spcPts val="600"/>
              </a:spcBef>
              <a:spcAft>
                <a:spcPts val="0"/>
              </a:spcAft>
              <a:defRPr>
                <a:solidFill>
                  <a:schemeClr val="bg1"/>
                </a:solidFill>
              </a:defRPr>
            </a:lvl2pPr>
            <a:lvl3pPr>
              <a:lnSpc>
                <a:spcPct val="90000"/>
              </a:lnSpc>
              <a:spcBef>
                <a:spcPts val="600"/>
              </a:spcBef>
              <a:spcAft>
                <a:spcPts val="0"/>
              </a:spcAft>
              <a:defRPr>
                <a:solidFill>
                  <a:schemeClr val="bg1"/>
                </a:solidFill>
              </a:defRPr>
            </a:lvl3pPr>
            <a:lvl4pPr>
              <a:lnSpc>
                <a:spcPct val="90000"/>
              </a:lnSpc>
              <a:spcBef>
                <a:spcPts val="600"/>
              </a:spcBef>
              <a:spcAft>
                <a:spcPts val="0"/>
              </a:spcAft>
              <a:defRPr>
                <a:solidFill>
                  <a:schemeClr val="bg1"/>
                </a:solidFill>
              </a:defRPr>
            </a:lvl4pPr>
            <a:lvl5pPr>
              <a:lnSpc>
                <a:spcPct val="90000"/>
              </a:lnSpc>
              <a:spcBef>
                <a:spcPts val="600"/>
              </a:spcBef>
              <a:spcAft>
                <a:spcPts val="0"/>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09AB31A-494F-4409-9C8A-3C88DED7B81F}"/>
              </a:ext>
            </a:extLst>
          </p:cNvPr>
          <p:cNvSpPr>
            <a:spLocks noGrp="1"/>
          </p:cNvSpPr>
          <p:nvPr>
            <p:ph type="title"/>
          </p:nvPr>
        </p:nvSpPr>
        <p:spPr>
          <a:xfrm>
            <a:off x="442914" y="221456"/>
            <a:ext cx="3636962" cy="775597"/>
          </a:xfrm>
        </p:spPr>
        <p:txBody>
          <a:bodyPr/>
          <a:lstStyle>
            <a:lvl1pPr>
              <a:defRPr>
                <a:solidFill>
                  <a:schemeClr val="bg1"/>
                </a:solidFill>
              </a:defRPr>
            </a:lvl1pPr>
          </a:lstStyle>
          <a:p>
            <a:r>
              <a:rPr lang="en-US"/>
              <a:t>Click to edit Master title style</a:t>
            </a:r>
            <a:endParaRPr lang="en-US" dirty="0"/>
          </a:p>
        </p:txBody>
      </p:sp>
      <p:sp>
        <p:nvSpPr>
          <p:cNvPr id="7" name="Graphic 21">
            <a:extLst>
              <a:ext uri="{FF2B5EF4-FFF2-40B4-BE49-F238E27FC236}">
                <a16:creationId xmlns:a16="http://schemas.microsoft.com/office/drawing/2014/main" id="{92B2314E-63EA-4F00-8F7C-1C00F10A9830}"/>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chemeClr val="bg1"/>
          </a:solidFill>
          <a:ln w="9525" cap="flat">
            <a:noFill/>
            <a:prstDash val="solid"/>
            <a:miter/>
          </a:ln>
        </p:spPr>
        <p:txBody>
          <a:bodyPr rtlCol="0" anchor="ctr"/>
          <a:lstStyle/>
          <a:p>
            <a:endParaRPr lang="en-US" dirty="0"/>
          </a:p>
        </p:txBody>
      </p:sp>
      <p:sp>
        <p:nvSpPr>
          <p:cNvPr id="2" name="Date Placeholder 19">
            <a:extLst>
              <a:ext uri="{FF2B5EF4-FFF2-40B4-BE49-F238E27FC236}">
                <a16:creationId xmlns:a16="http://schemas.microsoft.com/office/drawing/2014/main" id="{C8A97769-954E-D4C6-1492-D94EECA34DF4}"/>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chemeClr val="bg1"/>
                </a:solidFill>
              </a:defRPr>
            </a:lvl1pPr>
          </a:lstStyle>
          <a:p>
            <a:fld id="{684B2894-3B84-4879-8F4C-FB2CBD9FC7AC}" type="datetimeFigureOut">
              <a:rPr lang="en-GB" smtClean="0"/>
              <a:pPr/>
              <a:t>18/06/2025</a:t>
            </a:fld>
            <a:endParaRPr lang="en-GB" dirty="0"/>
          </a:p>
        </p:txBody>
      </p:sp>
      <p:sp>
        <p:nvSpPr>
          <p:cNvPr id="5" name="Slide Number Placeholder 20">
            <a:extLst>
              <a:ext uri="{FF2B5EF4-FFF2-40B4-BE49-F238E27FC236}">
                <a16:creationId xmlns:a16="http://schemas.microsoft.com/office/drawing/2014/main" id="{362C61FA-C677-B18F-D556-6DCDD30FD3B4}"/>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chemeClr val="bg1"/>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9537DCD2-8447-23DD-3346-73DC8E371051}"/>
              </a:ext>
            </a:extLst>
          </p:cNvPr>
          <p:cNvSpPr>
            <a:spLocks noGrp="1"/>
          </p:cNvSpPr>
          <p:nvPr>
            <p:ph type="ftr" sz="quarter" idx="17"/>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668020415"/>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ig picture right_Soya Bean Green">
    <p:bg>
      <p:bgPr>
        <a:solidFill>
          <a:srgbClr val="D2DEC3"/>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EF8D621-2565-4951-A9F9-874D9D49B001}"/>
              </a:ext>
            </a:extLst>
          </p:cNvPr>
          <p:cNvSpPr>
            <a:spLocks noGrp="1"/>
          </p:cNvSpPr>
          <p:nvPr>
            <p:ph type="pic" sz="quarter" idx="16"/>
          </p:nvPr>
        </p:nvSpPr>
        <p:spPr>
          <a:xfrm>
            <a:off x="4475163" y="0"/>
            <a:ext cx="7716837" cy="6858000"/>
          </a:xfrm>
          <a:custGeom>
            <a:avLst/>
            <a:gdLst>
              <a:gd name="connsiteX0" fmla="*/ 920567 w 7716837"/>
              <a:gd name="connsiteY0" fmla="*/ 0 h 6858000"/>
              <a:gd name="connsiteX1" fmla="*/ 4043657 w 7716837"/>
              <a:gd name="connsiteY1" fmla="*/ 0 h 6858000"/>
              <a:gd name="connsiteX2" fmla="*/ 4065587 w 7716837"/>
              <a:gd name="connsiteY2" fmla="*/ 0 h 6858000"/>
              <a:gd name="connsiteX3" fmla="*/ 7716837 w 7716837"/>
              <a:gd name="connsiteY3" fmla="*/ 0 h 6858000"/>
              <a:gd name="connsiteX4" fmla="*/ 7716837 w 7716837"/>
              <a:gd name="connsiteY4" fmla="*/ 6858000 h 6858000"/>
              <a:gd name="connsiteX5" fmla="*/ 4065587 w 7716837"/>
              <a:gd name="connsiteY5" fmla="*/ 6858000 h 6858000"/>
              <a:gd name="connsiteX6" fmla="*/ 391433 w 7716837"/>
              <a:gd name="connsiteY6" fmla="*/ 6858000 h 6858000"/>
              <a:gd name="connsiteX7" fmla="*/ 353297 w 7716837"/>
              <a:gd name="connsiteY7" fmla="*/ 3448050 h 6858000"/>
              <a:gd name="connsiteX8" fmla="*/ 920567 w 7716837"/>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6837" h="6858000">
                <a:moveTo>
                  <a:pt x="920567" y="0"/>
                </a:moveTo>
                <a:cubicBezTo>
                  <a:pt x="2582752" y="0"/>
                  <a:pt x="3517731" y="0"/>
                  <a:pt x="4043657" y="0"/>
                </a:cubicBezTo>
                <a:lnTo>
                  <a:pt x="4065587" y="0"/>
                </a:lnTo>
                <a:lnTo>
                  <a:pt x="7716837" y="0"/>
                </a:lnTo>
                <a:lnTo>
                  <a:pt x="7716837" y="685800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rgbClr val="00264E"/>
                </a:solidFill>
              </a:defRPr>
            </a:lvl1pPr>
          </a:lstStyle>
          <a:p>
            <a:r>
              <a:rPr lang="en-US"/>
              <a:t>Click icon to add picture</a:t>
            </a:r>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1219200"/>
            <a:ext cx="3608385" cy="4910137"/>
          </a:xfrm>
        </p:spPr>
        <p:txBody>
          <a:bodyPr/>
          <a:lstStyle>
            <a:lvl1pPr>
              <a:lnSpc>
                <a:spcPct val="90000"/>
              </a:lnSpc>
              <a:spcBef>
                <a:spcPts val="600"/>
              </a:spcBef>
              <a:spcAft>
                <a:spcPts val="0"/>
              </a:spcAft>
              <a:defRPr>
                <a:solidFill>
                  <a:srgbClr val="00264E"/>
                </a:solidFill>
              </a:defRPr>
            </a:lvl1pPr>
            <a:lvl2pPr>
              <a:lnSpc>
                <a:spcPct val="90000"/>
              </a:lnSpc>
              <a:spcBef>
                <a:spcPts val="600"/>
              </a:spcBef>
              <a:spcAft>
                <a:spcPts val="0"/>
              </a:spcAft>
              <a:defRPr>
                <a:solidFill>
                  <a:srgbClr val="00264E"/>
                </a:solidFill>
              </a:defRPr>
            </a:lvl2pPr>
            <a:lvl3pPr>
              <a:lnSpc>
                <a:spcPct val="90000"/>
              </a:lnSpc>
              <a:spcBef>
                <a:spcPts val="600"/>
              </a:spcBef>
              <a:spcAft>
                <a:spcPts val="0"/>
              </a:spcAft>
              <a:defRPr>
                <a:solidFill>
                  <a:srgbClr val="00264E"/>
                </a:solidFill>
              </a:defRPr>
            </a:lvl3pPr>
            <a:lvl4pPr>
              <a:lnSpc>
                <a:spcPct val="90000"/>
              </a:lnSpc>
              <a:spcBef>
                <a:spcPts val="600"/>
              </a:spcBef>
              <a:spcAft>
                <a:spcPts val="0"/>
              </a:spcAft>
              <a:defRPr>
                <a:solidFill>
                  <a:srgbClr val="00264E"/>
                </a:solidFill>
              </a:defRPr>
            </a:lvl4pPr>
            <a:lvl5pPr>
              <a:lnSpc>
                <a:spcPct val="90000"/>
              </a:lnSpc>
              <a:spcBef>
                <a:spcPts val="600"/>
              </a:spcBef>
              <a:spcAft>
                <a:spcPts val="0"/>
              </a:spcAft>
              <a:defRPr>
                <a:solidFill>
                  <a:srgbClr val="00264E"/>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09AB31A-494F-4409-9C8A-3C88DED7B81F}"/>
              </a:ext>
            </a:extLst>
          </p:cNvPr>
          <p:cNvSpPr>
            <a:spLocks noGrp="1"/>
          </p:cNvSpPr>
          <p:nvPr>
            <p:ph type="title"/>
          </p:nvPr>
        </p:nvSpPr>
        <p:spPr>
          <a:xfrm>
            <a:off x="442914" y="221456"/>
            <a:ext cx="3636962" cy="775597"/>
          </a:xfrm>
        </p:spPr>
        <p:txBody>
          <a:bodyPr/>
          <a:lstStyle>
            <a:lvl1pPr>
              <a:defRPr>
                <a:solidFill>
                  <a:srgbClr val="00264E"/>
                </a:solidFill>
              </a:defRPr>
            </a:lvl1pPr>
          </a:lstStyle>
          <a:p>
            <a:r>
              <a:rPr lang="en-US"/>
              <a:t>Click to edit Master title style</a:t>
            </a:r>
            <a:endParaRPr lang="en-US" dirty="0"/>
          </a:p>
        </p:txBody>
      </p:sp>
      <p:sp>
        <p:nvSpPr>
          <p:cNvPr id="2" name="Date Placeholder 19">
            <a:extLst>
              <a:ext uri="{FF2B5EF4-FFF2-40B4-BE49-F238E27FC236}">
                <a16:creationId xmlns:a16="http://schemas.microsoft.com/office/drawing/2014/main" id="{56BD776E-90FA-D4D5-CDCB-A183208EFB79}"/>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5" name="Slide Number Placeholder 20">
            <a:extLst>
              <a:ext uri="{FF2B5EF4-FFF2-40B4-BE49-F238E27FC236}">
                <a16:creationId xmlns:a16="http://schemas.microsoft.com/office/drawing/2014/main" id="{0134C15D-974B-4D1B-167C-F7F7D9CB3A91}"/>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DD2A5242-4B33-2239-C5D0-36F75ED669CC}"/>
              </a:ext>
            </a:extLst>
          </p:cNvPr>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3111922204"/>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ig picture right_Shea Brown">
    <p:bg>
      <p:bgPr>
        <a:solidFill>
          <a:srgbClr val="E2CFC6"/>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EF8D621-2565-4951-A9F9-874D9D49B001}"/>
              </a:ext>
            </a:extLst>
          </p:cNvPr>
          <p:cNvSpPr>
            <a:spLocks noGrp="1"/>
          </p:cNvSpPr>
          <p:nvPr>
            <p:ph type="pic" sz="quarter" idx="16"/>
          </p:nvPr>
        </p:nvSpPr>
        <p:spPr>
          <a:xfrm>
            <a:off x="4475163" y="0"/>
            <a:ext cx="7716837" cy="6858000"/>
          </a:xfrm>
          <a:custGeom>
            <a:avLst/>
            <a:gdLst>
              <a:gd name="connsiteX0" fmla="*/ 920567 w 7716837"/>
              <a:gd name="connsiteY0" fmla="*/ 0 h 6858000"/>
              <a:gd name="connsiteX1" fmla="*/ 4043657 w 7716837"/>
              <a:gd name="connsiteY1" fmla="*/ 0 h 6858000"/>
              <a:gd name="connsiteX2" fmla="*/ 4065587 w 7716837"/>
              <a:gd name="connsiteY2" fmla="*/ 0 h 6858000"/>
              <a:gd name="connsiteX3" fmla="*/ 7716837 w 7716837"/>
              <a:gd name="connsiteY3" fmla="*/ 0 h 6858000"/>
              <a:gd name="connsiteX4" fmla="*/ 7716837 w 7716837"/>
              <a:gd name="connsiteY4" fmla="*/ 6858000 h 6858000"/>
              <a:gd name="connsiteX5" fmla="*/ 4065587 w 7716837"/>
              <a:gd name="connsiteY5" fmla="*/ 6858000 h 6858000"/>
              <a:gd name="connsiteX6" fmla="*/ 391433 w 7716837"/>
              <a:gd name="connsiteY6" fmla="*/ 6858000 h 6858000"/>
              <a:gd name="connsiteX7" fmla="*/ 353297 w 7716837"/>
              <a:gd name="connsiteY7" fmla="*/ 3448050 h 6858000"/>
              <a:gd name="connsiteX8" fmla="*/ 920567 w 7716837"/>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6837" h="6858000">
                <a:moveTo>
                  <a:pt x="920567" y="0"/>
                </a:moveTo>
                <a:cubicBezTo>
                  <a:pt x="2582752" y="0"/>
                  <a:pt x="3517731" y="0"/>
                  <a:pt x="4043657" y="0"/>
                </a:cubicBezTo>
                <a:lnTo>
                  <a:pt x="4065587" y="0"/>
                </a:lnTo>
                <a:lnTo>
                  <a:pt x="7716837" y="0"/>
                </a:lnTo>
                <a:lnTo>
                  <a:pt x="7716837" y="685800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rgbClr val="00264E"/>
                </a:solidFill>
              </a:defRPr>
            </a:lvl1pPr>
          </a:lstStyle>
          <a:p>
            <a:r>
              <a:rPr lang="en-US"/>
              <a:t>Click icon to add picture</a:t>
            </a:r>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1219200"/>
            <a:ext cx="3608385" cy="4910137"/>
          </a:xfrm>
        </p:spPr>
        <p:txBody>
          <a:bodyPr/>
          <a:lstStyle>
            <a:lvl1pPr>
              <a:lnSpc>
                <a:spcPct val="90000"/>
              </a:lnSpc>
              <a:spcBef>
                <a:spcPts val="600"/>
              </a:spcBef>
              <a:spcAft>
                <a:spcPts val="0"/>
              </a:spcAft>
              <a:defRPr>
                <a:solidFill>
                  <a:srgbClr val="00264E"/>
                </a:solidFill>
              </a:defRPr>
            </a:lvl1pPr>
            <a:lvl2pPr>
              <a:lnSpc>
                <a:spcPct val="90000"/>
              </a:lnSpc>
              <a:spcBef>
                <a:spcPts val="600"/>
              </a:spcBef>
              <a:spcAft>
                <a:spcPts val="0"/>
              </a:spcAft>
              <a:defRPr>
                <a:solidFill>
                  <a:srgbClr val="00264E"/>
                </a:solidFill>
              </a:defRPr>
            </a:lvl2pPr>
            <a:lvl3pPr>
              <a:lnSpc>
                <a:spcPct val="90000"/>
              </a:lnSpc>
              <a:spcBef>
                <a:spcPts val="600"/>
              </a:spcBef>
              <a:spcAft>
                <a:spcPts val="0"/>
              </a:spcAft>
              <a:defRPr>
                <a:solidFill>
                  <a:srgbClr val="00264E"/>
                </a:solidFill>
              </a:defRPr>
            </a:lvl3pPr>
            <a:lvl4pPr>
              <a:lnSpc>
                <a:spcPct val="90000"/>
              </a:lnSpc>
              <a:spcBef>
                <a:spcPts val="600"/>
              </a:spcBef>
              <a:spcAft>
                <a:spcPts val="0"/>
              </a:spcAft>
              <a:defRPr>
                <a:solidFill>
                  <a:srgbClr val="00264E"/>
                </a:solidFill>
              </a:defRPr>
            </a:lvl4pPr>
            <a:lvl5pPr>
              <a:lnSpc>
                <a:spcPct val="90000"/>
              </a:lnSpc>
              <a:spcBef>
                <a:spcPts val="600"/>
              </a:spcBef>
              <a:spcAft>
                <a:spcPts val="0"/>
              </a:spcAft>
              <a:defRPr>
                <a:solidFill>
                  <a:srgbClr val="00264E"/>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09AB31A-494F-4409-9C8A-3C88DED7B81F}"/>
              </a:ext>
            </a:extLst>
          </p:cNvPr>
          <p:cNvSpPr>
            <a:spLocks noGrp="1"/>
          </p:cNvSpPr>
          <p:nvPr>
            <p:ph type="title"/>
          </p:nvPr>
        </p:nvSpPr>
        <p:spPr>
          <a:xfrm>
            <a:off x="442914" y="221456"/>
            <a:ext cx="3636962" cy="775597"/>
          </a:xfrm>
        </p:spPr>
        <p:txBody>
          <a:bodyPr/>
          <a:lstStyle>
            <a:lvl1pPr>
              <a:defRPr>
                <a:solidFill>
                  <a:srgbClr val="00264E"/>
                </a:solidFill>
              </a:defRPr>
            </a:lvl1pPr>
          </a:lstStyle>
          <a:p>
            <a:r>
              <a:rPr lang="en-US"/>
              <a:t>Click to edit Master title style</a:t>
            </a:r>
            <a:endParaRPr lang="en-US" dirty="0"/>
          </a:p>
        </p:txBody>
      </p:sp>
      <p:sp>
        <p:nvSpPr>
          <p:cNvPr id="2" name="Date Placeholder 19">
            <a:extLst>
              <a:ext uri="{FF2B5EF4-FFF2-40B4-BE49-F238E27FC236}">
                <a16:creationId xmlns:a16="http://schemas.microsoft.com/office/drawing/2014/main" id="{7FD3CA0E-F123-2B22-9AAB-BEE33DFD453B}"/>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5" name="Slide Number Placeholder 20">
            <a:extLst>
              <a:ext uri="{FF2B5EF4-FFF2-40B4-BE49-F238E27FC236}">
                <a16:creationId xmlns:a16="http://schemas.microsoft.com/office/drawing/2014/main" id="{70DA0023-3789-81E0-1339-9709A68045CE}"/>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088E91DB-6824-D22F-EFBB-9F9D15CD32BF}"/>
              </a:ext>
            </a:extLst>
          </p:cNvPr>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150797187"/>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tatistics">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1828CCE-34B4-B2B4-B492-E6E5569E75AC}"/>
              </a:ext>
            </a:extLst>
          </p:cNvPr>
          <p:cNvSpPr>
            <a:spLocks/>
          </p:cNvSpPr>
          <p:nvPr userDrawn="1"/>
        </p:nvSpPr>
        <p:spPr>
          <a:xfrm>
            <a:off x="0" y="0"/>
            <a:ext cx="12192000" cy="6858000"/>
          </a:xfrm>
          <a:prstGeom prst="rect">
            <a:avLst/>
          </a:prstGeom>
          <a:solidFill>
            <a:schemeClr val="bg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16" name="Rectangle 15">
            <a:extLst>
              <a:ext uri="{FF2B5EF4-FFF2-40B4-BE49-F238E27FC236}">
                <a16:creationId xmlns:a16="http://schemas.microsoft.com/office/drawing/2014/main" id="{0D500AD3-F9D4-82C4-51DB-EAD0FCDF415F}"/>
              </a:ext>
            </a:extLst>
          </p:cNvPr>
          <p:cNvSpPr>
            <a:spLocks/>
          </p:cNvSpPr>
          <p:nvPr userDrawn="1"/>
        </p:nvSpPr>
        <p:spPr>
          <a:xfrm>
            <a:off x="442911" y="3202702"/>
            <a:ext cx="11306178" cy="1074140"/>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The following layouts are for statistics slides.</a:t>
            </a: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Do not use this slide)</a:t>
            </a:r>
            <a:endParaRPr kumimoji="0" lang="en-US" sz="11500" b="0" i="0" u="none" strike="noStrike" kern="1200" cap="none" spc="-30" normalizeH="0" baseline="0" noProof="0" dirty="0">
              <a:ln>
                <a:noFill/>
              </a:ln>
              <a:solidFill>
                <a:srgbClr val="00264E"/>
              </a:solidFill>
              <a:effectLst/>
              <a:uLnTx/>
              <a:uFillTx/>
              <a:latin typeface="Work Sans Medium" pitchFamily="2" charset="0"/>
              <a:ea typeface="+mn-ea"/>
              <a:cs typeface="+mn-cs"/>
            </a:endParaRPr>
          </a:p>
        </p:txBody>
      </p:sp>
      <p:sp>
        <p:nvSpPr>
          <p:cNvPr id="17" name="Rectangle 16">
            <a:extLst>
              <a:ext uri="{FF2B5EF4-FFF2-40B4-BE49-F238E27FC236}">
                <a16:creationId xmlns:a16="http://schemas.microsoft.com/office/drawing/2014/main" id="{B6EA2827-AEE2-6F2F-968A-8D21C672A99E}"/>
              </a:ext>
            </a:extLst>
          </p:cNvPr>
          <p:cNvSpPr>
            <a:spLocks/>
          </p:cNvSpPr>
          <p:nvPr userDrawn="1"/>
        </p:nvSpPr>
        <p:spPr>
          <a:xfrm>
            <a:off x="2507045" y="2202881"/>
            <a:ext cx="7177926" cy="914096"/>
          </a:xfrm>
          <a:prstGeom prst="rect">
            <a:avLst/>
          </a:prstGeom>
          <a:noFill/>
          <a:ln w="9525" cap="flat">
            <a:noFill/>
            <a:prstDash val="solid"/>
            <a:miter/>
          </a:ln>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6600" b="0" i="0" u="none" strike="noStrike" kern="1200" cap="none" spc="-30" normalizeH="0" baseline="0" noProof="0" dirty="0">
                <a:ln>
                  <a:noFill/>
                </a:ln>
                <a:solidFill>
                  <a:srgbClr val="00264E"/>
                </a:solidFill>
                <a:effectLst/>
                <a:uLnTx/>
                <a:uFillTx/>
                <a:latin typeface="Work Sans Medium" pitchFamily="2" charset="0"/>
                <a:ea typeface="+mn-ea"/>
                <a:cs typeface="+mn-cs"/>
              </a:rPr>
              <a:t>Statistics layouts</a:t>
            </a:r>
          </a:p>
        </p:txBody>
      </p:sp>
    </p:spTree>
    <p:extLst>
      <p:ext uri="{BB962C8B-B14F-4D97-AF65-F5344CB8AC3E}">
        <p14:creationId xmlns:p14="http://schemas.microsoft.com/office/powerpoint/2010/main" val="273090862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tatistics with picture_Blue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1BE874-5CD5-9EE4-7C3B-C8BBB50EBBF4}"/>
              </a:ext>
            </a:extLst>
          </p:cNvPr>
          <p:cNvGraphicFramePr>
            <a:graphicFrameLocks noChangeAspect="1"/>
          </p:cNvGraphicFramePr>
          <p:nvPr userDrawn="1">
            <p:custDataLst>
              <p:tags r:id="rId1"/>
            </p:custDataLst>
            <p:extLst>
              <p:ext uri="{D42A27DB-BD31-4B8C-83A1-F6EECF244321}">
                <p14:modId xmlns:p14="http://schemas.microsoft.com/office/powerpoint/2010/main" val="1710166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911BE874-5CD5-9EE4-7C3B-C8BBB50EBB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6E3AD4FA-B85C-4165-BD3B-78778C0EA996}"/>
              </a:ext>
            </a:extLst>
          </p:cNvPr>
          <p:cNvSpPr>
            <a:spLocks noGrp="1"/>
          </p:cNvSpPr>
          <p:nvPr>
            <p:ph type="pic" sz="quarter" idx="15"/>
          </p:nvPr>
        </p:nvSpPr>
        <p:spPr>
          <a:xfrm>
            <a:off x="8126413" y="0"/>
            <a:ext cx="4065587" cy="6858000"/>
          </a:xfrm>
          <a:custGeom>
            <a:avLst/>
            <a:gdLst>
              <a:gd name="connsiteX0" fmla="*/ 920567 w 4065587"/>
              <a:gd name="connsiteY0" fmla="*/ 0 h 6858000"/>
              <a:gd name="connsiteX1" fmla="*/ 4043657 w 4065587"/>
              <a:gd name="connsiteY1" fmla="*/ 0 h 6858000"/>
              <a:gd name="connsiteX2" fmla="*/ 4065587 w 4065587"/>
              <a:gd name="connsiteY2" fmla="*/ 0 h 6858000"/>
              <a:gd name="connsiteX3" fmla="*/ 4065587 w 4065587"/>
              <a:gd name="connsiteY3" fmla="*/ 6858000 h 6858000"/>
              <a:gd name="connsiteX4" fmla="*/ 391433 w 4065587"/>
              <a:gd name="connsiteY4" fmla="*/ 6858000 h 6858000"/>
              <a:gd name="connsiteX5" fmla="*/ 353297 w 4065587"/>
              <a:gd name="connsiteY5" fmla="*/ 3448050 h 6858000"/>
              <a:gd name="connsiteX6" fmla="*/ 920567 w 406558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5587" h="6858000">
                <a:moveTo>
                  <a:pt x="920567" y="0"/>
                </a:moveTo>
                <a:cubicBezTo>
                  <a:pt x="2582752" y="0"/>
                  <a:pt x="3517731" y="0"/>
                  <a:pt x="4043657" y="0"/>
                </a:cubicBezTo>
                <a:lnTo>
                  <a:pt x="4065587" y="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endParaRPr lang="en-US" dirty="0"/>
          </a:p>
        </p:txBody>
      </p:sp>
      <p:sp>
        <p:nvSpPr>
          <p:cNvPr id="2" name="Date Placeholder 19">
            <a:extLst>
              <a:ext uri="{FF2B5EF4-FFF2-40B4-BE49-F238E27FC236}">
                <a16:creationId xmlns:a16="http://schemas.microsoft.com/office/drawing/2014/main" id="{46DA812E-DD77-C0EF-7463-9018160242A8}"/>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919ED543-58B0-045B-7694-382FCF0CAAD2}"/>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6" name="Text Placeholder 6">
            <a:extLst>
              <a:ext uri="{FF2B5EF4-FFF2-40B4-BE49-F238E27FC236}">
                <a16:creationId xmlns:a16="http://schemas.microsoft.com/office/drawing/2014/main" id="{71F0A7EF-9A9B-C037-0863-0CA2613522F7}"/>
              </a:ext>
            </a:extLst>
          </p:cNvPr>
          <p:cNvSpPr>
            <a:spLocks noGrp="1"/>
          </p:cNvSpPr>
          <p:nvPr>
            <p:ph type="body" sz="quarter" idx="16" hasCustomPrompt="1"/>
          </p:nvPr>
        </p:nvSpPr>
        <p:spPr>
          <a:xfrm>
            <a:off x="820837" y="726650"/>
            <a:ext cx="2827336" cy="725078"/>
          </a:xfrm>
        </p:spPr>
        <p:txBody>
          <a:bodyPr anchor="ctr"/>
          <a:lstStyle>
            <a:lvl1pPr marL="0" indent="0">
              <a:buNone/>
              <a:defRPr sz="4000">
                <a:solidFill>
                  <a:srgbClr val="00264E"/>
                </a:solidFill>
                <a:latin typeface="Playfair Display Black" pitchFamily="2" charset="0"/>
              </a:defRPr>
            </a:lvl1pPr>
            <a:lvl2pPr marL="179025" indent="0">
              <a:buNone/>
              <a:defRPr sz="4000"/>
            </a:lvl2pPr>
            <a:lvl3pPr marL="359025" indent="0">
              <a:buNone/>
              <a:defRPr sz="4000"/>
            </a:lvl3pPr>
            <a:lvl4pPr marL="540000" indent="0">
              <a:buNone/>
              <a:defRPr sz="4000"/>
            </a:lvl4pPr>
            <a:lvl5pPr marL="719025" indent="0">
              <a:buNone/>
              <a:defRPr sz="4000"/>
            </a:lvl5pPr>
          </a:lstStyle>
          <a:p>
            <a:pPr lvl="0"/>
            <a:r>
              <a:rPr lang="en-US" dirty="0"/>
              <a:t>00x</a:t>
            </a:r>
            <a:endParaRPr lang="en-GB" dirty="0"/>
          </a:p>
        </p:txBody>
      </p:sp>
      <p:sp>
        <p:nvSpPr>
          <p:cNvPr id="7" name="Text Placeholder 6">
            <a:extLst>
              <a:ext uri="{FF2B5EF4-FFF2-40B4-BE49-F238E27FC236}">
                <a16:creationId xmlns:a16="http://schemas.microsoft.com/office/drawing/2014/main" id="{3E6FD57B-6475-D599-CE3A-7F458ED66E75}"/>
              </a:ext>
            </a:extLst>
          </p:cNvPr>
          <p:cNvSpPr>
            <a:spLocks noGrp="1"/>
          </p:cNvSpPr>
          <p:nvPr>
            <p:ph type="body" sz="quarter" idx="17" hasCustomPrompt="1"/>
          </p:nvPr>
        </p:nvSpPr>
        <p:spPr>
          <a:xfrm>
            <a:off x="4186206" y="726650"/>
            <a:ext cx="2827336" cy="725078"/>
          </a:xfrm>
        </p:spPr>
        <p:txBody>
          <a:bodyPr anchor="ctr"/>
          <a:lstStyle>
            <a:lvl1pPr marL="0" indent="0">
              <a:buNone/>
              <a:defRPr sz="4000">
                <a:solidFill>
                  <a:srgbClr val="00264E"/>
                </a:solidFill>
                <a:latin typeface="Playfair Display Black" pitchFamily="2" charset="0"/>
              </a:defRPr>
            </a:lvl1pPr>
            <a:lvl2pPr marL="179025" indent="0">
              <a:buNone/>
              <a:defRPr sz="4000"/>
            </a:lvl2pPr>
            <a:lvl3pPr marL="359025" indent="0">
              <a:buNone/>
              <a:defRPr sz="4000"/>
            </a:lvl3pPr>
            <a:lvl4pPr marL="540000" indent="0">
              <a:buNone/>
              <a:defRPr sz="4000"/>
            </a:lvl4pPr>
            <a:lvl5pPr marL="719025" indent="0">
              <a:buNone/>
              <a:defRPr sz="4000"/>
            </a:lvl5pPr>
          </a:lstStyle>
          <a:p>
            <a:pPr lvl="0"/>
            <a:r>
              <a:rPr lang="en-US" dirty="0"/>
              <a:t>00x</a:t>
            </a:r>
            <a:endParaRPr lang="en-GB" dirty="0"/>
          </a:p>
        </p:txBody>
      </p:sp>
      <p:sp>
        <p:nvSpPr>
          <p:cNvPr id="9" name="Text Placeholder 32">
            <a:extLst>
              <a:ext uri="{FF2B5EF4-FFF2-40B4-BE49-F238E27FC236}">
                <a16:creationId xmlns:a16="http://schemas.microsoft.com/office/drawing/2014/main" id="{45A170BB-43BA-62BC-4DA1-B4BCB9D36DB3}"/>
              </a:ext>
            </a:extLst>
          </p:cNvPr>
          <p:cNvSpPr>
            <a:spLocks noGrp="1"/>
          </p:cNvSpPr>
          <p:nvPr>
            <p:ph type="body" sz="quarter" idx="19" hasCustomPrompt="1"/>
          </p:nvPr>
        </p:nvSpPr>
        <p:spPr>
          <a:xfrm>
            <a:off x="820836" y="1581795"/>
            <a:ext cx="2827335" cy="1664208"/>
          </a:xfrm>
        </p:spPr>
        <p:txBody>
          <a:bodyPr/>
          <a:lstStyle>
            <a:lvl1pPr marL="0" indent="0">
              <a:spcAft>
                <a:spcPts val="600"/>
              </a:spcAft>
              <a:buNone/>
              <a:defRPr lang="en-US" sz="1600" b="0" kern="1200" dirty="0" smtClean="0">
                <a:solidFill>
                  <a:schemeClr val="tx1"/>
                </a:solidFill>
                <a:latin typeface="+mj-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Details of statistic</a:t>
            </a:r>
          </a:p>
        </p:txBody>
      </p:sp>
      <p:sp>
        <p:nvSpPr>
          <p:cNvPr id="10" name="Text Placeholder 32">
            <a:extLst>
              <a:ext uri="{FF2B5EF4-FFF2-40B4-BE49-F238E27FC236}">
                <a16:creationId xmlns:a16="http://schemas.microsoft.com/office/drawing/2014/main" id="{F2E07876-96FC-6376-2987-D36F8E41FFBA}"/>
              </a:ext>
            </a:extLst>
          </p:cNvPr>
          <p:cNvSpPr>
            <a:spLocks noGrp="1"/>
          </p:cNvSpPr>
          <p:nvPr>
            <p:ph type="body" sz="quarter" idx="20" hasCustomPrompt="1"/>
          </p:nvPr>
        </p:nvSpPr>
        <p:spPr>
          <a:xfrm>
            <a:off x="4186207" y="1581795"/>
            <a:ext cx="2827335" cy="1664208"/>
          </a:xfrm>
        </p:spPr>
        <p:txBody>
          <a:bodyPr vert="horz" lIns="0" tIns="0" rIns="0" bIns="0" rtlCol="0">
            <a:noAutofit/>
          </a:bodyPr>
          <a:lstStyle>
            <a:lvl1pPr marL="0" indent="0">
              <a:buNone/>
              <a:defRPr lang="en-US" b="0" dirty="0">
                <a:solidFill>
                  <a:schemeClr val="tx1"/>
                </a:solidFill>
                <a:latin typeface="+mj-lt"/>
              </a:defRPr>
            </a:lvl1pPr>
            <a:lvl2pPr>
              <a:defRPr lang="en-US" dirty="0">
                <a:solidFill>
                  <a:schemeClr val="tx1"/>
                </a:solidFill>
              </a:defRPr>
            </a:lvl2pPr>
            <a:lvl3pPr>
              <a:defRPr lang="en-US" dirty="0">
                <a:solidFill>
                  <a:schemeClr val="tx1"/>
                </a:solidFill>
              </a:defRPr>
            </a:lvl3pPr>
          </a:lstStyle>
          <a:p>
            <a:pPr marL="228600" lvl="0" indent="-228600" algn="l" defTabSz="914400" rtl="0" eaLnBrk="1" latinLnBrk="0" hangingPunct="1">
              <a:lnSpc>
                <a:spcPct val="100000"/>
              </a:lnSpc>
              <a:spcBef>
                <a:spcPts val="0"/>
              </a:spcBef>
              <a:spcAft>
                <a:spcPts val="600"/>
              </a:spcAft>
            </a:pPr>
            <a:r>
              <a:rPr lang="en-US" dirty="0"/>
              <a:t>Details of statistic</a:t>
            </a:r>
          </a:p>
        </p:txBody>
      </p:sp>
      <p:sp>
        <p:nvSpPr>
          <p:cNvPr id="11" name="Text Placeholder 6">
            <a:extLst>
              <a:ext uri="{FF2B5EF4-FFF2-40B4-BE49-F238E27FC236}">
                <a16:creationId xmlns:a16="http://schemas.microsoft.com/office/drawing/2014/main" id="{281D87E1-E303-3999-BAB9-6C627DF15928}"/>
              </a:ext>
            </a:extLst>
          </p:cNvPr>
          <p:cNvSpPr>
            <a:spLocks noGrp="1"/>
          </p:cNvSpPr>
          <p:nvPr>
            <p:ph type="body" sz="quarter" idx="21" hasCustomPrompt="1"/>
          </p:nvPr>
        </p:nvSpPr>
        <p:spPr>
          <a:xfrm>
            <a:off x="820837" y="3526410"/>
            <a:ext cx="2827336" cy="725078"/>
          </a:xfrm>
        </p:spPr>
        <p:txBody>
          <a:bodyPr anchor="ctr"/>
          <a:lstStyle>
            <a:lvl1pPr marL="0" indent="0">
              <a:buNone/>
              <a:defRPr sz="4000">
                <a:solidFill>
                  <a:srgbClr val="00264E"/>
                </a:solidFill>
                <a:latin typeface="Playfair Display Black" pitchFamily="2" charset="0"/>
              </a:defRPr>
            </a:lvl1pPr>
            <a:lvl2pPr marL="179025" indent="0">
              <a:buNone/>
              <a:defRPr sz="4000"/>
            </a:lvl2pPr>
            <a:lvl3pPr marL="359025" indent="0">
              <a:buNone/>
              <a:defRPr sz="4000"/>
            </a:lvl3pPr>
            <a:lvl4pPr marL="540000" indent="0">
              <a:buNone/>
              <a:defRPr sz="4000"/>
            </a:lvl4pPr>
            <a:lvl5pPr marL="719025" indent="0">
              <a:buNone/>
              <a:defRPr sz="4000"/>
            </a:lvl5pPr>
          </a:lstStyle>
          <a:p>
            <a:pPr lvl="0"/>
            <a:r>
              <a:rPr lang="en-US" dirty="0"/>
              <a:t>00x</a:t>
            </a:r>
            <a:endParaRPr lang="en-GB" dirty="0"/>
          </a:p>
        </p:txBody>
      </p:sp>
      <p:sp>
        <p:nvSpPr>
          <p:cNvPr id="12" name="Text Placeholder 6">
            <a:extLst>
              <a:ext uri="{FF2B5EF4-FFF2-40B4-BE49-F238E27FC236}">
                <a16:creationId xmlns:a16="http://schemas.microsoft.com/office/drawing/2014/main" id="{3327505C-85F0-1A91-587E-A1989A7EBE36}"/>
              </a:ext>
            </a:extLst>
          </p:cNvPr>
          <p:cNvSpPr>
            <a:spLocks noGrp="1"/>
          </p:cNvSpPr>
          <p:nvPr>
            <p:ph type="body" sz="quarter" idx="22" hasCustomPrompt="1"/>
          </p:nvPr>
        </p:nvSpPr>
        <p:spPr>
          <a:xfrm>
            <a:off x="4186206" y="3526410"/>
            <a:ext cx="2827336" cy="725078"/>
          </a:xfrm>
        </p:spPr>
        <p:txBody>
          <a:bodyPr anchor="ctr"/>
          <a:lstStyle>
            <a:lvl1pPr marL="0" indent="0">
              <a:buNone/>
              <a:defRPr sz="4000">
                <a:solidFill>
                  <a:srgbClr val="00264E"/>
                </a:solidFill>
                <a:latin typeface="Playfair Display Black" pitchFamily="2" charset="0"/>
              </a:defRPr>
            </a:lvl1pPr>
            <a:lvl2pPr marL="179025" indent="0">
              <a:buNone/>
              <a:defRPr sz="4000"/>
            </a:lvl2pPr>
            <a:lvl3pPr marL="359025" indent="0">
              <a:buNone/>
              <a:defRPr sz="4000"/>
            </a:lvl3pPr>
            <a:lvl4pPr marL="540000" indent="0">
              <a:buNone/>
              <a:defRPr sz="4000"/>
            </a:lvl4pPr>
            <a:lvl5pPr marL="719025" indent="0">
              <a:buNone/>
              <a:defRPr sz="4000"/>
            </a:lvl5pPr>
          </a:lstStyle>
          <a:p>
            <a:pPr lvl="0"/>
            <a:r>
              <a:rPr lang="en-US" dirty="0"/>
              <a:t>00x</a:t>
            </a:r>
            <a:endParaRPr lang="en-GB" dirty="0"/>
          </a:p>
        </p:txBody>
      </p:sp>
      <p:sp>
        <p:nvSpPr>
          <p:cNvPr id="14" name="Text Placeholder 32">
            <a:extLst>
              <a:ext uri="{FF2B5EF4-FFF2-40B4-BE49-F238E27FC236}">
                <a16:creationId xmlns:a16="http://schemas.microsoft.com/office/drawing/2014/main" id="{8259C012-A96D-390D-03CA-8B20B2C31F59}"/>
              </a:ext>
            </a:extLst>
          </p:cNvPr>
          <p:cNvSpPr>
            <a:spLocks noGrp="1"/>
          </p:cNvSpPr>
          <p:nvPr>
            <p:ph type="body" sz="quarter" idx="23" hasCustomPrompt="1"/>
          </p:nvPr>
        </p:nvSpPr>
        <p:spPr>
          <a:xfrm>
            <a:off x="820836" y="4381555"/>
            <a:ext cx="2827335" cy="1664208"/>
          </a:xfrm>
        </p:spPr>
        <p:txBody>
          <a:bodyPr vert="horz" lIns="0" tIns="0" rIns="0" bIns="0" rtlCol="0">
            <a:noAutofit/>
          </a:bodyPr>
          <a:lstStyle>
            <a:lvl1pPr marL="0" indent="0">
              <a:buNone/>
              <a:defRPr lang="en-US" b="0" dirty="0">
                <a:solidFill>
                  <a:schemeClr val="tx1"/>
                </a:solidFill>
                <a:latin typeface="+mj-lt"/>
              </a:defRPr>
            </a:lvl1pPr>
            <a:lvl2pPr>
              <a:defRPr lang="en-US" dirty="0">
                <a:solidFill>
                  <a:schemeClr val="tx1"/>
                </a:solidFill>
              </a:defRPr>
            </a:lvl2pPr>
            <a:lvl3pPr>
              <a:defRPr lang="en-US" dirty="0">
                <a:solidFill>
                  <a:schemeClr val="tx1"/>
                </a:solidFill>
              </a:defRPr>
            </a:lvl3pPr>
          </a:lstStyle>
          <a:p>
            <a:pPr marL="228600" lvl="0" indent="-228600" algn="l" defTabSz="914400" rtl="0" eaLnBrk="1" latinLnBrk="0" hangingPunct="1">
              <a:lnSpc>
                <a:spcPct val="100000"/>
              </a:lnSpc>
              <a:spcBef>
                <a:spcPts val="0"/>
              </a:spcBef>
              <a:spcAft>
                <a:spcPts val="600"/>
              </a:spcAft>
            </a:pPr>
            <a:r>
              <a:rPr lang="en-US" dirty="0"/>
              <a:t>Details of statistic</a:t>
            </a:r>
          </a:p>
          <a:p>
            <a:pPr marL="285750" lvl="2" indent="-285750">
              <a:spcAft>
                <a:spcPts val="600"/>
              </a:spcAft>
            </a:pPr>
            <a:endParaRPr lang="en-US" dirty="0"/>
          </a:p>
        </p:txBody>
      </p:sp>
      <p:sp>
        <p:nvSpPr>
          <p:cNvPr id="15" name="Text Placeholder 32">
            <a:extLst>
              <a:ext uri="{FF2B5EF4-FFF2-40B4-BE49-F238E27FC236}">
                <a16:creationId xmlns:a16="http://schemas.microsoft.com/office/drawing/2014/main" id="{AB2160CC-BFB7-EFBC-7551-5D2FD2FABC06}"/>
              </a:ext>
            </a:extLst>
          </p:cNvPr>
          <p:cNvSpPr>
            <a:spLocks noGrp="1"/>
          </p:cNvSpPr>
          <p:nvPr>
            <p:ph type="body" sz="quarter" idx="24" hasCustomPrompt="1"/>
          </p:nvPr>
        </p:nvSpPr>
        <p:spPr>
          <a:xfrm>
            <a:off x="4186207" y="4381555"/>
            <a:ext cx="2827335" cy="1664208"/>
          </a:xfrm>
        </p:spPr>
        <p:txBody>
          <a:bodyPr vert="horz" lIns="0" tIns="0" rIns="0" bIns="0" rtlCol="0">
            <a:noAutofit/>
          </a:bodyPr>
          <a:lstStyle>
            <a:lvl1pPr marL="0" indent="0">
              <a:buNone/>
              <a:defRPr lang="en-US" b="0" dirty="0">
                <a:solidFill>
                  <a:schemeClr val="tx1"/>
                </a:solidFill>
                <a:latin typeface="+mj-lt"/>
              </a:defRPr>
            </a:lvl1pPr>
            <a:lvl2pPr>
              <a:defRPr lang="en-US" dirty="0">
                <a:solidFill>
                  <a:schemeClr val="tx1"/>
                </a:solidFill>
              </a:defRPr>
            </a:lvl2pPr>
            <a:lvl3pPr>
              <a:defRPr lang="en-US" dirty="0">
                <a:solidFill>
                  <a:schemeClr val="tx1"/>
                </a:solidFill>
              </a:defRPr>
            </a:lvl3pPr>
          </a:lstStyle>
          <a:p>
            <a:pPr marL="228600" lvl="0" indent="-228600" algn="l" defTabSz="914400" rtl="0" eaLnBrk="1" latinLnBrk="0" hangingPunct="1">
              <a:lnSpc>
                <a:spcPct val="100000"/>
              </a:lnSpc>
              <a:spcBef>
                <a:spcPts val="0"/>
              </a:spcBef>
              <a:spcAft>
                <a:spcPts val="600"/>
              </a:spcAft>
            </a:pPr>
            <a:r>
              <a:rPr lang="en-US" dirty="0"/>
              <a:t>Details of statistic</a:t>
            </a:r>
          </a:p>
        </p:txBody>
      </p:sp>
      <p:sp>
        <p:nvSpPr>
          <p:cNvPr id="3" name="Footer Placeholder 2">
            <a:extLst>
              <a:ext uri="{FF2B5EF4-FFF2-40B4-BE49-F238E27FC236}">
                <a16:creationId xmlns:a16="http://schemas.microsoft.com/office/drawing/2014/main" id="{8EF4D17F-1F2A-F016-14CD-DD9AD844692F}"/>
              </a:ext>
            </a:extLst>
          </p:cNvPr>
          <p:cNvSpPr>
            <a:spLocks noGrp="1"/>
          </p:cNvSpPr>
          <p:nvPr>
            <p:ph type="ftr" sz="quarter" idx="25"/>
          </p:nvPr>
        </p:nvSpPr>
        <p:spPr/>
        <p:txBody>
          <a:bodyPr/>
          <a:lstStyle/>
          <a:p>
            <a:endParaRPr lang="en-GB"/>
          </a:p>
        </p:txBody>
      </p:sp>
    </p:spTree>
    <p:extLst>
      <p:ext uri="{BB962C8B-B14F-4D97-AF65-F5344CB8AC3E}">
        <p14:creationId xmlns:p14="http://schemas.microsoft.com/office/powerpoint/2010/main" val="2844004994"/>
      </p:ext>
    </p:extLst>
  </p:cSld>
  <p:clrMapOvr>
    <a:masterClrMapping/>
  </p:clrMapOvr>
  <p:extLst>
    <p:ext uri="{DCECCB84-F9BA-43D5-87BE-67443E8EF086}">
      <p15:sldGuideLst xmlns:p15="http://schemas.microsoft.com/office/powerpoint/2012/main">
        <p15:guide id="1" pos="486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391513E-07C1-E2E4-2F43-7476F510FB4C}"/>
              </a:ext>
            </a:extLst>
          </p:cNvPr>
          <p:cNvSpPr>
            <a:spLocks/>
          </p:cNvSpPr>
          <p:nvPr userDrawn="1"/>
        </p:nvSpPr>
        <p:spPr>
          <a:xfrm>
            <a:off x="0" y="0"/>
            <a:ext cx="12192000" cy="6858000"/>
          </a:xfrm>
          <a:prstGeom prst="rect">
            <a:avLst/>
          </a:prstGeom>
          <a:solidFill>
            <a:schemeClr val="bg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16" name="Rectangle 15">
            <a:extLst>
              <a:ext uri="{FF2B5EF4-FFF2-40B4-BE49-F238E27FC236}">
                <a16:creationId xmlns:a16="http://schemas.microsoft.com/office/drawing/2014/main" id="{139DDF34-9EA2-1124-B361-3F79775137CF}"/>
              </a:ext>
            </a:extLst>
          </p:cNvPr>
          <p:cNvSpPr>
            <a:spLocks/>
          </p:cNvSpPr>
          <p:nvPr userDrawn="1"/>
        </p:nvSpPr>
        <p:spPr>
          <a:xfrm>
            <a:off x="442911" y="3202702"/>
            <a:ext cx="11306178" cy="1074140"/>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The following layouts are for statement slides.</a:t>
            </a: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3600" b="0" i="0" u="none" strike="noStrike" kern="1200" cap="none" spc="-30" normalizeH="0" baseline="0" noProof="0" dirty="0">
                <a:ln>
                  <a:noFill/>
                </a:ln>
                <a:solidFill>
                  <a:srgbClr val="00264E"/>
                </a:solidFill>
                <a:effectLst/>
                <a:uLnTx/>
                <a:uFillTx/>
                <a:latin typeface="+mn-lt"/>
                <a:ea typeface="+mn-ea"/>
                <a:cs typeface="+mn-cs"/>
              </a:rPr>
              <a:t>(Do not use this slide)</a:t>
            </a:r>
            <a:endParaRPr kumimoji="0" lang="en-US" sz="11500" b="0" i="0" u="none" strike="noStrike" kern="1200" cap="none" spc="-30" normalizeH="0" baseline="0" noProof="0" dirty="0">
              <a:ln>
                <a:noFill/>
              </a:ln>
              <a:solidFill>
                <a:srgbClr val="00264E"/>
              </a:solidFill>
              <a:effectLst/>
              <a:uLnTx/>
              <a:uFillTx/>
              <a:latin typeface="Work Sans Medium" pitchFamily="2" charset="0"/>
              <a:ea typeface="+mn-ea"/>
              <a:cs typeface="+mn-cs"/>
            </a:endParaRPr>
          </a:p>
        </p:txBody>
      </p:sp>
      <p:sp>
        <p:nvSpPr>
          <p:cNvPr id="17" name="Rectangle 16">
            <a:extLst>
              <a:ext uri="{FF2B5EF4-FFF2-40B4-BE49-F238E27FC236}">
                <a16:creationId xmlns:a16="http://schemas.microsoft.com/office/drawing/2014/main" id="{AF9B9B8A-62B6-88A4-4709-99FA9B753619}"/>
              </a:ext>
            </a:extLst>
          </p:cNvPr>
          <p:cNvSpPr>
            <a:spLocks/>
          </p:cNvSpPr>
          <p:nvPr userDrawn="1"/>
        </p:nvSpPr>
        <p:spPr>
          <a:xfrm>
            <a:off x="2270280" y="2202881"/>
            <a:ext cx="7651454" cy="914096"/>
          </a:xfrm>
          <a:prstGeom prst="rect">
            <a:avLst/>
          </a:prstGeom>
          <a:noFill/>
          <a:ln w="9525" cap="flat">
            <a:noFill/>
            <a:prstDash val="solid"/>
            <a:miter/>
          </a:ln>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6600" b="0" i="0" u="none" strike="noStrike" kern="1200" cap="none" spc="-30" normalizeH="0" baseline="0" noProof="0" dirty="0">
                <a:ln>
                  <a:noFill/>
                </a:ln>
                <a:solidFill>
                  <a:srgbClr val="00264E"/>
                </a:solidFill>
                <a:effectLst/>
                <a:uLnTx/>
                <a:uFillTx/>
                <a:latin typeface="Work Sans Medium" pitchFamily="2" charset="0"/>
                <a:ea typeface="+mn-ea"/>
                <a:cs typeface="+mn-cs"/>
              </a:rPr>
              <a:t>Statement layouts</a:t>
            </a:r>
          </a:p>
        </p:txBody>
      </p:sp>
    </p:spTree>
    <p:extLst>
      <p:ext uri="{BB962C8B-B14F-4D97-AF65-F5344CB8AC3E}">
        <p14:creationId xmlns:p14="http://schemas.microsoft.com/office/powerpoint/2010/main" val="280103891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tatement/quote_Black Olive Navy">
    <p:bg>
      <p:bgPr>
        <a:solidFill>
          <a:srgbClr val="00264E"/>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0CB4B7DD-28BF-400A-9C18-DD61B9CDAD76}"/>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endParaRPr lang="en-US" dirty="0"/>
          </a:p>
        </p:txBody>
      </p:sp>
      <p:sp>
        <p:nvSpPr>
          <p:cNvPr id="11" name="Title 1">
            <a:extLst>
              <a:ext uri="{FF2B5EF4-FFF2-40B4-BE49-F238E27FC236}">
                <a16:creationId xmlns:a16="http://schemas.microsoft.com/office/drawing/2014/main" id="{64F78264-5633-44C8-8401-B155BECB19CB}"/>
              </a:ext>
            </a:extLst>
          </p:cNvPr>
          <p:cNvSpPr>
            <a:spLocks noGrp="1"/>
          </p:cNvSpPr>
          <p:nvPr>
            <p:ph type="title" hasCustomPrompt="1"/>
          </p:nvPr>
        </p:nvSpPr>
        <p:spPr>
          <a:xfrm>
            <a:off x="442914" y="216693"/>
            <a:ext cx="3600449" cy="5912645"/>
          </a:xfrm>
        </p:spPr>
        <p:txBody>
          <a:bodyPr anchor="ctr">
            <a:noAutofit/>
          </a:bodyPr>
          <a:lstStyle>
            <a:lvl1pPr algn="l">
              <a:lnSpc>
                <a:spcPct val="90000"/>
              </a:lnSpc>
              <a:spcBef>
                <a:spcPts val="600"/>
              </a:spcBef>
              <a:spcAft>
                <a:spcPts val="0"/>
              </a:spcAft>
              <a:defRPr sz="4000" spc="0" baseline="0">
                <a:solidFill>
                  <a:schemeClr val="bg1"/>
                </a:solidFill>
                <a:latin typeface="Playfair Display" pitchFamily="2" charset="0"/>
              </a:defRPr>
            </a:lvl1pPr>
          </a:lstStyle>
          <a:p>
            <a:r>
              <a:rPr lang="en-US" noProof="0" dirty="0"/>
              <a:t>Click to add statement </a:t>
            </a:r>
            <a:br>
              <a:rPr lang="en-US" noProof="0" dirty="0"/>
            </a:br>
            <a:r>
              <a:rPr lang="en-US" noProof="0" dirty="0"/>
              <a:t>or quote</a:t>
            </a:r>
          </a:p>
        </p:txBody>
      </p:sp>
      <p:sp>
        <p:nvSpPr>
          <p:cNvPr id="9" name="Graphic 21">
            <a:extLst>
              <a:ext uri="{FF2B5EF4-FFF2-40B4-BE49-F238E27FC236}">
                <a16:creationId xmlns:a16="http://schemas.microsoft.com/office/drawing/2014/main" id="{05EB7591-792F-497E-BC19-17F9D3F0DD27}"/>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chemeClr val="bg1"/>
          </a:solidFill>
          <a:ln w="9525" cap="flat">
            <a:noFill/>
            <a:prstDash val="solid"/>
            <a:miter/>
          </a:ln>
        </p:spPr>
        <p:txBody>
          <a:bodyPr rtlCol="0" anchor="ctr"/>
          <a:lstStyle/>
          <a:p>
            <a:endParaRPr lang="en-US" dirty="0"/>
          </a:p>
        </p:txBody>
      </p:sp>
      <p:sp>
        <p:nvSpPr>
          <p:cNvPr id="2" name="Date Placeholder 19">
            <a:extLst>
              <a:ext uri="{FF2B5EF4-FFF2-40B4-BE49-F238E27FC236}">
                <a16:creationId xmlns:a16="http://schemas.microsoft.com/office/drawing/2014/main" id="{614D7794-1644-53D6-8E19-F07490F15086}"/>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chemeClr val="bg1"/>
                </a:solidFill>
              </a:defRPr>
            </a:lvl1pPr>
          </a:lstStyle>
          <a:p>
            <a:fld id="{684B2894-3B84-4879-8F4C-FB2CBD9FC7AC}" type="datetimeFigureOut">
              <a:rPr lang="en-GB" smtClean="0"/>
              <a:pPr/>
              <a:t>18/06/2025</a:t>
            </a:fld>
            <a:endParaRPr lang="en-GB" dirty="0"/>
          </a:p>
        </p:txBody>
      </p:sp>
      <p:sp>
        <p:nvSpPr>
          <p:cNvPr id="3" name="Slide Number Placeholder 20">
            <a:extLst>
              <a:ext uri="{FF2B5EF4-FFF2-40B4-BE49-F238E27FC236}">
                <a16:creationId xmlns:a16="http://schemas.microsoft.com/office/drawing/2014/main" id="{643D3CFA-8D33-69F0-42B1-CDCA552D922B}"/>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chemeClr val="bg1"/>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3C83E9A9-738A-2157-6F45-EC37FBA3E366}"/>
              </a:ext>
            </a:extLst>
          </p:cNvPr>
          <p:cNvSpPr>
            <a:spLocks noGrp="1"/>
          </p:cNvSpPr>
          <p:nvPr>
            <p:ph type="ftr" sz="quarter" idx="15"/>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3068460599"/>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Statement/quote_Soya Bean Green">
    <p:bg>
      <p:bgPr>
        <a:solidFill>
          <a:srgbClr val="D2DEC3"/>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6DEBDD9-6430-4726-AAA3-A0FD5FEB0D8F}"/>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rgbClr val="00264E"/>
                </a:solidFill>
              </a:defRPr>
            </a:lvl1pPr>
          </a:lstStyle>
          <a:p>
            <a:r>
              <a:rPr lang="en-US"/>
              <a:t>Click icon to add picture</a:t>
            </a:r>
            <a:endParaRPr lang="en-US" dirty="0"/>
          </a:p>
        </p:txBody>
      </p:sp>
      <p:sp>
        <p:nvSpPr>
          <p:cNvPr id="3" name="Text Placeholder 2">
            <a:extLst>
              <a:ext uri="{FF2B5EF4-FFF2-40B4-BE49-F238E27FC236}">
                <a16:creationId xmlns:a16="http://schemas.microsoft.com/office/drawing/2014/main" id="{F893938E-CCEF-4D8A-8200-2C2804486334}"/>
              </a:ext>
            </a:extLst>
          </p:cNvPr>
          <p:cNvSpPr>
            <a:spLocks noGrp="1"/>
          </p:cNvSpPr>
          <p:nvPr>
            <p:ph type="body" sz="quarter" idx="15" hasCustomPrompt="1"/>
          </p:nvPr>
        </p:nvSpPr>
        <p:spPr>
          <a:xfrm>
            <a:off x="442914" y="216693"/>
            <a:ext cx="3608383" cy="5912645"/>
          </a:xfrm>
        </p:spPr>
        <p:txBody>
          <a:bodyPr anchor="ctr"/>
          <a:lstStyle>
            <a:lvl1pPr marL="0" indent="0">
              <a:buNone/>
              <a:defRPr sz="4000" spc="0" baseline="0">
                <a:solidFill>
                  <a:srgbClr val="00264E"/>
                </a:solidFill>
                <a:latin typeface="Playfair Display"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add statement </a:t>
            </a:r>
            <a:br>
              <a:rPr lang="en-US" noProof="0" dirty="0"/>
            </a:br>
            <a:r>
              <a:rPr lang="en-US" noProof="0" dirty="0"/>
              <a:t>or quote</a:t>
            </a:r>
            <a:endParaRPr lang="en-US" dirty="0"/>
          </a:p>
        </p:txBody>
      </p:sp>
      <p:sp>
        <p:nvSpPr>
          <p:cNvPr id="2" name="Date Placeholder 19">
            <a:extLst>
              <a:ext uri="{FF2B5EF4-FFF2-40B4-BE49-F238E27FC236}">
                <a16:creationId xmlns:a16="http://schemas.microsoft.com/office/drawing/2014/main" id="{70463F20-94C2-288D-9F24-5B228F37E754}"/>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4" name="Slide Number Placeholder 20">
            <a:extLst>
              <a:ext uri="{FF2B5EF4-FFF2-40B4-BE49-F238E27FC236}">
                <a16:creationId xmlns:a16="http://schemas.microsoft.com/office/drawing/2014/main" id="{1C88D85F-284D-8C0D-6B9B-DF7321C4C0AF}"/>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5" name="Graphic 21">
            <a:extLst>
              <a:ext uri="{FF2B5EF4-FFF2-40B4-BE49-F238E27FC236}">
                <a16:creationId xmlns:a16="http://schemas.microsoft.com/office/drawing/2014/main" id="{FD10B903-D955-89F6-ADDD-603A7B72FDCD}"/>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endParaRPr lang="en-US" dirty="0">
              <a:solidFill>
                <a:srgbClr val="00264E"/>
              </a:solidFill>
            </a:endParaRPr>
          </a:p>
        </p:txBody>
      </p:sp>
      <p:sp>
        <p:nvSpPr>
          <p:cNvPr id="6" name="Footer Placeholder 5">
            <a:extLst>
              <a:ext uri="{FF2B5EF4-FFF2-40B4-BE49-F238E27FC236}">
                <a16:creationId xmlns:a16="http://schemas.microsoft.com/office/drawing/2014/main" id="{2C9EA7E4-C75B-E74E-6367-DF4C757D0378}"/>
              </a:ext>
            </a:extLst>
          </p:cNvPr>
          <p:cNvSpPr>
            <a:spLocks noGrp="1"/>
          </p:cNvSpPr>
          <p:nvPr>
            <p:ph type="ftr" sz="quarter" idx="16"/>
          </p:nvPr>
        </p:nvSpPr>
        <p:spPr/>
        <p:txBody>
          <a:bodyPr/>
          <a:lstStyle/>
          <a:p>
            <a:endParaRPr lang="en-GB"/>
          </a:p>
        </p:txBody>
      </p:sp>
    </p:spTree>
    <p:extLst>
      <p:ext uri="{BB962C8B-B14F-4D97-AF65-F5344CB8AC3E}">
        <p14:creationId xmlns:p14="http://schemas.microsoft.com/office/powerpoint/2010/main" val="19529094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1.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slideLayout" Target="../slideLayouts/slideLayout95.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42" Type="http://schemas.openxmlformats.org/officeDocument/2006/relationships/slideLayout" Target="../slideLayouts/slideLayout98.xml"/><Relationship Id="rId47" Type="http://schemas.openxmlformats.org/officeDocument/2006/relationships/slideLayout" Target="../slideLayouts/slideLayout103.xml"/><Relationship Id="rId50" Type="http://schemas.openxmlformats.org/officeDocument/2006/relationships/slideLayout" Target="../slideLayouts/slideLayout106.xml"/><Relationship Id="rId55" Type="http://schemas.openxmlformats.org/officeDocument/2006/relationships/oleObject" Target="../embeddings/oleObject1.bin"/><Relationship Id="rId7" Type="http://schemas.openxmlformats.org/officeDocument/2006/relationships/slideLayout" Target="../slideLayouts/slideLayout6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9" Type="http://schemas.openxmlformats.org/officeDocument/2006/relationships/slideLayout" Target="../slideLayouts/slideLayout85.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45" Type="http://schemas.openxmlformats.org/officeDocument/2006/relationships/slideLayout" Target="../slideLayouts/slideLayout101.xml"/><Relationship Id="rId53" Type="http://schemas.openxmlformats.org/officeDocument/2006/relationships/theme" Target="../theme/theme2.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4" Type="http://schemas.openxmlformats.org/officeDocument/2006/relationships/slideLayout" Target="../slideLayouts/slideLayout100.xml"/><Relationship Id="rId52" Type="http://schemas.openxmlformats.org/officeDocument/2006/relationships/slideLayout" Target="../slideLayouts/slideLayout108.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slideLayout" Target="../slideLayouts/slideLayout99.xml"/><Relationship Id="rId48" Type="http://schemas.openxmlformats.org/officeDocument/2006/relationships/slideLayout" Target="../slideLayouts/slideLayout104.xml"/><Relationship Id="rId56" Type="http://schemas.openxmlformats.org/officeDocument/2006/relationships/image" Target="../media/image1.emf"/><Relationship Id="rId8" Type="http://schemas.openxmlformats.org/officeDocument/2006/relationships/slideLayout" Target="../slideLayouts/slideLayout64.xml"/><Relationship Id="rId51" Type="http://schemas.openxmlformats.org/officeDocument/2006/relationships/slideLayout" Target="../slideLayouts/slideLayout107.xml"/><Relationship Id="rId3" Type="http://schemas.openxmlformats.org/officeDocument/2006/relationships/slideLayout" Target="../slideLayouts/slideLayout59.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46" Type="http://schemas.openxmlformats.org/officeDocument/2006/relationships/slideLayout" Target="../slideLayouts/slideLayout102.xml"/><Relationship Id="rId20" Type="http://schemas.openxmlformats.org/officeDocument/2006/relationships/slideLayout" Target="../slideLayouts/slideLayout76.xml"/><Relationship Id="rId41" Type="http://schemas.openxmlformats.org/officeDocument/2006/relationships/slideLayout" Target="../slideLayouts/slideLayout97.xml"/><Relationship Id="rId54" Type="http://schemas.openxmlformats.org/officeDocument/2006/relationships/tags" Target="../tags/tag19.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49" Type="http://schemas.openxmlformats.org/officeDocument/2006/relationships/slideLayout" Target="../slideLayouts/slideLayout10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F8378AF-45B5-B1EA-8B80-6EBC376078CD}"/>
              </a:ext>
            </a:extLst>
          </p:cNvPr>
          <p:cNvGraphicFramePr>
            <a:graphicFrameLocks noChangeAspect="1"/>
          </p:cNvGraphicFramePr>
          <p:nvPr userDrawn="1">
            <p:custDataLst>
              <p:tags r:id="rId58"/>
            </p:custDataLst>
            <p:extLst>
              <p:ext uri="{D42A27DB-BD31-4B8C-83A1-F6EECF244321}">
                <p14:modId xmlns:p14="http://schemas.microsoft.com/office/powerpoint/2010/main" val="3606650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347" imgH="348" progId="TCLayout.ActiveDocument.1">
                  <p:embed/>
                </p:oleObj>
              </mc:Choice>
              <mc:Fallback>
                <p:oleObj name="think-cell Slide" r:id="rId59" imgW="347" imgH="348" progId="TCLayout.ActiveDocument.1">
                  <p:embed/>
                  <p:pic>
                    <p:nvPicPr>
                      <p:cNvPr id="8" name="think-cell data - do not delete" hidden="1">
                        <a:extLst>
                          <a:ext uri="{FF2B5EF4-FFF2-40B4-BE49-F238E27FC236}">
                            <a16:creationId xmlns:a16="http://schemas.microsoft.com/office/drawing/2014/main" id="{BF8378AF-45B5-B1EA-8B80-6EBC376078CD}"/>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221456"/>
            <a:ext cx="11306175" cy="775597"/>
          </a:xfrm>
          <a:prstGeom prst="rect">
            <a:avLst/>
          </a:prstGeom>
        </p:spPr>
        <p:txBody>
          <a:bodyPr vert="horz" lIns="0" tIns="0" rIns="0" bIns="0" rtlCol="0" anchor="ctr">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42913" y="1221665"/>
            <a:ext cx="11306175" cy="490767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Graphic 21">
            <a:extLst>
              <a:ext uri="{FF2B5EF4-FFF2-40B4-BE49-F238E27FC236}">
                <a16:creationId xmlns:a16="http://schemas.microsoft.com/office/drawing/2014/main" id="{EE15FF00-D4D1-4893-A09C-B08DDD992438}"/>
              </a:ext>
            </a:extLst>
          </p:cNvPr>
          <p:cNvSpPr/>
          <p:nvPr/>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endParaRPr lang="en-US" dirty="0">
              <a:solidFill>
                <a:srgbClr val="00264E"/>
              </a:solidFill>
            </a:endParaRPr>
          </a:p>
        </p:txBody>
      </p:sp>
      <p:sp>
        <p:nvSpPr>
          <p:cNvPr id="20" name="Date Placeholder 19">
            <a:extLst>
              <a:ext uri="{FF2B5EF4-FFF2-40B4-BE49-F238E27FC236}">
                <a16:creationId xmlns:a16="http://schemas.microsoft.com/office/drawing/2014/main" id="{196A26CF-5B81-D3A5-791A-6B766073ED97}"/>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21" name="Slide Number Placeholder 20">
            <a:extLst>
              <a:ext uri="{FF2B5EF4-FFF2-40B4-BE49-F238E27FC236}">
                <a16:creationId xmlns:a16="http://schemas.microsoft.com/office/drawing/2014/main" id="{77F8153D-E3D9-CA4F-1B9B-4CBDFD61BBFD}"/>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8E13D185-0C1B-08F8-B68B-43334864140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rgbClr val="00264E"/>
                </a:solidFill>
              </a:defRPr>
            </a:lvl1pPr>
          </a:lstStyle>
          <a:p>
            <a:endParaRPr lang="en-GB"/>
          </a:p>
        </p:txBody>
      </p:sp>
    </p:spTree>
    <p:extLst>
      <p:ext uri="{BB962C8B-B14F-4D97-AF65-F5344CB8AC3E}">
        <p14:creationId xmlns:p14="http://schemas.microsoft.com/office/powerpoint/2010/main" val="302548288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747" r:id="rId23"/>
    <p:sldLayoutId id="2147483748" r:id="rId24"/>
    <p:sldLayoutId id="2147483749" r:id="rId25"/>
    <p:sldLayoutId id="2147483750" r:id="rId26"/>
    <p:sldLayoutId id="2147483751" r:id="rId27"/>
    <p:sldLayoutId id="2147483752" r:id="rId28"/>
    <p:sldLayoutId id="2147483753" r:id="rId29"/>
    <p:sldLayoutId id="2147483755" r:id="rId30"/>
    <p:sldLayoutId id="2147483756" r:id="rId31"/>
    <p:sldLayoutId id="2147483757" r:id="rId32"/>
    <p:sldLayoutId id="2147483759" r:id="rId33"/>
    <p:sldLayoutId id="2147483760" r:id="rId34"/>
    <p:sldLayoutId id="2147483761" r:id="rId35"/>
    <p:sldLayoutId id="2147483762" r:id="rId36"/>
    <p:sldLayoutId id="2147483763" r:id="rId37"/>
    <p:sldLayoutId id="2147483764" r:id="rId38"/>
    <p:sldLayoutId id="2147483765" r:id="rId39"/>
    <p:sldLayoutId id="2147483767" r:id="rId40"/>
    <p:sldLayoutId id="2147483768" r:id="rId41"/>
    <p:sldLayoutId id="2147483769" r:id="rId42"/>
    <p:sldLayoutId id="2147483770" r:id="rId43"/>
    <p:sldLayoutId id="2147483771" r:id="rId44"/>
    <p:sldLayoutId id="2147483772" r:id="rId45"/>
    <p:sldLayoutId id="2147483773" r:id="rId46"/>
    <p:sldLayoutId id="2147483774" r:id="rId47"/>
    <p:sldLayoutId id="2147483775" r:id="rId48"/>
    <p:sldLayoutId id="2147483776" r:id="rId49"/>
    <p:sldLayoutId id="2147483777" r:id="rId50"/>
    <p:sldLayoutId id="2147483778" r:id="rId51"/>
    <p:sldLayoutId id="2147483831" r:id="rId52"/>
    <p:sldLayoutId id="2147483832" r:id="rId53"/>
    <p:sldLayoutId id="2147483837" r:id="rId54"/>
    <p:sldLayoutId id="2147483838" r:id="rId55"/>
    <p:sldLayoutId id="2147483839" r:id="rId56"/>
  </p:sldLayoutIdLst>
  <p:hf hdr="0"/>
  <p:txStyles>
    <p:titleStyle>
      <a:lvl1pPr algn="l" defTabSz="914400" rtl="0" eaLnBrk="1" latinLnBrk="0" hangingPunct="1">
        <a:lnSpc>
          <a:spcPct val="90000"/>
        </a:lnSpc>
        <a:spcBef>
          <a:spcPct val="0"/>
        </a:spcBef>
        <a:buNone/>
        <a:defRPr sz="2800" kern="1200" spc="-30" baseline="0">
          <a:solidFill>
            <a:srgbClr val="00264E"/>
          </a:solidFill>
          <a:latin typeface="Work Sans Medium" pitchFamily="2" charset="0"/>
          <a:ea typeface="+mj-ea"/>
          <a:cs typeface="+mj-cs"/>
        </a:defRPr>
      </a:lvl1pPr>
    </p:titleStyle>
    <p:bodyStyle>
      <a:lvl1pPr marL="179388" indent="-179388" algn="l" defTabSz="914400" rtl="0" eaLnBrk="1" latinLnBrk="0" hangingPunct="1">
        <a:lnSpc>
          <a:spcPct val="90000"/>
        </a:lnSpc>
        <a:spcBef>
          <a:spcPts val="600"/>
        </a:spcBef>
        <a:buFont typeface="Arial" pitchFamily="34" charset="0"/>
        <a:buChar char="•"/>
        <a:defRPr sz="1600" kern="1200" spc="-30" baseline="0">
          <a:solidFill>
            <a:srgbClr val="00264E"/>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rgbClr val="00264E"/>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rgbClr val="00264E"/>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rgbClr val="00264E"/>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rgbClr val="00264E"/>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401">
          <p15:clr>
            <a:srgbClr val="F26B43"/>
          </p15:clr>
        </p15:guide>
        <p15:guide id="2" orient="horz" pos="768">
          <p15:clr>
            <a:srgbClr val="F26B43"/>
          </p15:clr>
        </p15:guide>
        <p15:guide id="3" orient="horz" pos="3861">
          <p15:clr>
            <a:srgbClr val="F26B43"/>
          </p15:clr>
        </p15:guide>
        <p15:guide id="4" pos="279">
          <p15:clr>
            <a:srgbClr val="F26B43"/>
          </p15:clr>
        </p15:guide>
        <p15:guide id="5" orient="horz" pos="62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2F3F7"/>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F8378AF-45B5-B1EA-8B80-6EBC376078CD}"/>
              </a:ext>
            </a:extLst>
          </p:cNvPr>
          <p:cNvGraphicFramePr>
            <a:graphicFrameLocks noChangeAspect="1"/>
          </p:cNvGraphicFramePr>
          <p:nvPr userDrawn="1">
            <p:custDataLst>
              <p:tags r:id="rId54"/>
            </p:custDataLst>
            <p:extLst>
              <p:ext uri="{D42A27DB-BD31-4B8C-83A1-F6EECF244321}">
                <p14:modId xmlns:p14="http://schemas.microsoft.com/office/powerpoint/2010/main" val="3606650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347" imgH="348" progId="TCLayout.ActiveDocument.1">
                  <p:embed/>
                </p:oleObj>
              </mc:Choice>
              <mc:Fallback>
                <p:oleObj name="think-cell Slide" r:id="rId55" imgW="347" imgH="348" progId="TCLayout.ActiveDocument.1">
                  <p:embed/>
                  <p:pic>
                    <p:nvPicPr>
                      <p:cNvPr id="8" name="think-cell data - do not delete" hidden="1">
                        <a:extLst>
                          <a:ext uri="{FF2B5EF4-FFF2-40B4-BE49-F238E27FC236}">
                            <a16:creationId xmlns:a16="http://schemas.microsoft.com/office/drawing/2014/main" id="{BF8378AF-45B5-B1EA-8B80-6EBC376078CD}"/>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221456"/>
            <a:ext cx="11306175" cy="775597"/>
          </a:xfrm>
          <a:prstGeom prst="rect">
            <a:avLst/>
          </a:prstGeom>
        </p:spPr>
        <p:txBody>
          <a:bodyPr vert="horz" lIns="0" tIns="0" rIns="0" bIns="0" rtlCol="0" anchor="ctr">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42913" y="1221665"/>
            <a:ext cx="11306175" cy="490767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Graphic 21">
            <a:extLst>
              <a:ext uri="{FF2B5EF4-FFF2-40B4-BE49-F238E27FC236}">
                <a16:creationId xmlns:a16="http://schemas.microsoft.com/office/drawing/2014/main" id="{EE15FF00-D4D1-4893-A09C-B08DDD992438}"/>
              </a:ext>
            </a:extLst>
          </p:cNvPr>
          <p:cNvSpPr/>
          <p:nvPr/>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endParaRPr lang="en-US" dirty="0">
              <a:solidFill>
                <a:srgbClr val="00264E"/>
              </a:solidFill>
            </a:endParaRPr>
          </a:p>
        </p:txBody>
      </p:sp>
      <p:sp>
        <p:nvSpPr>
          <p:cNvPr id="20" name="Date Placeholder 19">
            <a:extLst>
              <a:ext uri="{FF2B5EF4-FFF2-40B4-BE49-F238E27FC236}">
                <a16:creationId xmlns:a16="http://schemas.microsoft.com/office/drawing/2014/main" id="{196A26CF-5B81-D3A5-791A-6B766073ED97}"/>
              </a:ext>
            </a:extLst>
          </p:cNvPr>
          <p:cNvSpPr>
            <a:spLocks noGrp="1"/>
          </p:cNvSpPr>
          <p:nvPr>
            <p:ph type="dt" sz="half" idx="2"/>
          </p:nvPr>
        </p:nvSpPr>
        <p:spPr>
          <a:xfrm>
            <a:off x="10298096" y="6356350"/>
            <a:ext cx="1055703" cy="365125"/>
          </a:xfrm>
          <a:prstGeom prst="rect">
            <a:avLst/>
          </a:prstGeom>
        </p:spPr>
        <p:txBody>
          <a:bodyPr vert="horz" lIns="91440" tIns="45720" rIns="91440" bIns="45720" rtlCol="0" anchor="ctr"/>
          <a:lstStyle>
            <a:lvl1pPr algn="r">
              <a:defRPr sz="1200">
                <a:solidFill>
                  <a:srgbClr val="00264E"/>
                </a:solidFill>
              </a:defRPr>
            </a:lvl1pPr>
          </a:lstStyle>
          <a:p>
            <a:fld id="{684B2894-3B84-4879-8F4C-FB2CBD9FC7AC}" type="datetimeFigureOut">
              <a:rPr lang="en-GB" smtClean="0"/>
              <a:pPr/>
              <a:t>18/06/2025</a:t>
            </a:fld>
            <a:endParaRPr lang="en-GB" dirty="0"/>
          </a:p>
        </p:txBody>
      </p:sp>
      <p:sp>
        <p:nvSpPr>
          <p:cNvPr id="21" name="Slide Number Placeholder 20">
            <a:extLst>
              <a:ext uri="{FF2B5EF4-FFF2-40B4-BE49-F238E27FC236}">
                <a16:creationId xmlns:a16="http://schemas.microsoft.com/office/drawing/2014/main" id="{77F8153D-E3D9-CA4F-1B9B-4CBDFD61BBFD}"/>
              </a:ext>
            </a:extLst>
          </p:cNvPr>
          <p:cNvSpPr>
            <a:spLocks noGrp="1"/>
          </p:cNvSpPr>
          <p:nvPr>
            <p:ph type="sldNum" sz="quarter" idx="4"/>
          </p:nvPr>
        </p:nvSpPr>
        <p:spPr>
          <a:xfrm>
            <a:off x="11353800" y="6356350"/>
            <a:ext cx="395286" cy="365125"/>
          </a:xfrm>
          <a:prstGeom prst="rect">
            <a:avLst/>
          </a:prstGeom>
        </p:spPr>
        <p:txBody>
          <a:bodyPr vert="horz" lIns="91440" tIns="45720" rIns="91440" bIns="45720" rtlCol="0" anchor="ctr"/>
          <a:lstStyle>
            <a:lvl1pPr>
              <a:defRPr lang="en-GB" sz="1200" smtClean="0">
                <a:solidFill>
                  <a:srgbClr val="00264E"/>
                </a:solidFill>
              </a:defRPr>
            </a:lvl1pPr>
          </a:lstStyle>
          <a:p>
            <a:pPr algn="r"/>
            <a:fld id="{EDF3706E-DB9C-4B59-A485-1194C2A6AD28}" type="slidenum">
              <a:rPr lang="en-GB" smtClean="0"/>
              <a:pPr algn="r"/>
              <a:t>‹#›</a:t>
            </a:fld>
            <a:endParaRPr lang="en-GB"/>
          </a:p>
        </p:txBody>
      </p:sp>
      <p:sp>
        <p:nvSpPr>
          <p:cNvPr id="4" name="Footer Placeholder 3">
            <a:extLst>
              <a:ext uri="{FF2B5EF4-FFF2-40B4-BE49-F238E27FC236}">
                <a16:creationId xmlns:a16="http://schemas.microsoft.com/office/drawing/2014/main" id="{7052417A-8818-DFBA-87B7-958B9FD0F8C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rgbClr val="00264E"/>
                </a:solidFill>
              </a:defRPr>
            </a:lvl1pPr>
          </a:lstStyle>
          <a:p>
            <a:endParaRPr lang="en-GB"/>
          </a:p>
        </p:txBody>
      </p:sp>
    </p:spTree>
    <p:extLst>
      <p:ext uri="{BB962C8B-B14F-4D97-AF65-F5344CB8AC3E}">
        <p14:creationId xmlns:p14="http://schemas.microsoft.com/office/powerpoint/2010/main" val="2372587646"/>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 id="2147483800" r:id="rId21"/>
    <p:sldLayoutId id="2147483801" r:id="rId22"/>
    <p:sldLayoutId id="2147483802" r:id="rId23"/>
    <p:sldLayoutId id="2147483803" r:id="rId24"/>
    <p:sldLayoutId id="2147483804" r:id="rId25"/>
    <p:sldLayoutId id="2147483805" r:id="rId26"/>
    <p:sldLayoutId id="2147483806" r:id="rId27"/>
    <p:sldLayoutId id="2147483807" r:id="rId28"/>
    <p:sldLayoutId id="2147483808" r:id="rId29"/>
    <p:sldLayoutId id="2147483809" r:id="rId30"/>
    <p:sldLayoutId id="2147483810" r:id="rId31"/>
    <p:sldLayoutId id="2147483811" r:id="rId32"/>
    <p:sldLayoutId id="2147483812" r:id="rId33"/>
    <p:sldLayoutId id="2147483813" r:id="rId34"/>
    <p:sldLayoutId id="2147483814" r:id="rId35"/>
    <p:sldLayoutId id="2147483815" r:id="rId36"/>
    <p:sldLayoutId id="2147483816" r:id="rId37"/>
    <p:sldLayoutId id="2147483817" r:id="rId38"/>
    <p:sldLayoutId id="2147483818" r:id="rId39"/>
    <p:sldLayoutId id="2147483819" r:id="rId40"/>
    <p:sldLayoutId id="2147483820" r:id="rId41"/>
    <p:sldLayoutId id="2147483821" r:id="rId42"/>
    <p:sldLayoutId id="2147483822" r:id="rId43"/>
    <p:sldLayoutId id="2147483823" r:id="rId44"/>
    <p:sldLayoutId id="2147483824" r:id="rId45"/>
    <p:sldLayoutId id="2147483825" r:id="rId46"/>
    <p:sldLayoutId id="2147483826" r:id="rId47"/>
    <p:sldLayoutId id="2147483827" r:id="rId48"/>
    <p:sldLayoutId id="2147483828" r:id="rId49"/>
    <p:sldLayoutId id="2147483829" r:id="rId50"/>
    <p:sldLayoutId id="2147483830" r:id="rId51"/>
    <p:sldLayoutId id="2147483835" r:id="rId52"/>
  </p:sldLayoutIdLst>
  <p:hf hdr="0"/>
  <p:txStyles>
    <p:titleStyle>
      <a:lvl1pPr algn="l" defTabSz="914400" rtl="0" eaLnBrk="1" latinLnBrk="0" hangingPunct="1">
        <a:lnSpc>
          <a:spcPct val="90000"/>
        </a:lnSpc>
        <a:spcBef>
          <a:spcPct val="0"/>
        </a:spcBef>
        <a:buNone/>
        <a:defRPr sz="2800" kern="1200" spc="-30" baseline="0">
          <a:solidFill>
            <a:srgbClr val="00264E"/>
          </a:solidFill>
          <a:latin typeface="Work Sans Medium" pitchFamily="2" charset="0"/>
          <a:ea typeface="+mj-ea"/>
          <a:cs typeface="+mj-cs"/>
        </a:defRPr>
      </a:lvl1pPr>
    </p:titleStyle>
    <p:bodyStyle>
      <a:lvl1pPr marL="179388" indent="-179388" algn="l" defTabSz="914400" rtl="0" eaLnBrk="1" latinLnBrk="0" hangingPunct="1">
        <a:lnSpc>
          <a:spcPct val="90000"/>
        </a:lnSpc>
        <a:spcBef>
          <a:spcPts val="600"/>
        </a:spcBef>
        <a:buFont typeface="Arial" pitchFamily="34" charset="0"/>
        <a:buChar char="•"/>
        <a:defRPr sz="1600" kern="1200" spc="-30" baseline="0">
          <a:solidFill>
            <a:srgbClr val="00264E"/>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rgbClr val="00264E"/>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rgbClr val="00264E"/>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rgbClr val="00264E"/>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rgbClr val="00264E"/>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401">
          <p15:clr>
            <a:srgbClr val="F26B43"/>
          </p15:clr>
        </p15:guide>
        <p15:guide id="2" orient="horz" pos="768">
          <p15:clr>
            <a:srgbClr val="F26B43"/>
          </p15:clr>
        </p15:guide>
        <p15:guide id="3" orient="horz" pos="3861">
          <p15:clr>
            <a:srgbClr val="F26B43"/>
          </p15:clr>
        </p15:guide>
        <p15:guide id="4" pos="279">
          <p15:clr>
            <a:srgbClr val="F26B43"/>
          </p15:clr>
        </p15:guide>
        <p15:guide id="5" orient="horz" pos="62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Layout" Target="../slideLayouts/slideLayout81.xml"/></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8.xml"/><Relationship Id="rId5" Type="http://schemas.openxmlformats.org/officeDocument/2006/relationships/image" Target="../media/image27.png"/><Relationship Id="rId4" Type="http://schemas.openxmlformats.org/officeDocument/2006/relationships/chart" Target="../charts/chart4.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55.xml"/><Relationship Id="rId1" Type="http://schemas.openxmlformats.org/officeDocument/2006/relationships/tags" Target="../tags/tag39.xml"/><Relationship Id="rId5" Type="http://schemas.openxmlformats.org/officeDocument/2006/relationships/image" Target="../media/image30.jpg"/><Relationship Id="rId4" Type="http://schemas.openxmlformats.org/officeDocument/2006/relationships/image" Target="../media/image25.emf"/></Relationships>
</file>

<file path=ppt/slides/_rels/slide1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hyperlink" Target="https://hub.aakpersonalcare.com/formulations/sunsafe-mineral-stick-spf-50" TargetMode="External"/><Relationship Id="rId7" Type="http://schemas.openxmlformats.org/officeDocument/2006/relationships/image" Target="../media/image33.png"/><Relationship Id="rId2" Type="http://schemas.openxmlformats.org/officeDocument/2006/relationships/image" Target="../media/image31.jpg"/><Relationship Id="rId1" Type="http://schemas.openxmlformats.org/officeDocument/2006/relationships/slideLayout" Target="../slideLayouts/slideLayout30.xml"/><Relationship Id="rId6" Type="http://schemas.openxmlformats.org/officeDocument/2006/relationships/image" Target="../media/image32.jpg"/><Relationship Id="rId5" Type="http://schemas.openxmlformats.org/officeDocument/2006/relationships/hyperlink" Target="https://hub.aakpersonalcare.com/formulations/urban-defense-daily-face-cream-spf-30" TargetMode="External"/><Relationship Id="rId4" Type="http://schemas.openxmlformats.org/officeDocument/2006/relationships/hyperlink" Target="https://hub.aakpersonalcare.com/formulations/clear-invisible-sunscreen-stick-spf-50" TargetMode="External"/></Relationships>
</file>

<file path=ppt/slides/_rels/slide13.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hyperlink" Target="https://www.youtube.com/watch?v=f6mIaPMRlEk&amp;t=2s" TargetMode="Externa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4.xml"/><Relationship Id="rId1" Type="http://schemas.openxmlformats.org/officeDocument/2006/relationships/slideLayout" Target="../slideLayouts/slideLayout56.xml"/><Relationship Id="rId4" Type="http://schemas.openxmlformats.org/officeDocument/2006/relationships/chart" Target="../charts/chart7.xml"/></Relationships>
</file>

<file path=ppt/slides/_rels/slide17.xml.rels><?xml version="1.0" encoding="UTF-8" standalone="yes"?>
<Relationships xmlns="http://schemas.openxmlformats.org/package/2006/relationships"><Relationship Id="rId8" Type="http://schemas.openxmlformats.org/officeDocument/2006/relationships/hyperlink" Target="https://hub.aakpersonalcare.com/formulations/bronze-bombshell-creamy-eyeshadow" TargetMode="External"/><Relationship Id="rId3" Type="http://schemas.openxmlformats.org/officeDocument/2006/relationships/hyperlink" Target="https://hub.aakpersonalcare.com/formulations/la-vie-en-rose-creamy-matte-lipstick" TargetMode="External"/><Relationship Id="rId7" Type="http://schemas.openxmlformats.org/officeDocument/2006/relationships/hyperlink" Target="https://hub.aakpersonalcare.com/formulations/luminous-star-highlighter-stick" TargetMode="External"/><Relationship Id="rId2" Type="http://schemas.openxmlformats.org/officeDocument/2006/relationships/image" Target="../media/image35.jpg"/><Relationship Id="rId1" Type="http://schemas.openxmlformats.org/officeDocument/2006/relationships/slideLayout" Target="../slideLayouts/slideLayout30.xml"/><Relationship Id="rId6" Type="http://schemas.openxmlformats.org/officeDocument/2006/relationships/image" Target="../media/image38.jpg"/><Relationship Id="rId5" Type="http://schemas.openxmlformats.org/officeDocument/2006/relationships/hyperlink" Target="https://hub.aakpersonalcare.com/formulations/candy-floss-blush-stick" TargetMode="External"/><Relationship Id="rId10" Type="http://schemas.openxmlformats.org/officeDocument/2006/relationships/image" Target="../media/image40.png"/><Relationship Id="rId4" Type="http://schemas.openxmlformats.org/officeDocument/2006/relationships/image" Target="../media/image37.jpg"/><Relationship Id="rId9" Type="http://schemas.openxmlformats.org/officeDocument/2006/relationships/image" Target="../media/image39.png"/></Relationships>
</file>

<file path=ppt/slides/_rels/slide18.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5.xml"/><Relationship Id="rId1" Type="http://schemas.openxmlformats.org/officeDocument/2006/relationships/slideLayout" Target="../slideLayouts/slideLayout25.xml"/><Relationship Id="rId4" Type="http://schemas.openxmlformats.org/officeDocument/2006/relationships/image" Target="../media/image43.jpeg"/></Relationships>
</file>

<file path=ppt/slides/_rels/slide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52.xml"/></Relationships>
</file>

<file path=ppt/slides/_rels/slide20.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98.xml"/></Relationships>
</file>

<file path=ppt/slides/_rels/slide21.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1.png"/><Relationship Id="rId3" Type="http://schemas.openxmlformats.org/officeDocument/2006/relationships/image" Target="../media/image45.jpeg"/><Relationship Id="rId7" Type="http://schemas.openxmlformats.org/officeDocument/2006/relationships/image" Target="../media/image16.png"/><Relationship Id="rId12" Type="http://schemas.openxmlformats.org/officeDocument/2006/relationships/image" Target="../media/image46.jpeg"/><Relationship Id="rId2" Type="http://schemas.openxmlformats.org/officeDocument/2006/relationships/notesSlide" Target="../notesSlides/notesSlide6.xml"/><Relationship Id="rId1" Type="http://schemas.openxmlformats.org/officeDocument/2006/relationships/slideLayout" Target="../slideLayouts/slideLayout84.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2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47.jpg"/><Relationship Id="rId1" Type="http://schemas.openxmlformats.org/officeDocument/2006/relationships/slideLayout" Target="../slideLayouts/slideLayout86.xml"/></Relationships>
</file>

<file path=ppt/slides/_rels/slide23.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7.xml"/><Relationship Id="rId1" Type="http://schemas.openxmlformats.org/officeDocument/2006/relationships/slideLayout" Target="../slideLayouts/slideLayout86.xml"/><Relationship Id="rId4" Type="http://schemas.openxmlformats.org/officeDocument/2006/relationships/image" Target="../media/image49.png"/></Relationships>
</file>

<file path=ppt/slides/_rels/slide24.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89.xml"/></Relationships>
</file>

<file path=ppt/slides/_rels/slide25.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8.xml"/><Relationship Id="rId1" Type="http://schemas.openxmlformats.org/officeDocument/2006/relationships/slideLayout" Target="../slideLayouts/slideLayout72.xml"/><Relationship Id="rId5" Type="http://schemas.openxmlformats.org/officeDocument/2006/relationships/image" Target="../media/image53.jpeg"/><Relationship Id="rId4" Type="http://schemas.openxmlformats.org/officeDocument/2006/relationships/image" Target="../media/image52.jpeg"/></Relationships>
</file>

<file path=ppt/slides/_rels/slide2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72.xml"/></Relationships>
</file>

<file path=ppt/slides/_rels/slide27.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png"/><Relationship Id="rId3" Type="http://schemas.openxmlformats.org/officeDocument/2006/relationships/image" Target="../media/image54.png"/><Relationship Id="rId7" Type="http://schemas.openxmlformats.org/officeDocument/2006/relationships/image" Target="../media/image58.png"/><Relationship Id="rId12" Type="http://schemas.openxmlformats.org/officeDocument/2006/relationships/image" Target="../media/image63.png"/><Relationship Id="rId2" Type="http://schemas.openxmlformats.org/officeDocument/2006/relationships/notesSlide" Target="../notesSlides/notesSlide10.xml"/><Relationship Id="rId1" Type="http://schemas.openxmlformats.org/officeDocument/2006/relationships/slideLayout" Target="../slideLayouts/slideLayout72.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png"/><Relationship Id="rId4" Type="http://schemas.openxmlformats.org/officeDocument/2006/relationships/image" Target="../media/image55.png"/><Relationship Id="rId9" Type="http://schemas.openxmlformats.org/officeDocument/2006/relationships/image" Target="../media/image60.png"/><Relationship Id="rId14" Type="http://schemas.openxmlformats.org/officeDocument/2006/relationships/image" Target="../media/image65.png"/></Relationships>
</file>

<file path=ppt/slides/_rels/slide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jpg"/><Relationship Id="rId1" Type="http://schemas.openxmlformats.org/officeDocument/2006/relationships/slideLayout" Target="../slideLayouts/slideLayout72.xml"/></Relationships>
</file>

<file path=ppt/slides/_rels/slide29.xml.rels><?xml version="1.0" encoding="UTF-8" standalone="yes"?>
<Relationships xmlns="http://schemas.openxmlformats.org/package/2006/relationships"><Relationship Id="rId8" Type="http://schemas.openxmlformats.org/officeDocument/2006/relationships/hyperlink" Target="https://hub.aakpersonalcare.com/formulations/skin-therapy-face-serum" TargetMode="External"/><Relationship Id="rId3" Type="http://schemas.openxmlformats.org/officeDocument/2006/relationships/image" Target="../media/image68.jpg"/><Relationship Id="rId7" Type="http://schemas.openxmlformats.org/officeDocument/2006/relationships/hyperlink" Target="https://hub.aakpersonalcare.com/formulations/natural-e-nourishing-oil-serum" TargetMode="External"/><Relationship Id="rId12" Type="http://schemas.openxmlformats.org/officeDocument/2006/relationships/image" Target="../media/image72.jpg"/><Relationship Id="rId2" Type="http://schemas.openxmlformats.org/officeDocument/2006/relationships/image" Target="../media/image44.jpg"/><Relationship Id="rId1" Type="http://schemas.openxmlformats.org/officeDocument/2006/relationships/slideLayout" Target="../slideLayouts/slideLayout30.xml"/><Relationship Id="rId6" Type="http://schemas.openxmlformats.org/officeDocument/2006/relationships/image" Target="../media/image71.jpg"/><Relationship Id="rId11" Type="http://schemas.openxmlformats.org/officeDocument/2006/relationships/hyperlink" Target="https://hub.aakpersonalcare.com/formulations/matte-velvet-makeup-primer" TargetMode="External"/><Relationship Id="rId5" Type="http://schemas.openxmlformats.org/officeDocument/2006/relationships/image" Target="../media/image70.jpg"/><Relationship Id="rId10" Type="http://schemas.openxmlformats.org/officeDocument/2006/relationships/hyperlink" Target="https://hub.aakpersonalcare.com/formulations/future-perfect-eye-gel-cream" TargetMode="External"/><Relationship Id="rId4" Type="http://schemas.openxmlformats.org/officeDocument/2006/relationships/image" Target="../media/image69.jpg"/><Relationship Id="rId9" Type="http://schemas.openxmlformats.org/officeDocument/2006/relationships/hyperlink" Target="https://hub.aakpersonalcare.com/formulations/meringue-surprise-body-whip"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42.xml"/></Relationships>
</file>

<file path=ppt/slides/_rels/slide30.xml.rels><?xml version="1.0" encoding="UTF-8" standalone="yes"?>
<Relationships xmlns="http://schemas.openxmlformats.org/package/2006/relationships"><Relationship Id="rId2" Type="http://schemas.openxmlformats.org/officeDocument/2006/relationships/image" Target="../media/image73.jpg"/><Relationship Id="rId1"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png"/><Relationship Id="rId3" Type="http://schemas.openxmlformats.org/officeDocument/2006/relationships/image" Target="../media/image74.png"/><Relationship Id="rId7" Type="http://schemas.openxmlformats.org/officeDocument/2006/relationships/image" Target="../media/image78.png"/><Relationship Id="rId12" Type="http://schemas.openxmlformats.org/officeDocument/2006/relationships/image" Target="../media/image83.png"/><Relationship Id="rId2" Type="http://schemas.openxmlformats.org/officeDocument/2006/relationships/chart" Target="../charts/chart9.xml"/><Relationship Id="rId1" Type="http://schemas.openxmlformats.org/officeDocument/2006/relationships/slideLayout" Target="../slideLayouts/slideLayout16.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76.pn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png"/></Relationships>
</file>

<file path=ppt/slides/_rels/slide32.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png"/><Relationship Id="rId3" Type="http://schemas.openxmlformats.org/officeDocument/2006/relationships/image" Target="../media/image74.png"/><Relationship Id="rId7" Type="http://schemas.openxmlformats.org/officeDocument/2006/relationships/image" Target="../media/image86.png"/><Relationship Id="rId12" Type="http://schemas.openxmlformats.org/officeDocument/2006/relationships/image" Target="../media/image91.png"/><Relationship Id="rId2" Type="http://schemas.openxmlformats.org/officeDocument/2006/relationships/chart" Target="../charts/chart10.xml"/><Relationship Id="rId1" Type="http://schemas.openxmlformats.org/officeDocument/2006/relationships/slideLayout" Target="../slideLayouts/slideLayout16.xml"/><Relationship Id="rId6" Type="http://schemas.openxmlformats.org/officeDocument/2006/relationships/image" Target="../media/image85.png"/><Relationship Id="rId11" Type="http://schemas.openxmlformats.org/officeDocument/2006/relationships/image" Target="../media/image90.png"/><Relationship Id="rId5" Type="http://schemas.openxmlformats.org/officeDocument/2006/relationships/image" Target="../media/image76.png"/><Relationship Id="rId10" Type="http://schemas.openxmlformats.org/officeDocument/2006/relationships/image" Target="../media/image89.png"/><Relationship Id="rId4" Type="http://schemas.openxmlformats.org/officeDocument/2006/relationships/image" Target="../media/image75.png"/><Relationship Id="rId9" Type="http://schemas.openxmlformats.org/officeDocument/2006/relationships/image" Target="../media/image88.png"/><Relationship Id="rId14" Type="http://schemas.openxmlformats.org/officeDocument/2006/relationships/image" Target="../media/image93.png"/></Relationships>
</file>

<file path=ppt/slides/_rels/slide33.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image" Target="../media/image94.jpeg"/><Relationship Id="rId1" Type="http://schemas.openxmlformats.org/officeDocument/2006/relationships/slideLayout" Target="../slideLayouts/slideLayout2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34.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image" Target="../media/image48.jpg"/><Relationship Id="rId1" Type="http://schemas.openxmlformats.org/officeDocument/2006/relationships/slideLayout" Target="../slideLayouts/slideLayout55.xml"/><Relationship Id="rId6" Type="http://schemas.openxmlformats.org/officeDocument/2006/relationships/image" Target="../media/image104.png"/><Relationship Id="rId5" Type="http://schemas.openxmlformats.org/officeDocument/2006/relationships/image" Target="../media/image103.png"/><Relationship Id="rId10" Type="http://schemas.openxmlformats.org/officeDocument/2006/relationships/image" Target="../media/image98.png"/><Relationship Id="rId4" Type="http://schemas.openxmlformats.org/officeDocument/2006/relationships/image" Target="../media/image102.png"/><Relationship Id="rId9" Type="http://schemas.openxmlformats.org/officeDocument/2006/relationships/image" Target="../media/image95.png"/></Relationships>
</file>

<file path=ppt/slides/_rels/slide35.xml.rels><?xml version="1.0" encoding="UTF-8" standalone="yes"?>
<Relationships xmlns="http://schemas.openxmlformats.org/package/2006/relationships"><Relationship Id="rId3" Type="http://schemas.openxmlformats.org/officeDocument/2006/relationships/image" Target="../media/image107.jpg"/><Relationship Id="rId2" Type="http://schemas.openxmlformats.org/officeDocument/2006/relationships/chart" Target="../charts/chart11.xml"/><Relationship Id="rId1" Type="http://schemas.openxmlformats.org/officeDocument/2006/relationships/slideLayout" Target="../slideLayouts/slideLayout29.xml"/></Relationships>
</file>

<file path=ppt/slides/_rels/slide36.xml.rels><?xml version="1.0" encoding="UTF-8" standalone="yes"?>
<Relationships xmlns="http://schemas.openxmlformats.org/package/2006/relationships"><Relationship Id="rId8" Type="http://schemas.openxmlformats.org/officeDocument/2006/relationships/image" Target="../media/image110.jpg"/><Relationship Id="rId3" Type="http://schemas.openxmlformats.org/officeDocument/2006/relationships/hyperlink" Target="https://hub.aakpersonalcare.com/formulations/hydraluxe-elixir" TargetMode="External"/><Relationship Id="rId7" Type="http://schemas.openxmlformats.org/officeDocument/2006/relationships/image" Target="../media/image109.jpg"/><Relationship Id="rId2" Type="http://schemas.openxmlformats.org/officeDocument/2006/relationships/image" Target="../media/image73.jpg"/><Relationship Id="rId1" Type="http://schemas.openxmlformats.org/officeDocument/2006/relationships/slideLayout" Target="../slideLayouts/slideLayout30.xml"/><Relationship Id="rId6" Type="http://schemas.openxmlformats.org/officeDocument/2006/relationships/image" Target="../media/image108.jpg"/><Relationship Id="rId11" Type="http://schemas.microsoft.com/office/2007/relationships/hdphoto" Target="../media/hdphoto1.wdp"/><Relationship Id="rId5" Type="http://schemas.openxmlformats.org/officeDocument/2006/relationships/hyperlink" Target="https://hub.aakpersonalcare.com/formulations/dermabalance-scalp-lotion" TargetMode="External"/><Relationship Id="rId10" Type="http://schemas.openxmlformats.org/officeDocument/2006/relationships/image" Target="../media/image111.png"/><Relationship Id="rId4" Type="http://schemas.openxmlformats.org/officeDocument/2006/relationships/hyperlink" Target="https://hub.aakpersonalcare.com/formulations/mallowwhip-curl-mousse" TargetMode="External"/><Relationship Id="rId9" Type="http://schemas.openxmlformats.org/officeDocument/2006/relationships/hyperlink" Target="https://hub.aakpersonalcare.com/formulations/sleek-and-wet-glam-gelee" TargetMode="External"/></Relationships>
</file>

<file path=ppt/slides/_rels/slide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jp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28.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g"/><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xml"/><Relationship Id="rId1" Type="http://schemas.openxmlformats.org/officeDocument/2006/relationships/tags" Target="../tags/tag37.xml"/><Relationship Id="rId6" Type="http://schemas.openxmlformats.org/officeDocument/2006/relationships/chart" Target="../charts/chart1.xml"/><Relationship Id="rId5" Type="http://schemas.openxmlformats.org/officeDocument/2006/relationships/image" Target="../media/image25.emf"/><Relationship Id="rId4" Type="http://schemas.openxmlformats.org/officeDocument/2006/relationships/oleObject" Target="../embeddings/oleObject16.bin"/></Relationships>
</file>

<file path=ppt/slides/_rels/slide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slideLayout" Target="../slideLayouts/slideLayout28.xml"/><Relationship Id="rId1" Type="http://schemas.openxmlformats.org/officeDocument/2006/relationships/video" Target="https://www.youtube.com/embed/SSxzw5FmpPw?feature=oembed" TargetMode="External"/><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hyperlink" Target="https://www.youtube.com/watch?v=xwKSSG5ShTo" TargetMode="External"/><Relationship Id="rId2" Type="http://schemas.openxmlformats.org/officeDocument/2006/relationships/slideLayout" Target="../slideLayouts/slideLayout30.xml"/><Relationship Id="rId1" Type="http://schemas.openxmlformats.org/officeDocument/2006/relationships/tags" Target="../tags/tag38.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A97A9322-5833-45B0-83AB-A7F9062694F5}"/>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30" normalizeH="0" baseline="0" noProof="0">
                <a:ln>
                  <a:noFill/>
                </a:ln>
                <a:solidFill>
                  <a:prstClr val="white"/>
                </a:solidFill>
                <a:effectLst/>
                <a:uLnTx/>
                <a:uFillTx/>
                <a:latin typeface="Work Sans Light Roman"/>
                <a:ea typeface="+mn-ea"/>
                <a:cs typeface="+mn-cs"/>
              </a:rPr>
              <a:t>The Co-Development Company</a:t>
            </a:r>
          </a:p>
        </p:txBody>
      </p:sp>
      <p:sp>
        <p:nvSpPr>
          <p:cNvPr id="8" name="Title 7">
            <a:extLst>
              <a:ext uri="{FF2B5EF4-FFF2-40B4-BE49-F238E27FC236}">
                <a16:creationId xmlns:a16="http://schemas.microsoft.com/office/drawing/2014/main" id="{F9180320-B3EC-4B35-8437-3C2D60C21E81}"/>
              </a:ext>
            </a:extLst>
          </p:cNvPr>
          <p:cNvSpPr>
            <a:spLocks noGrp="1"/>
          </p:cNvSpPr>
          <p:nvPr>
            <p:ph type="ctrTitle" idx="4294967295"/>
          </p:nvPr>
        </p:nvSpPr>
        <p:spPr>
          <a:xfrm>
            <a:off x="0" y="414338"/>
            <a:ext cx="10637838" cy="817562"/>
          </a:xfrm>
        </p:spPr>
        <p:txBody>
          <a:bodyPr/>
          <a:lstStyle/>
          <a:p>
            <a:r>
              <a:rPr lang="en-GB" sz="5400" dirty="0"/>
              <a:t>AAK Personal Care</a:t>
            </a:r>
          </a:p>
        </p:txBody>
      </p:sp>
      <p:sp>
        <p:nvSpPr>
          <p:cNvPr id="13" name="Subtitle 12">
            <a:extLst>
              <a:ext uri="{FF2B5EF4-FFF2-40B4-BE49-F238E27FC236}">
                <a16:creationId xmlns:a16="http://schemas.microsoft.com/office/drawing/2014/main" id="{80B6079E-31E0-4348-A53A-82886AAEADCF}"/>
              </a:ext>
            </a:extLst>
          </p:cNvPr>
          <p:cNvSpPr>
            <a:spLocks noGrp="1"/>
          </p:cNvSpPr>
          <p:nvPr>
            <p:ph type="subTitle" idx="4294967295"/>
          </p:nvPr>
        </p:nvSpPr>
        <p:spPr>
          <a:xfrm>
            <a:off x="0" y="1222375"/>
            <a:ext cx="10637838" cy="387350"/>
          </a:xfrm>
        </p:spPr>
        <p:txBody>
          <a:bodyPr/>
          <a:lstStyle/>
          <a:p>
            <a:r>
              <a:rPr lang="en-GB" dirty="0"/>
              <a:t>Making Better Happen</a:t>
            </a:r>
            <a:r>
              <a:rPr lang="en-GB" baseline="30000" dirty="0"/>
              <a:t>™</a:t>
            </a:r>
          </a:p>
        </p:txBody>
      </p:sp>
      <p:pic>
        <p:nvPicPr>
          <p:cNvPr id="7" name="Picture Placeholder 6" descr="A close-up of bubbles&#10;&#10;AI-generated content may be incorrect.">
            <a:extLst>
              <a:ext uri="{FF2B5EF4-FFF2-40B4-BE49-F238E27FC236}">
                <a16:creationId xmlns:a16="http://schemas.microsoft.com/office/drawing/2014/main" id="{7A8FA819-CDDA-C4B6-785A-5431A257C053}"/>
              </a:ext>
            </a:extLst>
          </p:cNvPr>
          <p:cNvPicPr>
            <a:picLocks noGrp="1" noChangeAspect="1"/>
          </p:cNvPicPr>
          <p:nvPr>
            <p:ph type="pic" sz="quarter" idx="4294967295"/>
          </p:nvPr>
        </p:nvPicPr>
        <p:blipFill>
          <a:blip r:embed="rId2"/>
          <a:srcRect t="37622" r="41949" b="13482"/>
          <a:stretch/>
        </p:blipFill>
        <p:spPr>
          <a:xfrm>
            <a:off x="0" y="20638"/>
            <a:ext cx="12192000" cy="6858000"/>
          </a:xfrm>
        </p:spPr>
      </p:pic>
      <p:sp>
        <p:nvSpPr>
          <p:cNvPr id="16" name="Rectangle 15">
            <a:extLst>
              <a:ext uri="{FF2B5EF4-FFF2-40B4-BE49-F238E27FC236}">
                <a16:creationId xmlns:a16="http://schemas.microsoft.com/office/drawing/2014/main" id="{5574CF7A-3804-6CA5-CA9F-DC96A25503B7}"/>
              </a:ext>
            </a:extLst>
          </p:cNvPr>
          <p:cNvSpPr/>
          <p:nvPr/>
        </p:nvSpPr>
        <p:spPr>
          <a:xfrm>
            <a:off x="0" y="10363"/>
            <a:ext cx="12192000" cy="6868275"/>
          </a:xfrm>
          <a:prstGeom prst="rect">
            <a:avLst/>
          </a:prstGeom>
          <a:gradFill flip="none" rotWithShape="1">
            <a:gsLst>
              <a:gs pos="0">
                <a:srgbClr val="00264E">
                  <a:alpha val="75000"/>
                </a:srgbClr>
              </a:gs>
              <a:gs pos="19400">
                <a:srgbClr val="00264E">
                  <a:alpha val="42000"/>
                </a:srgbClr>
              </a:gs>
              <a:gs pos="100000">
                <a:srgbClr val="00264E">
                  <a:alpha val="4000"/>
                </a:srgbClr>
              </a:gs>
            </a:gsLst>
            <a:lin ang="0" scaled="1"/>
            <a:tileRect/>
          </a:gradFill>
          <a:ln w="9525" cap="flat">
            <a:noFill/>
            <a:prstDash val="solid"/>
            <a:miter/>
          </a:ln>
        </p:spPr>
        <p:txBody>
          <a:bodyPr lIns="72000" tIns="72000" rIns="72000" bIns="72000" rtlCol="0" anchor="ctr"/>
          <a:lstStyle/>
          <a:p>
            <a:pPr algn="l"/>
            <a:endParaRPr lang="en-GB" sz="1600" spc="-30">
              <a:solidFill>
                <a:schemeClr val="bg1"/>
              </a:solidFill>
            </a:endParaRPr>
          </a:p>
        </p:txBody>
      </p:sp>
      <p:sp>
        <p:nvSpPr>
          <p:cNvPr id="17" name="Title 7">
            <a:extLst>
              <a:ext uri="{FF2B5EF4-FFF2-40B4-BE49-F238E27FC236}">
                <a16:creationId xmlns:a16="http://schemas.microsoft.com/office/drawing/2014/main" id="{244EC8CC-3B3A-161E-DC57-D63C6C8F7ED0}"/>
              </a:ext>
            </a:extLst>
          </p:cNvPr>
          <p:cNvSpPr txBox="1">
            <a:spLocks/>
          </p:cNvSpPr>
          <p:nvPr/>
        </p:nvSpPr>
        <p:spPr>
          <a:xfrm>
            <a:off x="552451" y="336884"/>
            <a:ext cx="10637838" cy="76916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800" kern="1200" spc="-30" baseline="0">
                <a:solidFill>
                  <a:srgbClr val="00264E"/>
                </a:solidFill>
                <a:latin typeface="Work Sans Medium" pitchFamily="2" charset="0"/>
                <a:ea typeface="+mj-ea"/>
                <a:cs typeface="+mj-cs"/>
              </a:defRPr>
            </a:lvl1pPr>
          </a:lstStyle>
          <a:p>
            <a:r>
              <a:rPr lang="en-GB" sz="3600" dirty="0">
                <a:solidFill>
                  <a:schemeClr val="bg1"/>
                </a:solidFill>
                <a:latin typeface="+mn-lt"/>
              </a:rPr>
              <a:t>AAK Personal Care</a:t>
            </a:r>
          </a:p>
        </p:txBody>
      </p:sp>
      <p:sp>
        <p:nvSpPr>
          <p:cNvPr id="20" name="TextBox 19">
            <a:extLst>
              <a:ext uri="{FF2B5EF4-FFF2-40B4-BE49-F238E27FC236}">
                <a16:creationId xmlns:a16="http://schemas.microsoft.com/office/drawing/2014/main" id="{D4F14719-7B45-395E-4B1E-E62D36B21C41}"/>
              </a:ext>
            </a:extLst>
          </p:cNvPr>
          <p:cNvSpPr txBox="1"/>
          <p:nvPr/>
        </p:nvSpPr>
        <p:spPr>
          <a:xfrm>
            <a:off x="552451" y="1021532"/>
            <a:ext cx="11734800" cy="369332"/>
          </a:xfrm>
          <a:prstGeom prst="rect">
            <a:avLst/>
          </a:prstGeom>
          <a:noFill/>
          <a:ln>
            <a:noFill/>
          </a:ln>
        </p:spPr>
        <p:txBody>
          <a:bodyPr wrap="square" lIns="0" tIns="0" rIns="0" bIns="0" rtlCol="0">
            <a:spAutoFit/>
          </a:bodyPr>
          <a:lstStyle/>
          <a:p>
            <a:pPr>
              <a:buClr>
                <a:schemeClr val="tx2"/>
              </a:buClr>
            </a:pPr>
            <a:r>
              <a:rPr lang="fr-FR" sz="2400" b="1" i="1" spc="-30" dirty="0">
                <a:solidFill>
                  <a:schemeClr val="bg1"/>
                </a:solidFill>
                <a:latin typeface="Playfair Display" pitchFamily="2" charset="0"/>
              </a:rPr>
              <a:t>Making Better </a:t>
            </a:r>
            <a:r>
              <a:rPr lang="fr-FR" sz="2400" b="1" i="1" spc="-30" dirty="0" err="1">
                <a:solidFill>
                  <a:schemeClr val="bg1"/>
                </a:solidFill>
                <a:latin typeface="Playfair Display" pitchFamily="2" charset="0"/>
              </a:rPr>
              <a:t>Happen</a:t>
            </a:r>
            <a:r>
              <a:rPr lang="fr-FR" sz="2400" b="1" i="1" spc="-30" baseline="30000" dirty="0" err="1">
                <a:solidFill>
                  <a:schemeClr val="bg1"/>
                </a:solidFill>
              </a:rPr>
              <a:t>TM</a:t>
            </a:r>
            <a:endParaRPr lang="en-GB" sz="2400" b="1" i="1" spc="-30" baseline="30000" dirty="0">
              <a:solidFill>
                <a:schemeClr val="bg1"/>
              </a:solidFill>
            </a:endParaRPr>
          </a:p>
        </p:txBody>
      </p:sp>
      <p:sp>
        <p:nvSpPr>
          <p:cNvPr id="21" name="Title 7">
            <a:extLst>
              <a:ext uri="{FF2B5EF4-FFF2-40B4-BE49-F238E27FC236}">
                <a16:creationId xmlns:a16="http://schemas.microsoft.com/office/drawing/2014/main" id="{45374418-1B24-AF4A-C388-B8091FCED860}"/>
              </a:ext>
            </a:extLst>
          </p:cNvPr>
          <p:cNvSpPr txBox="1">
            <a:spLocks/>
          </p:cNvSpPr>
          <p:nvPr/>
        </p:nvSpPr>
        <p:spPr>
          <a:xfrm>
            <a:off x="11110821" y="6300312"/>
            <a:ext cx="1295401" cy="421784"/>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800" kern="1200" spc="-30" baseline="0">
                <a:solidFill>
                  <a:srgbClr val="00264E"/>
                </a:solidFill>
                <a:latin typeface="Work Sans Medium" pitchFamily="2" charset="0"/>
                <a:ea typeface="+mj-ea"/>
                <a:cs typeface="+mj-cs"/>
              </a:defRPr>
            </a:lvl1pPr>
          </a:lstStyle>
          <a:p>
            <a:r>
              <a:rPr lang="en-GB" sz="1200" dirty="0">
                <a:solidFill>
                  <a:schemeClr val="bg1"/>
                </a:solidFill>
                <a:latin typeface="+mn-lt"/>
              </a:rPr>
              <a:t>June 4, 2025</a:t>
            </a:r>
          </a:p>
        </p:txBody>
      </p:sp>
      <p:pic>
        <p:nvPicPr>
          <p:cNvPr id="1026" name="Picture 2">
            <a:extLst>
              <a:ext uri="{FF2B5EF4-FFF2-40B4-BE49-F238E27FC236}">
                <a16:creationId xmlns:a16="http://schemas.microsoft.com/office/drawing/2014/main" id="{550E1D3C-3BE6-04D8-316F-41AA05B750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2937" y="5978350"/>
            <a:ext cx="1308300" cy="756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6">
            <a:extLst>
              <a:ext uri="{FF2B5EF4-FFF2-40B4-BE49-F238E27FC236}">
                <a16:creationId xmlns:a16="http://schemas.microsoft.com/office/drawing/2014/main" id="{F58A84A7-BAFD-83D7-3D9B-40059B96F67D}"/>
              </a:ext>
            </a:extLst>
          </p:cNvPr>
          <p:cNvSpPr txBox="1">
            <a:spLocks/>
          </p:cNvSpPr>
          <p:nvPr/>
        </p:nvSpPr>
        <p:spPr>
          <a:xfrm>
            <a:off x="552451" y="2472757"/>
            <a:ext cx="7705724" cy="166199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kern="1200" spc="-30" baseline="0">
                <a:solidFill>
                  <a:schemeClr val="accent1"/>
                </a:solidFill>
                <a:latin typeface="+mj-lt"/>
                <a:ea typeface="+mj-ea"/>
                <a:cs typeface="+mj-cs"/>
              </a:defRPr>
            </a:lvl1pPr>
          </a:lstStyle>
          <a:p>
            <a:r>
              <a:rPr lang="en-US" sz="5400" dirty="0">
                <a:solidFill>
                  <a:schemeClr val="bg1"/>
                </a:solidFill>
              </a:rPr>
              <a:t>Part 1 : Shea esters</a:t>
            </a:r>
          </a:p>
          <a:p>
            <a:r>
              <a:rPr lang="en-GB" sz="2800" dirty="0">
                <a:solidFill>
                  <a:schemeClr val="bg1"/>
                </a:solidFill>
              </a:rPr>
              <a:t>And how to improve the sensory experience of your formulations while providing real benefits.</a:t>
            </a:r>
            <a:endParaRPr lang="en-US" sz="2800" dirty="0">
              <a:solidFill>
                <a:schemeClr val="bg1"/>
              </a:solidFill>
            </a:endParaRPr>
          </a:p>
        </p:txBody>
      </p:sp>
      <p:sp>
        <p:nvSpPr>
          <p:cNvPr id="4" name="Subtitle 6">
            <a:extLst>
              <a:ext uri="{FF2B5EF4-FFF2-40B4-BE49-F238E27FC236}">
                <a16:creationId xmlns:a16="http://schemas.microsoft.com/office/drawing/2014/main" id="{A384D533-2AB4-1ECC-76DE-C125539C5531}"/>
              </a:ext>
            </a:extLst>
          </p:cNvPr>
          <p:cNvSpPr txBox="1">
            <a:spLocks/>
          </p:cNvSpPr>
          <p:nvPr/>
        </p:nvSpPr>
        <p:spPr>
          <a:xfrm>
            <a:off x="457200" y="5585599"/>
            <a:ext cx="10637838" cy="387798"/>
          </a:xfrm>
          <a:prstGeom prst="rect">
            <a:avLst/>
          </a:prstGeom>
        </p:spPr>
        <p:txBody>
          <a:bodyPr vert="horz" lIns="0" tIns="0" rIns="0" bIns="0" rtlCol="0">
            <a:noAutofit/>
          </a:bodyPr>
          <a:lstStyle>
            <a:lvl1pPr marL="0" indent="0" algn="l" defTabSz="914400" rtl="0" eaLnBrk="1" latinLnBrk="0" hangingPunct="1">
              <a:lnSpc>
                <a:spcPct val="90000"/>
              </a:lnSpc>
              <a:spcBef>
                <a:spcPts val="600"/>
              </a:spcBef>
              <a:buFont typeface="Arial" pitchFamily="34" charset="0"/>
              <a:buNone/>
              <a:defRPr sz="2800" kern="1200" spc="-30" baseline="0">
                <a:solidFill>
                  <a:schemeClr val="accent1"/>
                </a:solidFill>
                <a:latin typeface="+mn-lt"/>
                <a:ea typeface="+mn-ea"/>
                <a:cs typeface="+mn-cs"/>
              </a:defRPr>
            </a:lvl1pPr>
            <a:lvl2pPr marL="457200" indent="0" algn="ctr" defTabSz="914400" rtl="0" eaLnBrk="1" latinLnBrk="0" hangingPunct="1">
              <a:lnSpc>
                <a:spcPct val="90000"/>
              </a:lnSpc>
              <a:spcBef>
                <a:spcPts val="600"/>
              </a:spcBef>
              <a:buFont typeface="Arial" pitchFamily="34" charset="0"/>
              <a:buNone/>
              <a:defRPr sz="1600" kern="1200" spc="-30" baseline="0">
                <a:solidFill>
                  <a:schemeClr val="tx1">
                    <a:tint val="75000"/>
                  </a:schemeClr>
                </a:solidFill>
                <a:latin typeface="+mn-lt"/>
                <a:ea typeface="+mn-ea"/>
                <a:cs typeface="+mn-cs"/>
              </a:defRPr>
            </a:lvl2pPr>
            <a:lvl3pPr marL="914400" indent="0" algn="ctr" defTabSz="914400" rtl="0" eaLnBrk="1" latinLnBrk="0" hangingPunct="1">
              <a:lnSpc>
                <a:spcPct val="90000"/>
              </a:lnSpc>
              <a:spcBef>
                <a:spcPts val="600"/>
              </a:spcBef>
              <a:buFont typeface="Arial" pitchFamily="34" charset="0"/>
              <a:buNone/>
              <a:defRPr sz="1600" kern="1200" spc="-30" baseline="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600"/>
              </a:spcBef>
              <a:buFont typeface="Arial" pitchFamily="34" charset="0"/>
              <a:buNone/>
              <a:defRPr sz="1600" kern="1200" spc="-30" baseline="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600"/>
              </a:spcBef>
              <a:buFont typeface="Arial" pitchFamily="34" charset="0"/>
              <a:buNone/>
              <a:defRPr sz="1600" kern="1200" spc="-30" baseline="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85725"/>
            <a:r>
              <a:rPr lang="en-GB" sz="1400" dirty="0">
                <a:solidFill>
                  <a:schemeClr val="bg1"/>
                </a:solidFill>
              </a:rPr>
              <a:t>Charlotte Leproust – Customer Innovation Manager</a:t>
            </a:r>
          </a:p>
          <a:p>
            <a:pPr marL="85725"/>
            <a:r>
              <a:rPr lang="en-GB" sz="1400" dirty="0">
                <a:solidFill>
                  <a:schemeClr val="bg1"/>
                </a:solidFill>
              </a:rPr>
              <a:t>Ben Sales – International Sales Manager</a:t>
            </a:r>
          </a:p>
        </p:txBody>
      </p:sp>
    </p:spTree>
    <p:extLst>
      <p:ext uri="{BB962C8B-B14F-4D97-AF65-F5344CB8AC3E}">
        <p14:creationId xmlns:p14="http://schemas.microsoft.com/office/powerpoint/2010/main" val="42476144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EC1B088-F20A-51BD-C03A-6A11CB15C7F0}"/>
              </a:ext>
            </a:extLst>
          </p:cNvPr>
          <p:cNvSpPr>
            <a:spLocks noGrp="1"/>
          </p:cNvSpPr>
          <p:nvPr>
            <p:ph type="ftr" sz="quarter" idx="11"/>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t>The Co-Development Company</a:t>
            </a:r>
            <a:endParaRPr lang="en-US" sz="1000" noProof="0"/>
          </a:p>
        </p:txBody>
      </p:sp>
      <p:sp>
        <p:nvSpPr>
          <p:cNvPr id="4" name="Slide Number Placeholder 3">
            <a:extLst>
              <a:ext uri="{FF2B5EF4-FFF2-40B4-BE49-F238E27FC236}">
                <a16:creationId xmlns:a16="http://schemas.microsoft.com/office/drawing/2014/main" id="{6CDFF808-92D8-82F1-E7AE-C73EAEBCD676}"/>
              </a:ext>
            </a:extLst>
          </p:cNvPr>
          <p:cNvSpPr>
            <a:spLocks noGrp="1"/>
          </p:cNvSpPr>
          <p:nvPr>
            <p:ph type="sldNum" sz="quarter" idx="12"/>
          </p:nvPr>
        </p:nvSpPr>
        <p:spPr>
          <a:xfrm>
            <a:off x="11376660" y="6472030"/>
            <a:ext cx="372428" cy="153888"/>
          </a:xfrm>
          <a:prstGeom prst="rect">
            <a:avLst/>
          </a:prstGeom>
        </p:spPr>
        <p:txBody>
          <a:bodyPr vert="horz" wrap="squar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03DD7B-12C8-43B8-9F45-989336E79744}" type="slidenum">
              <a:rPr lang="en-US" sz="1000" smtClean="0"/>
              <a:pPr/>
              <a:t>10</a:t>
            </a:fld>
            <a:endParaRPr lang="en-US" sz="1000"/>
          </a:p>
        </p:txBody>
      </p:sp>
      <p:sp>
        <p:nvSpPr>
          <p:cNvPr id="7" name="Date Placeholder 6">
            <a:extLst>
              <a:ext uri="{FF2B5EF4-FFF2-40B4-BE49-F238E27FC236}">
                <a16:creationId xmlns:a16="http://schemas.microsoft.com/office/drawing/2014/main" id="{9CBEE90C-FF64-5AFC-FE68-91524ADBEE24}"/>
              </a:ext>
            </a:extLst>
          </p:cNvPr>
          <p:cNvSpPr>
            <a:spLocks noGrp="1"/>
          </p:cNvSpPr>
          <p:nvPr>
            <p:ph type="dt" sz="half" idx="10"/>
          </p:nvPr>
        </p:nvSpPr>
        <p:spPr>
          <a:xfrm>
            <a:off x="10542897" y="6472030"/>
            <a:ext cx="626774"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60B2C05-1104-41BB-B925-7E3352CEED91}" type="datetime1">
              <a:rPr lang="en-GB" sz="1000" smtClean="0"/>
              <a:pPr/>
              <a:t>18/06/2025</a:t>
            </a:fld>
            <a:endParaRPr lang="en-US" sz="1000"/>
          </a:p>
        </p:txBody>
      </p:sp>
      <p:sp>
        <p:nvSpPr>
          <p:cNvPr id="10" name="Titel 12">
            <a:extLst>
              <a:ext uri="{FF2B5EF4-FFF2-40B4-BE49-F238E27FC236}">
                <a16:creationId xmlns:a16="http://schemas.microsoft.com/office/drawing/2014/main" id="{340BE811-89C0-A23B-4A89-CEFF45CCDF9E}"/>
              </a:ext>
            </a:extLst>
          </p:cNvPr>
          <p:cNvSpPr>
            <a:spLocks noGrp="1"/>
          </p:cNvSpPr>
          <p:nvPr>
            <p:ph type="title"/>
          </p:nvPr>
        </p:nvSpPr>
        <p:spPr>
          <a:xfrm>
            <a:off x="299162" y="364810"/>
            <a:ext cx="11449564" cy="775597"/>
          </a:xfrm>
        </p:spPr>
        <p:txBody>
          <a:bodyPr/>
          <a:lstStyle/>
          <a:p>
            <a:r>
              <a:rPr lang="en-GB" dirty="0"/>
              <a:t>LIPEX</a:t>
            </a:r>
            <a:r>
              <a:rPr lang="en-GB" baseline="30000" dirty="0"/>
              <a:t>®</a:t>
            </a:r>
            <a:r>
              <a:rPr lang="en-GB" dirty="0"/>
              <a:t> SheaSolve</a:t>
            </a:r>
            <a:r>
              <a:rPr lang="en-GB" baseline="30000" dirty="0"/>
              <a:t>™</a:t>
            </a:r>
            <a:r>
              <a:rPr lang="en-GB" dirty="0"/>
              <a:t> in suncare </a:t>
            </a:r>
            <a:r>
              <a:rPr lang="en-US" dirty="0"/>
              <a:t>with organic UV filters </a:t>
            </a:r>
            <a:r>
              <a:rPr lang="en-GB" dirty="0"/>
              <a:t> </a:t>
            </a:r>
            <a:br>
              <a:rPr lang="en-GB" dirty="0"/>
            </a:br>
            <a:r>
              <a:rPr lang="en-US" sz="2000" dirty="0"/>
              <a:t>Provides solubilization of organic filters</a:t>
            </a:r>
            <a:endParaRPr lang="da-DK" sz="2000" dirty="0">
              <a:solidFill>
                <a:srgbClr val="00264E"/>
              </a:solidFill>
            </a:endParaRPr>
          </a:p>
        </p:txBody>
      </p:sp>
      <p:sp>
        <p:nvSpPr>
          <p:cNvPr id="2" name="Text Placeholder 9">
            <a:extLst>
              <a:ext uri="{FF2B5EF4-FFF2-40B4-BE49-F238E27FC236}">
                <a16:creationId xmlns:a16="http://schemas.microsoft.com/office/drawing/2014/main" id="{270731AB-0C40-B20C-7010-94A4F016C5E7}"/>
              </a:ext>
            </a:extLst>
          </p:cNvPr>
          <p:cNvSpPr txBox="1">
            <a:spLocks/>
          </p:cNvSpPr>
          <p:nvPr/>
        </p:nvSpPr>
        <p:spPr>
          <a:xfrm>
            <a:off x="603536" y="1358405"/>
            <a:ext cx="3408725" cy="520142"/>
          </a:xfrm>
          <a:prstGeom prst="rect">
            <a:avLst/>
          </a:prstGeom>
        </p:spPr>
        <p:txBody>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sv-SE" dirty="0" err="1">
                <a:solidFill>
                  <a:srgbClr val="00264E"/>
                </a:solidFill>
              </a:rPr>
              <a:t>Solubility</a:t>
            </a:r>
            <a:r>
              <a:rPr lang="sv-SE" dirty="0">
                <a:solidFill>
                  <a:srgbClr val="00264E"/>
                </a:solidFill>
              </a:rPr>
              <a:t> </a:t>
            </a:r>
            <a:r>
              <a:rPr lang="sv-SE" dirty="0" err="1">
                <a:solidFill>
                  <a:srgbClr val="00264E"/>
                </a:solidFill>
              </a:rPr>
              <a:t>of</a:t>
            </a:r>
            <a:r>
              <a:rPr lang="sv-SE" dirty="0">
                <a:solidFill>
                  <a:srgbClr val="00264E"/>
                </a:solidFill>
              </a:rPr>
              <a:t> Uvinul T150</a:t>
            </a:r>
          </a:p>
          <a:p>
            <a:pPr marL="0" indent="0" algn="ctr">
              <a:spcBef>
                <a:spcPts val="0"/>
              </a:spcBef>
              <a:buNone/>
            </a:pPr>
            <a:r>
              <a:rPr kumimoji="0" lang="en-US" sz="1200" i="1" u="none" strike="noStrike" kern="1200" cap="none" spc="-30" normalizeH="0" baseline="0" noProof="0" dirty="0">
                <a:ln>
                  <a:noFill/>
                </a:ln>
                <a:solidFill>
                  <a:srgbClr val="00264E"/>
                </a:solidFill>
                <a:effectLst/>
                <a:uLnTx/>
                <a:uFillTx/>
              </a:rPr>
              <a:t>(</a:t>
            </a:r>
            <a:r>
              <a:rPr kumimoji="0" lang="en-US" sz="1200" i="1" u="none" strike="noStrike" kern="1200" cap="none" spc="-30" normalizeH="0" baseline="0" noProof="0" dirty="0" err="1">
                <a:ln>
                  <a:noFill/>
                </a:ln>
                <a:solidFill>
                  <a:srgbClr val="00264E"/>
                </a:solidFill>
                <a:effectLst/>
                <a:uLnTx/>
                <a:uFillTx/>
              </a:rPr>
              <a:t>Ethylhexyl</a:t>
            </a:r>
            <a:r>
              <a:rPr kumimoji="0" lang="en-US" sz="1200" i="1" u="none" strike="noStrike" kern="1200" cap="none" spc="-30" normalizeH="0" baseline="0" noProof="0" dirty="0">
                <a:ln>
                  <a:noFill/>
                </a:ln>
                <a:solidFill>
                  <a:srgbClr val="00264E"/>
                </a:solidFill>
                <a:effectLst/>
                <a:uLnTx/>
                <a:uFillTx/>
              </a:rPr>
              <a:t> </a:t>
            </a:r>
            <a:r>
              <a:rPr kumimoji="0" lang="en-US" sz="1200" i="1" u="none" strike="noStrike" kern="1200" cap="none" spc="-30" normalizeH="0" baseline="0" noProof="0" dirty="0" err="1">
                <a:ln>
                  <a:noFill/>
                </a:ln>
                <a:solidFill>
                  <a:srgbClr val="00264E"/>
                </a:solidFill>
                <a:effectLst/>
                <a:uLnTx/>
                <a:uFillTx/>
              </a:rPr>
              <a:t>Triazone</a:t>
            </a:r>
            <a:r>
              <a:rPr kumimoji="0" lang="en-US" sz="1200" i="1" u="none" strike="noStrike" kern="1200" cap="none" spc="-30" normalizeH="0" baseline="0" noProof="0" dirty="0">
                <a:ln>
                  <a:noFill/>
                </a:ln>
                <a:solidFill>
                  <a:srgbClr val="00264E"/>
                </a:solidFill>
                <a:effectLst/>
                <a:uLnTx/>
                <a:uFillTx/>
              </a:rPr>
              <a:t>)</a:t>
            </a:r>
            <a:endParaRPr lang="sv-SE" sz="1200" dirty="0">
              <a:solidFill>
                <a:srgbClr val="00264E"/>
              </a:solidFill>
            </a:endParaRPr>
          </a:p>
          <a:p>
            <a:pPr algn="ctr"/>
            <a:endParaRPr lang="en-US" b="1" dirty="0"/>
          </a:p>
        </p:txBody>
      </p:sp>
      <p:sp>
        <p:nvSpPr>
          <p:cNvPr id="5" name="Text Placeholder 10">
            <a:extLst>
              <a:ext uri="{FF2B5EF4-FFF2-40B4-BE49-F238E27FC236}">
                <a16:creationId xmlns:a16="http://schemas.microsoft.com/office/drawing/2014/main" id="{80F53FCF-2962-A5C4-6FD2-8F2F123FE5C9}"/>
              </a:ext>
            </a:extLst>
          </p:cNvPr>
          <p:cNvSpPr txBox="1">
            <a:spLocks/>
          </p:cNvSpPr>
          <p:nvPr/>
        </p:nvSpPr>
        <p:spPr>
          <a:xfrm>
            <a:off x="8340001" y="1358405"/>
            <a:ext cx="3408725" cy="221599"/>
          </a:xfrm>
          <a:prstGeom prst="rect">
            <a:avLst/>
          </a:prstGeom>
        </p:spPr>
        <p:txBody>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sv-SE" dirty="0" err="1">
                <a:solidFill>
                  <a:srgbClr val="00264E"/>
                </a:solidFill>
              </a:rPr>
              <a:t>Solubility</a:t>
            </a:r>
            <a:r>
              <a:rPr lang="sv-SE" dirty="0">
                <a:solidFill>
                  <a:srgbClr val="00264E"/>
                </a:solidFill>
              </a:rPr>
              <a:t> </a:t>
            </a:r>
            <a:r>
              <a:rPr lang="sv-SE" dirty="0" err="1">
                <a:solidFill>
                  <a:srgbClr val="00264E"/>
                </a:solidFill>
              </a:rPr>
              <a:t>of</a:t>
            </a:r>
            <a:r>
              <a:rPr lang="sv-SE" dirty="0">
                <a:solidFill>
                  <a:srgbClr val="00264E"/>
                </a:solidFill>
              </a:rPr>
              <a:t> Parsol 1789</a:t>
            </a:r>
            <a:endParaRPr lang="sv-SE" sz="1200" dirty="0">
              <a:solidFill>
                <a:srgbClr val="00264E"/>
              </a:solidFill>
            </a:endParaRPr>
          </a:p>
          <a:p>
            <a:pPr marL="0" indent="0" algn="ctr">
              <a:spcBef>
                <a:spcPts val="0"/>
              </a:spcBef>
              <a:buNone/>
            </a:pPr>
            <a:r>
              <a:rPr kumimoji="0" lang="en-US" sz="1200" i="1" u="none" strike="noStrike" kern="1200" cap="none" spc="-30" normalizeH="0" baseline="0" noProof="0" dirty="0">
                <a:ln>
                  <a:noFill/>
                </a:ln>
                <a:solidFill>
                  <a:srgbClr val="00264E"/>
                </a:solidFill>
                <a:effectLst/>
                <a:uLnTx/>
                <a:uFillTx/>
              </a:rPr>
              <a:t>(Butyl </a:t>
            </a:r>
            <a:r>
              <a:rPr kumimoji="0" lang="en-US" sz="1200" i="1" u="none" strike="noStrike" kern="1200" cap="none" spc="-30" normalizeH="0" baseline="0" noProof="0" dirty="0" err="1">
                <a:ln>
                  <a:noFill/>
                </a:ln>
                <a:solidFill>
                  <a:srgbClr val="00264E"/>
                </a:solidFill>
                <a:effectLst/>
                <a:uLnTx/>
                <a:uFillTx/>
              </a:rPr>
              <a:t>Methoxydibenzoylmethane</a:t>
            </a:r>
            <a:r>
              <a:rPr kumimoji="0" lang="en-US" sz="1200" i="1" u="none" strike="noStrike" kern="1200" cap="none" spc="-30" normalizeH="0" baseline="0" noProof="0" dirty="0">
                <a:ln>
                  <a:noFill/>
                </a:ln>
                <a:solidFill>
                  <a:srgbClr val="00264E"/>
                </a:solidFill>
                <a:effectLst/>
                <a:uLnTx/>
                <a:uFillTx/>
              </a:rPr>
              <a:t>)</a:t>
            </a:r>
            <a:endParaRPr lang="en-US" sz="1200" dirty="0">
              <a:solidFill>
                <a:srgbClr val="00264E"/>
              </a:solidFill>
            </a:endParaRPr>
          </a:p>
        </p:txBody>
      </p:sp>
      <p:sp>
        <p:nvSpPr>
          <p:cNvPr id="6" name="Text Placeholder 12">
            <a:extLst>
              <a:ext uri="{FF2B5EF4-FFF2-40B4-BE49-F238E27FC236}">
                <a16:creationId xmlns:a16="http://schemas.microsoft.com/office/drawing/2014/main" id="{0FFF0B68-C7A0-0C83-30F8-F3737ECCAEC0}"/>
              </a:ext>
            </a:extLst>
          </p:cNvPr>
          <p:cNvSpPr txBox="1">
            <a:spLocks/>
          </p:cNvSpPr>
          <p:nvPr/>
        </p:nvSpPr>
        <p:spPr>
          <a:xfrm>
            <a:off x="4321743" y="1358405"/>
            <a:ext cx="3561348" cy="221599"/>
          </a:xfrm>
          <a:prstGeom prst="rect">
            <a:avLst/>
          </a:prstGeom>
        </p:spPr>
        <p:txBody>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sv-SE" dirty="0" err="1">
                <a:solidFill>
                  <a:srgbClr val="00264E"/>
                </a:solidFill>
                <a:latin typeface="Work Sans Light" pitchFamily="2" charset="0"/>
              </a:rPr>
              <a:t>Solubility</a:t>
            </a:r>
            <a:r>
              <a:rPr lang="sv-SE" dirty="0">
                <a:solidFill>
                  <a:srgbClr val="00264E"/>
                </a:solidFill>
                <a:latin typeface="Work Sans Light" pitchFamily="2" charset="0"/>
              </a:rPr>
              <a:t> </a:t>
            </a:r>
            <a:r>
              <a:rPr lang="sv-SE" dirty="0" err="1">
                <a:solidFill>
                  <a:srgbClr val="00264E"/>
                </a:solidFill>
                <a:latin typeface="Work Sans Light" pitchFamily="2" charset="0"/>
              </a:rPr>
              <a:t>of</a:t>
            </a:r>
            <a:r>
              <a:rPr lang="sv-SE" dirty="0">
                <a:solidFill>
                  <a:srgbClr val="00264E"/>
                </a:solidFill>
                <a:latin typeface="Work Sans Light" pitchFamily="2" charset="0"/>
              </a:rPr>
              <a:t> Tinosorb S</a:t>
            </a:r>
            <a:endParaRPr lang="sv-SE" sz="1200" dirty="0">
              <a:solidFill>
                <a:srgbClr val="00264E"/>
              </a:solidFill>
              <a:latin typeface="Work Sans Light" pitchFamily="2" charset="0"/>
            </a:endParaRPr>
          </a:p>
          <a:p>
            <a:pPr marL="0" indent="0" algn="ctr">
              <a:spcBef>
                <a:spcPts val="0"/>
              </a:spcBef>
              <a:buNone/>
            </a:pPr>
            <a:r>
              <a:rPr kumimoji="0" lang="en-US" sz="1200" i="1" u="none" strike="noStrike" kern="1200" cap="none" spc="-30" normalizeH="0" baseline="0" noProof="0" dirty="0">
                <a:ln>
                  <a:noFill/>
                </a:ln>
                <a:solidFill>
                  <a:srgbClr val="00264E"/>
                </a:solidFill>
                <a:effectLst/>
                <a:uLnTx/>
                <a:uFillTx/>
                <a:latin typeface="Work Sans Light" pitchFamily="2" charset="0"/>
              </a:rPr>
              <a:t>(Bis-</a:t>
            </a:r>
            <a:r>
              <a:rPr kumimoji="0" lang="en-US" sz="1200" i="1" u="none" strike="noStrike" kern="1200" cap="none" spc="-30" normalizeH="0" baseline="0" noProof="0" dirty="0" err="1">
                <a:ln>
                  <a:noFill/>
                </a:ln>
                <a:solidFill>
                  <a:srgbClr val="00264E"/>
                </a:solidFill>
                <a:effectLst/>
                <a:uLnTx/>
                <a:uFillTx/>
                <a:latin typeface="Work Sans Light" pitchFamily="2" charset="0"/>
              </a:rPr>
              <a:t>Ethylhexyloxyphenol</a:t>
            </a:r>
            <a:r>
              <a:rPr kumimoji="0" lang="en-US" sz="1200" i="1" u="none" strike="noStrike" kern="1200" cap="none" spc="-30" normalizeH="0" baseline="0" noProof="0" dirty="0">
                <a:ln>
                  <a:noFill/>
                </a:ln>
                <a:solidFill>
                  <a:srgbClr val="00264E"/>
                </a:solidFill>
                <a:effectLst/>
                <a:uLnTx/>
                <a:uFillTx/>
                <a:latin typeface="Work Sans Light" pitchFamily="2" charset="0"/>
              </a:rPr>
              <a:t> Methoxyphenyl Triazine)</a:t>
            </a:r>
            <a:endParaRPr lang="en-US" sz="1200" dirty="0">
              <a:solidFill>
                <a:srgbClr val="00264E"/>
              </a:solidFill>
              <a:latin typeface="Work Sans Light" pitchFamily="2" charset="0"/>
            </a:endParaRPr>
          </a:p>
        </p:txBody>
      </p:sp>
      <p:graphicFrame>
        <p:nvGraphicFramePr>
          <p:cNvPr id="11" name="Content Placeholder 26">
            <a:extLst>
              <a:ext uri="{FF2B5EF4-FFF2-40B4-BE49-F238E27FC236}">
                <a16:creationId xmlns:a16="http://schemas.microsoft.com/office/drawing/2014/main" id="{45231730-F72E-A758-0AFC-6F477ABBD3AD}"/>
              </a:ext>
            </a:extLst>
          </p:cNvPr>
          <p:cNvGraphicFramePr>
            <a:graphicFrameLocks noGrp="1"/>
          </p:cNvGraphicFramePr>
          <p:nvPr>
            <p:ph sz="quarter" idx="13"/>
            <p:extLst>
              <p:ext uri="{D42A27DB-BD31-4B8C-83A1-F6EECF244321}">
                <p14:modId xmlns:p14="http://schemas.microsoft.com/office/powerpoint/2010/main" val="644955236"/>
              </p:ext>
            </p:extLst>
          </p:nvPr>
        </p:nvGraphicFramePr>
        <p:xfrm>
          <a:off x="442913" y="1801209"/>
          <a:ext cx="3408362" cy="412273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ontent Placeholder 31">
            <a:extLst>
              <a:ext uri="{FF2B5EF4-FFF2-40B4-BE49-F238E27FC236}">
                <a16:creationId xmlns:a16="http://schemas.microsoft.com/office/drawing/2014/main" id="{0FDDDDF6-DCC2-0B8D-7231-CD1E5B2D7D96}"/>
              </a:ext>
            </a:extLst>
          </p:cNvPr>
          <p:cNvGraphicFramePr>
            <a:graphicFrameLocks/>
          </p:cNvGraphicFramePr>
          <p:nvPr>
            <p:extLst>
              <p:ext uri="{D42A27DB-BD31-4B8C-83A1-F6EECF244321}">
                <p14:modId xmlns:p14="http://schemas.microsoft.com/office/powerpoint/2010/main" val="1776875014"/>
              </p:ext>
            </p:extLst>
          </p:nvPr>
        </p:nvGraphicFramePr>
        <p:xfrm>
          <a:off x="4391025" y="1801209"/>
          <a:ext cx="3409950" cy="41227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ontent Placeholder 32">
            <a:extLst>
              <a:ext uri="{FF2B5EF4-FFF2-40B4-BE49-F238E27FC236}">
                <a16:creationId xmlns:a16="http://schemas.microsoft.com/office/drawing/2014/main" id="{B0CF1BC0-3812-E59B-0FF9-BCC32ADB09A0}"/>
              </a:ext>
            </a:extLst>
          </p:cNvPr>
          <p:cNvGraphicFramePr>
            <a:graphicFrameLocks/>
          </p:cNvGraphicFramePr>
          <p:nvPr>
            <p:extLst>
              <p:ext uri="{D42A27DB-BD31-4B8C-83A1-F6EECF244321}">
                <p14:modId xmlns:p14="http://schemas.microsoft.com/office/powerpoint/2010/main" val="762737147"/>
              </p:ext>
            </p:extLst>
          </p:nvPr>
        </p:nvGraphicFramePr>
        <p:xfrm>
          <a:off x="8340725" y="1801209"/>
          <a:ext cx="3408363" cy="4122737"/>
        </p:xfrm>
        <a:graphic>
          <a:graphicData uri="http://schemas.openxmlformats.org/drawingml/2006/chart">
            <c:chart xmlns:c="http://schemas.openxmlformats.org/drawingml/2006/chart" xmlns:r="http://schemas.openxmlformats.org/officeDocument/2006/relationships" r:id="rId4"/>
          </a:graphicData>
        </a:graphic>
      </p:graphicFrame>
      <p:pic>
        <p:nvPicPr>
          <p:cNvPr id="12" name="Picture 11">
            <a:extLst>
              <a:ext uri="{FF2B5EF4-FFF2-40B4-BE49-F238E27FC236}">
                <a16:creationId xmlns:a16="http://schemas.microsoft.com/office/drawing/2014/main" id="{E44DD79A-2026-42D7-C67E-BF5DDBBEEE20}"/>
              </a:ext>
            </a:extLst>
          </p:cNvPr>
          <p:cNvPicPr>
            <a:picLocks noChangeAspect="1"/>
          </p:cNvPicPr>
          <p:nvPr/>
        </p:nvPicPr>
        <p:blipFill>
          <a:blip r:embed="rId5"/>
          <a:stretch>
            <a:fillRect/>
          </a:stretch>
        </p:blipFill>
        <p:spPr>
          <a:xfrm>
            <a:off x="0" y="6310637"/>
            <a:ext cx="1322017" cy="543406"/>
          </a:xfrm>
          <a:prstGeom prst="rect">
            <a:avLst/>
          </a:prstGeom>
        </p:spPr>
      </p:pic>
      <p:sp>
        <p:nvSpPr>
          <p:cNvPr id="15" name="TextBox 14">
            <a:extLst>
              <a:ext uri="{FF2B5EF4-FFF2-40B4-BE49-F238E27FC236}">
                <a16:creationId xmlns:a16="http://schemas.microsoft.com/office/drawing/2014/main" id="{E104713C-9A41-26E9-16D7-384C2C15F672}"/>
              </a:ext>
            </a:extLst>
          </p:cNvPr>
          <p:cNvSpPr txBox="1"/>
          <p:nvPr/>
        </p:nvSpPr>
        <p:spPr>
          <a:xfrm>
            <a:off x="442913" y="6002860"/>
            <a:ext cx="9425676" cy="307777"/>
          </a:xfrm>
          <a:prstGeom prst="rect">
            <a:avLst/>
          </a:prstGeom>
          <a:noFill/>
          <a:ln>
            <a:noFill/>
          </a:ln>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
                <a:srgbClr val="00264E"/>
              </a:buClr>
              <a:buSzTx/>
              <a:buFontTx/>
              <a:buNone/>
              <a:tabLst/>
              <a:defRPr/>
            </a:pPr>
            <a:r>
              <a:rPr kumimoji="0" lang="en-US" sz="1000" i="1" u="none" strike="noStrike" kern="1200" cap="none" spc="-30" normalizeH="0" baseline="0" noProof="0" dirty="0">
                <a:ln>
                  <a:noFill/>
                </a:ln>
                <a:solidFill>
                  <a:schemeClr val="tx1">
                    <a:lumMod val="50000"/>
                    <a:lumOff val="50000"/>
                  </a:schemeClr>
                </a:solidFill>
                <a:effectLst/>
                <a:uLnTx/>
                <a:uFillTx/>
              </a:rPr>
              <a:t>Solubility study using a spectrophotometric method. Study conducted by Q&amp;Q Labs. </a:t>
            </a:r>
          </a:p>
          <a:p>
            <a:pPr marL="0" marR="0" lvl="0" indent="0" algn="l" defTabSz="914400" rtl="0" eaLnBrk="1" fontAlgn="auto" latinLnBrk="0" hangingPunct="1">
              <a:lnSpc>
                <a:spcPct val="100000"/>
              </a:lnSpc>
              <a:spcBef>
                <a:spcPts val="0"/>
              </a:spcBef>
              <a:spcAft>
                <a:spcPts val="0"/>
              </a:spcAft>
              <a:buClr>
                <a:srgbClr val="00264E"/>
              </a:buClr>
              <a:buSzTx/>
              <a:buFontTx/>
              <a:buNone/>
              <a:tabLst/>
              <a:defRPr/>
            </a:pPr>
            <a:r>
              <a:rPr kumimoji="0" lang="en-US" sz="1000" i="1" u="none" strike="noStrike" kern="1200" cap="none" spc="-30" normalizeH="0" baseline="0" noProof="0" dirty="0" err="1">
                <a:ln>
                  <a:noFill/>
                </a:ln>
                <a:solidFill>
                  <a:schemeClr val="tx1">
                    <a:lumMod val="50000"/>
                    <a:lumOff val="50000"/>
                  </a:schemeClr>
                </a:solidFill>
                <a:effectLst/>
                <a:uLnTx/>
                <a:uFillTx/>
              </a:rPr>
              <a:t>Uvinul</a:t>
            </a:r>
            <a:r>
              <a:rPr kumimoji="0" lang="en-US" sz="1000" i="1" u="none" strike="noStrike" kern="1200" cap="none" spc="-30" normalizeH="0" baseline="0" noProof="0" dirty="0">
                <a:ln>
                  <a:noFill/>
                </a:ln>
                <a:solidFill>
                  <a:schemeClr val="tx1">
                    <a:lumMod val="50000"/>
                    <a:lumOff val="50000"/>
                  </a:schemeClr>
                </a:solidFill>
                <a:effectLst/>
                <a:uLnTx/>
                <a:uFillTx/>
              </a:rPr>
              <a:t> T150 (</a:t>
            </a:r>
            <a:r>
              <a:rPr kumimoji="0" lang="en-US" sz="1000" i="1" u="none" strike="noStrike" kern="1200" cap="none" spc="-30" normalizeH="0" baseline="0" noProof="0" dirty="0" err="1">
                <a:ln>
                  <a:noFill/>
                </a:ln>
                <a:solidFill>
                  <a:schemeClr val="tx1">
                    <a:lumMod val="50000"/>
                    <a:lumOff val="50000"/>
                  </a:schemeClr>
                </a:solidFill>
                <a:effectLst/>
                <a:uLnTx/>
                <a:uFillTx/>
              </a:rPr>
              <a:t>Ethylhexyl</a:t>
            </a:r>
            <a:r>
              <a:rPr kumimoji="0" lang="en-US" sz="1000" i="1" u="none" strike="noStrike" kern="1200" cap="none" spc="-30" normalizeH="0" baseline="0" noProof="0" dirty="0">
                <a:ln>
                  <a:noFill/>
                </a:ln>
                <a:solidFill>
                  <a:schemeClr val="tx1">
                    <a:lumMod val="50000"/>
                    <a:lumOff val="50000"/>
                  </a:schemeClr>
                </a:solidFill>
                <a:effectLst/>
                <a:uLnTx/>
                <a:uFillTx/>
              </a:rPr>
              <a:t> </a:t>
            </a:r>
            <a:r>
              <a:rPr kumimoji="0" lang="en-US" sz="1000" i="1" u="none" strike="noStrike" kern="1200" cap="none" spc="-30" normalizeH="0" baseline="0" noProof="0" dirty="0" err="1">
                <a:ln>
                  <a:noFill/>
                </a:ln>
                <a:solidFill>
                  <a:schemeClr val="tx1">
                    <a:lumMod val="50000"/>
                    <a:lumOff val="50000"/>
                  </a:schemeClr>
                </a:solidFill>
                <a:effectLst/>
                <a:uLnTx/>
                <a:uFillTx/>
              </a:rPr>
              <a:t>Triazone</a:t>
            </a:r>
            <a:r>
              <a:rPr kumimoji="0" lang="en-US" sz="1000" i="1" u="none" strike="noStrike" kern="1200" cap="none" spc="-30" normalizeH="0" baseline="0" noProof="0" dirty="0">
                <a:ln>
                  <a:noFill/>
                </a:ln>
                <a:solidFill>
                  <a:schemeClr val="tx1">
                    <a:lumMod val="50000"/>
                    <a:lumOff val="50000"/>
                  </a:schemeClr>
                </a:solidFill>
                <a:effectLst/>
                <a:uLnTx/>
                <a:uFillTx/>
              </a:rPr>
              <a:t>), </a:t>
            </a:r>
            <a:r>
              <a:rPr kumimoji="0" lang="en-US" sz="1000" i="1" u="none" strike="noStrike" kern="1200" cap="none" spc="-30" normalizeH="0" baseline="0" noProof="0" dirty="0" err="1">
                <a:ln>
                  <a:noFill/>
                </a:ln>
                <a:solidFill>
                  <a:schemeClr val="tx1">
                    <a:lumMod val="50000"/>
                    <a:lumOff val="50000"/>
                  </a:schemeClr>
                </a:solidFill>
                <a:effectLst/>
                <a:uLnTx/>
                <a:uFillTx/>
              </a:rPr>
              <a:t>Tinosorb</a:t>
            </a:r>
            <a:r>
              <a:rPr kumimoji="0" lang="en-US" sz="1000" i="1" u="none" strike="noStrike" kern="1200" cap="none" spc="-30" normalizeH="0" baseline="0" noProof="0" dirty="0">
                <a:ln>
                  <a:noFill/>
                </a:ln>
                <a:solidFill>
                  <a:schemeClr val="tx1">
                    <a:lumMod val="50000"/>
                    <a:lumOff val="50000"/>
                  </a:schemeClr>
                </a:solidFill>
                <a:effectLst/>
                <a:uLnTx/>
                <a:uFillTx/>
              </a:rPr>
              <a:t> S (Bis-</a:t>
            </a:r>
            <a:r>
              <a:rPr kumimoji="0" lang="en-US" sz="1000" i="1" u="none" strike="noStrike" kern="1200" cap="none" spc="-30" normalizeH="0" baseline="0" noProof="0" dirty="0" err="1">
                <a:ln>
                  <a:noFill/>
                </a:ln>
                <a:solidFill>
                  <a:schemeClr val="tx1">
                    <a:lumMod val="50000"/>
                    <a:lumOff val="50000"/>
                  </a:schemeClr>
                </a:solidFill>
                <a:effectLst/>
                <a:uLnTx/>
                <a:uFillTx/>
              </a:rPr>
              <a:t>Ethylhexyloxyphenol</a:t>
            </a:r>
            <a:r>
              <a:rPr kumimoji="0" lang="en-US" sz="1000" i="1" u="none" strike="noStrike" kern="1200" cap="none" spc="-30" normalizeH="0" baseline="0" noProof="0" dirty="0">
                <a:ln>
                  <a:noFill/>
                </a:ln>
                <a:solidFill>
                  <a:schemeClr val="tx1">
                    <a:lumMod val="50000"/>
                    <a:lumOff val="50000"/>
                  </a:schemeClr>
                </a:solidFill>
                <a:effectLst/>
                <a:uLnTx/>
                <a:uFillTx/>
              </a:rPr>
              <a:t> Methoxyphenyl Triazine), </a:t>
            </a:r>
            <a:r>
              <a:rPr kumimoji="0" lang="en-US" sz="1000" i="1" u="none" strike="noStrike" kern="1200" cap="none" spc="-30" normalizeH="0" baseline="0" noProof="0" dirty="0" err="1">
                <a:ln>
                  <a:noFill/>
                </a:ln>
                <a:solidFill>
                  <a:schemeClr val="tx1">
                    <a:lumMod val="50000"/>
                    <a:lumOff val="50000"/>
                  </a:schemeClr>
                </a:solidFill>
                <a:effectLst/>
                <a:uLnTx/>
                <a:uFillTx/>
              </a:rPr>
              <a:t>Parsol</a:t>
            </a:r>
            <a:r>
              <a:rPr kumimoji="0" lang="en-US" sz="1000" i="1" u="none" strike="noStrike" kern="1200" cap="none" spc="-30" normalizeH="0" baseline="0" noProof="0" dirty="0">
                <a:ln>
                  <a:noFill/>
                </a:ln>
                <a:solidFill>
                  <a:schemeClr val="tx1">
                    <a:lumMod val="50000"/>
                    <a:lumOff val="50000"/>
                  </a:schemeClr>
                </a:solidFill>
                <a:effectLst/>
                <a:uLnTx/>
                <a:uFillTx/>
              </a:rPr>
              <a:t> 1789 (Butyl </a:t>
            </a:r>
            <a:r>
              <a:rPr kumimoji="0" lang="en-US" sz="1000" i="1" u="none" strike="noStrike" kern="1200" cap="none" spc="-30" normalizeH="0" baseline="0" noProof="0" dirty="0" err="1">
                <a:ln>
                  <a:noFill/>
                </a:ln>
                <a:solidFill>
                  <a:schemeClr val="tx1">
                    <a:lumMod val="50000"/>
                    <a:lumOff val="50000"/>
                  </a:schemeClr>
                </a:solidFill>
                <a:effectLst/>
                <a:uLnTx/>
                <a:uFillTx/>
              </a:rPr>
              <a:t>Methoxydibenzoylmethane</a:t>
            </a:r>
            <a:r>
              <a:rPr kumimoji="0" lang="en-US" sz="1000" b="0" i="1" u="none" strike="noStrike" kern="1200" cap="none" spc="-30" normalizeH="0" baseline="0" noProof="0" dirty="0">
                <a:ln>
                  <a:noFill/>
                </a:ln>
                <a:solidFill>
                  <a:schemeClr val="tx1">
                    <a:lumMod val="50000"/>
                    <a:lumOff val="50000"/>
                  </a:schemeClr>
                </a:solidFill>
                <a:effectLst/>
                <a:uLnTx/>
                <a:uFillTx/>
                <a:ea typeface="+mn-ea"/>
                <a:cs typeface="+mn-cs"/>
              </a:rPr>
              <a:t>)</a:t>
            </a:r>
            <a:endParaRPr kumimoji="0" lang="en-GB" sz="1000" b="0" i="1" u="none" strike="noStrike" kern="1200" cap="none" spc="-30" normalizeH="0" baseline="0" noProof="0" dirty="0">
              <a:ln>
                <a:noFill/>
              </a:ln>
              <a:solidFill>
                <a:schemeClr val="tx1">
                  <a:lumMod val="50000"/>
                  <a:lumOff val="50000"/>
                </a:schemeClr>
              </a:solidFill>
              <a:effectLst/>
              <a:uLnTx/>
              <a:uFillTx/>
              <a:ea typeface="+mn-ea"/>
              <a:cs typeface="+mn-cs"/>
            </a:endParaRPr>
          </a:p>
        </p:txBody>
      </p:sp>
      <p:sp>
        <p:nvSpPr>
          <p:cNvPr id="8" name="TextBox 1">
            <a:extLst>
              <a:ext uri="{FF2B5EF4-FFF2-40B4-BE49-F238E27FC236}">
                <a16:creationId xmlns:a16="http://schemas.microsoft.com/office/drawing/2014/main" id="{E0ADEA2C-2545-9398-F8F3-C0CCBEBA1859}"/>
              </a:ext>
            </a:extLst>
          </p:cNvPr>
          <p:cNvSpPr txBox="1"/>
          <p:nvPr/>
        </p:nvSpPr>
        <p:spPr>
          <a:xfrm rot="18982868">
            <a:off x="868070" y="5077603"/>
            <a:ext cx="1190625" cy="169277"/>
          </a:xfrm>
          <a:prstGeom prst="rect">
            <a:avLst/>
          </a:prstGeom>
          <a:solidFill>
            <a:srgbClr val="FFFFFF"/>
          </a:solidFill>
          <a:ln>
            <a:noFill/>
          </a:ln>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buClr>
                <a:schemeClr val="tx2"/>
              </a:buClr>
            </a:pPr>
            <a:r>
              <a:rPr lang="fr-FR" kern="1200" spc="-30" dirty="0">
                <a:solidFill>
                  <a:srgbClr val="FF8300"/>
                </a:solidFill>
                <a:latin typeface="Work Sans Medium" pitchFamily="2" charset="0"/>
              </a:rPr>
              <a:t>Lipex SheaSolve</a:t>
            </a:r>
            <a:endParaRPr lang="en-GB" kern="1200" spc="-30" dirty="0">
              <a:solidFill>
                <a:srgbClr val="FF8300"/>
              </a:solidFill>
              <a:latin typeface="Work Sans Medium" pitchFamily="2" charset="0"/>
            </a:endParaRPr>
          </a:p>
        </p:txBody>
      </p:sp>
      <p:sp>
        <p:nvSpPr>
          <p:cNvPr id="9" name="TextBox 1">
            <a:extLst>
              <a:ext uri="{FF2B5EF4-FFF2-40B4-BE49-F238E27FC236}">
                <a16:creationId xmlns:a16="http://schemas.microsoft.com/office/drawing/2014/main" id="{27A1268F-B2EA-993E-5106-32B566B83B16}"/>
              </a:ext>
            </a:extLst>
          </p:cNvPr>
          <p:cNvSpPr txBox="1"/>
          <p:nvPr/>
        </p:nvSpPr>
        <p:spPr>
          <a:xfrm rot="18982868">
            <a:off x="4820945" y="5044291"/>
            <a:ext cx="1190625" cy="169277"/>
          </a:xfrm>
          <a:prstGeom prst="rect">
            <a:avLst/>
          </a:prstGeom>
          <a:solidFill>
            <a:srgbClr val="FFFFFF"/>
          </a:solidFill>
          <a:ln>
            <a:noFill/>
          </a:ln>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buClr>
                <a:schemeClr val="tx2"/>
              </a:buClr>
            </a:pPr>
            <a:r>
              <a:rPr lang="fr-FR" kern="1200" spc="-30" dirty="0">
                <a:solidFill>
                  <a:srgbClr val="FF8300"/>
                </a:solidFill>
                <a:latin typeface="Work Sans Medium" pitchFamily="2" charset="0"/>
              </a:rPr>
              <a:t>Lipex SheaSolve</a:t>
            </a:r>
            <a:endParaRPr lang="en-GB" kern="1200" spc="-30" dirty="0">
              <a:solidFill>
                <a:srgbClr val="FF8300"/>
              </a:solidFill>
              <a:latin typeface="Work Sans Medium" pitchFamily="2" charset="0"/>
            </a:endParaRPr>
          </a:p>
        </p:txBody>
      </p:sp>
      <p:sp>
        <p:nvSpPr>
          <p:cNvPr id="16" name="TextBox 1">
            <a:extLst>
              <a:ext uri="{FF2B5EF4-FFF2-40B4-BE49-F238E27FC236}">
                <a16:creationId xmlns:a16="http://schemas.microsoft.com/office/drawing/2014/main" id="{B54144A8-453E-5717-4855-BDEB9F93FC81}"/>
              </a:ext>
            </a:extLst>
          </p:cNvPr>
          <p:cNvSpPr txBox="1"/>
          <p:nvPr/>
        </p:nvSpPr>
        <p:spPr>
          <a:xfrm rot="18982868">
            <a:off x="8783915" y="5044290"/>
            <a:ext cx="1190625" cy="169277"/>
          </a:xfrm>
          <a:prstGeom prst="rect">
            <a:avLst/>
          </a:prstGeom>
          <a:solidFill>
            <a:srgbClr val="FFFFFF"/>
          </a:solidFill>
          <a:ln>
            <a:noFill/>
          </a:ln>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buClr>
                <a:schemeClr val="tx2"/>
              </a:buClr>
            </a:pPr>
            <a:r>
              <a:rPr lang="fr-FR" kern="1200" spc="-30" dirty="0">
                <a:solidFill>
                  <a:srgbClr val="FF8300"/>
                </a:solidFill>
                <a:latin typeface="Work Sans Medium" pitchFamily="2" charset="0"/>
              </a:rPr>
              <a:t>Lipex SheaSolve</a:t>
            </a:r>
            <a:endParaRPr lang="en-GB" kern="1200" spc="-30" dirty="0">
              <a:solidFill>
                <a:srgbClr val="FF8300"/>
              </a:solidFill>
              <a:latin typeface="Work Sans Medium" pitchFamily="2" charset="0"/>
            </a:endParaRPr>
          </a:p>
        </p:txBody>
      </p:sp>
    </p:spTree>
    <p:extLst>
      <p:ext uri="{BB962C8B-B14F-4D97-AF65-F5344CB8AC3E}">
        <p14:creationId xmlns:p14="http://schemas.microsoft.com/office/powerpoint/2010/main" val="4476603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D21318A-642E-42B8-885A-DE33FCB876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9" name="Object 8" hidden="1">
                        <a:extLst>
                          <a:ext uri="{FF2B5EF4-FFF2-40B4-BE49-F238E27FC236}">
                            <a16:creationId xmlns:a16="http://schemas.microsoft.com/office/drawing/2014/main" id="{9D21318A-642E-42B8-885A-DE33FCB876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978502DE-6518-43FD-94D3-A786CE80A3BA}"/>
              </a:ext>
            </a:extLst>
          </p:cNvPr>
          <p:cNvSpPr>
            <a:spLocks noGrp="1"/>
          </p:cNvSpPr>
          <p:nvPr>
            <p:ph sz="quarter" idx="13"/>
          </p:nvPr>
        </p:nvSpPr>
        <p:spPr>
          <a:xfrm>
            <a:off x="428625" y="1293527"/>
            <a:ext cx="7273925" cy="4270945"/>
          </a:xfrm>
          <a:ln>
            <a:noFill/>
          </a:ln>
        </p:spPr>
        <p:txBody>
          <a:bodyPr vert="horz" lIns="144000" tIns="144000" rIns="144000" bIns="108000" rtlCol="0" anchor="t">
            <a:spAutoFit/>
          </a:bodyPr>
          <a:lstStyle/>
          <a:p>
            <a:pPr marL="0" indent="0">
              <a:buNone/>
            </a:pPr>
            <a:r>
              <a:rPr lang="fr-FR" sz="1600" spc="-30" dirty="0" err="1">
                <a:solidFill>
                  <a:srgbClr val="2067CA"/>
                </a:solidFill>
                <a:latin typeface="Work Sans Medium" pitchFamily="2" charset="0"/>
              </a:rPr>
              <a:t>Photostability</a:t>
            </a:r>
            <a:r>
              <a:rPr lang="fr-FR" sz="1600" spc="-30" dirty="0">
                <a:solidFill>
                  <a:srgbClr val="2067CA"/>
                </a:solidFill>
                <a:latin typeface="Work Sans Medium" pitchFamily="2" charset="0"/>
              </a:rPr>
              <a:t>:</a:t>
            </a:r>
          </a:p>
          <a:p>
            <a:pPr marL="173038" indent="0">
              <a:buNone/>
            </a:pPr>
            <a:r>
              <a:rPr lang="en-US" dirty="0"/>
              <a:t>Based on internal testing made by AAK:</a:t>
            </a:r>
          </a:p>
          <a:p>
            <a:pPr marL="173038" indent="0">
              <a:buNone/>
            </a:pPr>
            <a:r>
              <a:rPr lang="en-US" dirty="0"/>
              <a:t>Where samples were exposed to UV light (max 4.5kW/m2) for 8 hours at RT, we can conclude that </a:t>
            </a:r>
            <a:r>
              <a:rPr lang="en-GB" dirty="0"/>
              <a:t>LIPEX</a:t>
            </a:r>
            <a:r>
              <a:rPr lang="en-GB" baseline="30000" dirty="0"/>
              <a:t>®</a:t>
            </a:r>
            <a:r>
              <a:rPr lang="en-GB" dirty="0"/>
              <a:t> SheaSolve</a:t>
            </a:r>
            <a:r>
              <a:rPr lang="en-GB" baseline="30000" dirty="0"/>
              <a:t>™</a:t>
            </a:r>
            <a:r>
              <a:rPr lang="en-US" dirty="0"/>
              <a:t> does not break down under UV exposure. </a:t>
            </a:r>
          </a:p>
          <a:p>
            <a:pPr marL="173038" indent="0">
              <a:buNone/>
            </a:pPr>
            <a:r>
              <a:rPr lang="en-US" dirty="0">
                <a:latin typeface="Work Sans Medium" pitchFamily="2" charset="0"/>
              </a:rPr>
              <a:t>There was no oxidation detected after the irradiation. </a:t>
            </a:r>
          </a:p>
          <a:p>
            <a:pPr marL="0" indent="0">
              <a:buNone/>
            </a:pPr>
            <a:endParaRPr lang="en-US" dirty="0">
              <a:latin typeface="Work Sans Medium" pitchFamily="2" charset="0"/>
            </a:endParaRPr>
          </a:p>
          <a:p>
            <a:pPr marL="0" indent="0">
              <a:buNone/>
            </a:pPr>
            <a:endParaRPr lang="en-US" dirty="0">
              <a:latin typeface="Work Sans Medium" pitchFamily="2" charset="0"/>
            </a:endParaRPr>
          </a:p>
          <a:p>
            <a:pPr marL="0" indent="0">
              <a:buNone/>
              <a:defRPr/>
            </a:pPr>
            <a:r>
              <a:rPr lang="fr-FR" sz="1600" spc="-30" dirty="0" err="1">
                <a:solidFill>
                  <a:srgbClr val="2067CA"/>
                </a:solidFill>
                <a:latin typeface="Work Sans Medium" pitchFamily="2" charset="0"/>
              </a:rPr>
              <a:t>Phototoxicity</a:t>
            </a:r>
            <a:r>
              <a:rPr lang="fr-FR" sz="1600" spc="-30" dirty="0">
                <a:solidFill>
                  <a:srgbClr val="2067CA"/>
                </a:solidFill>
                <a:latin typeface="Work Sans Medium" pitchFamily="2" charset="0"/>
              </a:rPr>
              <a:t> </a:t>
            </a:r>
            <a:r>
              <a:rPr lang="en-US" dirty="0">
                <a:solidFill>
                  <a:srgbClr val="00264E"/>
                </a:solidFill>
                <a:latin typeface="Work Sans Light" pitchFamily="2" charset="0"/>
              </a:rPr>
              <a:t>:</a:t>
            </a:r>
          </a:p>
          <a:p>
            <a:pPr marL="173038" indent="0">
              <a:buNone/>
              <a:defRPr/>
            </a:pPr>
            <a:r>
              <a:rPr kumimoji="0" lang="en-US" sz="1600" i="0" u="none" strike="noStrike" kern="1200" cap="none" spc="-30" normalizeH="0" baseline="0" noProof="0" dirty="0">
                <a:ln>
                  <a:noFill/>
                </a:ln>
                <a:solidFill>
                  <a:srgbClr val="00264E"/>
                </a:solidFill>
                <a:effectLst/>
                <a:uLnTx/>
                <a:uFillTx/>
                <a:latin typeface="Work Sans Light" pitchFamily="2" charset="0"/>
              </a:rPr>
              <a:t>Based on external testing carried out by ProDerm Institute for applied dermatological research:</a:t>
            </a:r>
          </a:p>
          <a:p>
            <a:pPr marL="173038" indent="0">
              <a:buNone/>
              <a:defRPr/>
            </a:pPr>
            <a:r>
              <a:rPr kumimoji="0" lang="en-US" sz="1600" i="0" u="none" strike="noStrike" kern="1200" cap="none" spc="-30" normalizeH="0" baseline="0" noProof="0" dirty="0">
                <a:ln>
                  <a:noFill/>
                </a:ln>
                <a:solidFill>
                  <a:srgbClr val="00264E"/>
                </a:solidFill>
                <a:effectLst/>
                <a:uLnTx/>
                <a:uFillTx/>
                <a:latin typeface="Work Sans Light" pitchFamily="2" charset="0"/>
              </a:rPr>
              <a:t>The in-vivo study carried out with 28 panelists showed no evidence of erythema on skin.</a:t>
            </a:r>
            <a:r>
              <a:rPr lang="en-US" dirty="0">
                <a:solidFill>
                  <a:srgbClr val="00264E"/>
                </a:solidFill>
                <a:latin typeface="Work Sans Light" pitchFamily="2" charset="0"/>
              </a:rPr>
              <a:t> </a:t>
            </a:r>
            <a:endParaRPr lang="en-US" sz="1600" i="0" u="none" strike="noStrike" kern="1200" cap="none" spc="-30" normalizeH="0" baseline="0" noProof="0" dirty="0">
              <a:ln>
                <a:noFill/>
              </a:ln>
              <a:solidFill>
                <a:srgbClr val="00264E"/>
              </a:solidFill>
              <a:effectLst/>
              <a:uLnTx/>
              <a:uFillTx/>
              <a:latin typeface="Work Sans Light" pitchFamily="2" charset="0"/>
            </a:endParaRPr>
          </a:p>
          <a:p>
            <a:pPr marL="173038" indent="0">
              <a:buNone/>
              <a:defRPr/>
            </a:pPr>
            <a:r>
              <a:rPr lang="en-US" dirty="0">
                <a:solidFill>
                  <a:srgbClr val="00264E"/>
                </a:solidFill>
                <a:latin typeface="Work Sans Medium" pitchFamily="2" charset="0"/>
              </a:rPr>
              <a:t>We can conclude that LIPEX® SheaSolve™ does not provide any phototoxic reaction. </a:t>
            </a:r>
          </a:p>
        </p:txBody>
      </p:sp>
      <p:sp>
        <p:nvSpPr>
          <p:cNvPr id="4" name="Title 3">
            <a:extLst>
              <a:ext uri="{FF2B5EF4-FFF2-40B4-BE49-F238E27FC236}">
                <a16:creationId xmlns:a16="http://schemas.microsoft.com/office/drawing/2014/main" id="{7264408E-26B4-4A9A-8CB5-3B01C46C1CDC}"/>
              </a:ext>
            </a:extLst>
          </p:cNvPr>
          <p:cNvSpPr>
            <a:spLocks noGrp="1"/>
          </p:cNvSpPr>
          <p:nvPr>
            <p:ph type="title"/>
          </p:nvPr>
        </p:nvSpPr>
        <p:spPr/>
        <p:txBody>
          <a:bodyPr vert="horz"/>
          <a:lstStyle/>
          <a:p>
            <a:r>
              <a:rPr lang="fr-FR" noProof="0" dirty="0"/>
              <a:t>LIPEX</a:t>
            </a:r>
            <a:r>
              <a:rPr lang="fr-FR" baseline="30000" noProof="0" dirty="0"/>
              <a:t>®</a:t>
            </a:r>
            <a:r>
              <a:rPr lang="fr-FR" noProof="0" dirty="0"/>
              <a:t> SheaSolve</a:t>
            </a:r>
            <a:r>
              <a:rPr lang="fr-FR" baseline="30000" noProof="0" dirty="0"/>
              <a:t>™ </a:t>
            </a:r>
            <a:r>
              <a:rPr lang="en-GB" sz="2800" dirty="0">
                <a:latin typeface="Work Sans Medium" pitchFamily="2" charset="0"/>
              </a:rPr>
              <a:t>in suncare </a:t>
            </a:r>
            <a:br>
              <a:rPr lang="fr-FR" baseline="30000" noProof="0" dirty="0"/>
            </a:br>
            <a:r>
              <a:rPr lang="fr-FR" sz="2000" noProof="0" dirty="0" err="1"/>
              <a:t>Photostability</a:t>
            </a:r>
            <a:r>
              <a:rPr lang="fr-FR" sz="2000" noProof="0" dirty="0"/>
              <a:t> et </a:t>
            </a:r>
            <a:r>
              <a:rPr lang="fr-FR" sz="2000" noProof="0" dirty="0" err="1"/>
              <a:t>photoxicity</a:t>
            </a:r>
            <a:r>
              <a:rPr lang="fr-FR" sz="2000" noProof="0" dirty="0"/>
              <a:t> datas</a:t>
            </a:r>
            <a:endParaRPr lang="fr-FR" sz="2000" baseline="30000" noProof="0" dirty="0"/>
          </a:p>
        </p:txBody>
      </p:sp>
      <p:pic>
        <p:nvPicPr>
          <p:cNvPr id="8" name="Picture Placeholder 7">
            <a:extLst>
              <a:ext uri="{FF2B5EF4-FFF2-40B4-BE49-F238E27FC236}">
                <a16:creationId xmlns:a16="http://schemas.microsoft.com/office/drawing/2014/main" id="{893FB87B-2792-4E50-9C44-D740C424B3CB}"/>
              </a:ext>
            </a:extLst>
          </p:cNvPr>
          <p:cNvPicPr>
            <a:picLocks noGrp="1" noChangeAspect="1"/>
          </p:cNvPicPr>
          <p:nvPr>
            <p:ph type="pic" sz="quarter" idx="15"/>
          </p:nvPr>
        </p:nvPicPr>
        <p:blipFill>
          <a:blip r:embed="rId5"/>
          <a:srcRect l="5538" r="5538"/>
          <a:stretch/>
        </p:blipFill>
        <p:spPr>
          <a:xfrm>
            <a:off x="8126413" y="0"/>
            <a:ext cx="4065587" cy="6858000"/>
          </a:xfrm>
        </p:spPr>
      </p:pic>
      <p:sp>
        <p:nvSpPr>
          <p:cNvPr id="6" name="Date Placeholder 5">
            <a:extLst>
              <a:ext uri="{FF2B5EF4-FFF2-40B4-BE49-F238E27FC236}">
                <a16:creationId xmlns:a16="http://schemas.microsoft.com/office/drawing/2014/main" id="{F0E102BC-4EE5-401F-B5D7-D69CE46A8EC7}"/>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8DEDC2-ACA1-4EAB-A480-F69E7E2BB7C8}" type="datetime1">
              <a:rPr kumimoji="0" lang="en-GB" sz="1200" b="0" i="0" u="none" strike="noStrike" kern="1200" cap="none" spc="-30" normalizeH="0" baseline="0" noProof="0" smtClean="0">
                <a:ln>
                  <a:noFill/>
                </a:ln>
                <a:solidFill>
                  <a:prstClr val="white"/>
                </a:solidFill>
                <a:effectLst/>
                <a:uLnTx/>
                <a:uFillTx/>
                <a:latin typeface="Work Sans Light Roman"/>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6/2025</a:t>
            </a:fld>
            <a:endParaRPr kumimoji="0" lang="en-US" sz="1200" b="0" i="0" u="none" strike="noStrike" kern="1200" cap="none" spc="-30" normalizeH="0" baseline="0" noProof="0" dirty="0">
              <a:ln>
                <a:noFill/>
              </a:ln>
              <a:solidFill>
                <a:prstClr val="white"/>
              </a:solidFill>
              <a:effectLst/>
              <a:uLnTx/>
              <a:uFillTx/>
              <a:latin typeface="Work Sans Light Roman"/>
              <a:ea typeface="+mn-ea"/>
              <a:cs typeface="+mn-cs"/>
            </a:endParaRPr>
          </a:p>
        </p:txBody>
      </p:sp>
      <p:sp>
        <p:nvSpPr>
          <p:cNvPr id="7" name="Slide Number Placeholder 6">
            <a:extLst>
              <a:ext uri="{FF2B5EF4-FFF2-40B4-BE49-F238E27FC236}">
                <a16:creationId xmlns:a16="http://schemas.microsoft.com/office/drawing/2014/main" id="{30FAC4B9-43E0-49D7-8FE6-34E88A3816A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03DD7B-12C8-43B8-9F45-989336E79744}" type="slidenum">
              <a:rPr kumimoji="0" lang="en-US" sz="1200" b="0" i="0" u="none" strike="noStrike" kern="1200" cap="none" spc="-30" normalizeH="0" baseline="0" noProof="0" smtClean="0">
                <a:ln>
                  <a:noFill/>
                </a:ln>
                <a:solidFill>
                  <a:prstClr val="white"/>
                </a:solidFill>
                <a:effectLst/>
                <a:uLnTx/>
                <a:uFillTx/>
                <a:latin typeface="Work Sans Light Roman"/>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30" normalizeH="0" baseline="0" noProof="0" dirty="0">
              <a:ln>
                <a:noFill/>
              </a:ln>
              <a:solidFill>
                <a:prstClr val="white"/>
              </a:solidFill>
              <a:effectLst/>
              <a:uLnTx/>
              <a:uFillTx/>
              <a:latin typeface="Work Sans Light Roman"/>
              <a:ea typeface="+mn-ea"/>
              <a:cs typeface="+mn-cs"/>
            </a:endParaRPr>
          </a:p>
        </p:txBody>
      </p:sp>
      <p:sp>
        <p:nvSpPr>
          <p:cNvPr id="11" name="Footer Placeholder 2">
            <a:extLst>
              <a:ext uri="{FF2B5EF4-FFF2-40B4-BE49-F238E27FC236}">
                <a16:creationId xmlns:a16="http://schemas.microsoft.com/office/drawing/2014/main" id="{F68B5960-2D36-F7FD-92E8-9649FC0662A4}"/>
              </a:ext>
            </a:extLst>
          </p:cNvPr>
          <p:cNvSpPr txBox="1">
            <a:spLocks/>
          </p:cNvSpPr>
          <p:nvPr/>
        </p:nvSpPr>
        <p:spPr>
          <a:xfrm>
            <a:off x="5363370" y="6456362"/>
            <a:ext cx="2168525" cy="185737"/>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The Co-Development Company</a:t>
            </a:r>
            <a:endParaRPr lang="en-US" dirty="0"/>
          </a:p>
        </p:txBody>
      </p:sp>
    </p:spTree>
    <p:extLst>
      <p:ext uri="{BB962C8B-B14F-4D97-AF65-F5344CB8AC3E}">
        <p14:creationId xmlns:p14="http://schemas.microsoft.com/office/powerpoint/2010/main" val="16629437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descr="A person scratching her shoulder&#10;&#10;AI-generated content may be incorrect.">
            <a:extLst>
              <a:ext uri="{FF2B5EF4-FFF2-40B4-BE49-F238E27FC236}">
                <a16:creationId xmlns:a16="http://schemas.microsoft.com/office/drawing/2014/main" id="{DBBD04B5-EC5F-43A0-0691-21C045FFF684}"/>
              </a:ext>
            </a:extLst>
          </p:cNvPr>
          <p:cNvPicPr>
            <a:picLocks noGrp="1" noChangeAspect="1"/>
          </p:cNvPicPr>
          <p:nvPr>
            <p:ph type="pic" sz="quarter" idx="15"/>
          </p:nvPr>
        </p:nvPicPr>
        <p:blipFill>
          <a:blip r:embed="rId2"/>
          <a:srcRect l="30239" r="30239"/>
          <a:stretch>
            <a:fillRect/>
          </a:stretch>
        </p:blipFill>
        <p:spPr/>
      </p:pic>
      <p:sp>
        <p:nvSpPr>
          <p:cNvPr id="5" name="Date Placeholder 4">
            <a:extLst>
              <a:ext uri="{FF2B5EF4-FFF2-40B4-BE49-F238E27FC236}">
                <a16:creationId xmlns:a16="http://schemas.microsoft.com/office/drawing/2014/main" id="{4F4F26F3-CF1D-C1E4-B297-3D5DF7A6E578}"/>
              </a:ext>
            </a:extLst>
          </p:cNvPr>
          <p:cNvSpPr>
            <a:spLocks noGrp="1"/>
          </p:cNvSpPr>
          <p:nvPr>
            <p:ph type="dt" sz="half" idx="2"/>
          </p:nvPr>
        </p:nvSpPr>
        <p:spPr/>
        <p:txBody>
          <a:bodyPr/>
          <a:lstStyle/>
          <a:p>
            <a:fld id="{35789837-2FA3-4C30-A77E-903C3E8D2B15}" type="datetime1">
              <a:rPr lang="en-GB" sz="1000" smtClean="0"/>
              <a:t>18/06/2025</a:t>
            </a:fld>
            <a:endParaRPr lang="en-GB" sz="1000" dirty="0"/>
          </a:p>
        </p:txBody>
      </p:sp>
      <p:sp>
        <p:nvSpPr>
          <p:cNvPr id="6" name="Slide Number Placeholder 5">
            <a:extLst>
              <a:ext uri="{FF2B5EF4-FFF2-40B4-BE49-F238E27FC236}">
                <a16:creationId xmlns:a16="http://schemas.microsoft.com/office/drawing/2014/main" id="{C057D206-6888-7DDF-326F-0A3091B94618}"/>
              </a:ext>
            </a:extLst>
          </p:cNvPr>
          <p:cNvSpPr>
            <a:spLocks noGrp="1"/>
          </p:cNvSpPr>
          <p:nvPr>
            <p:ph type="sldNum" sz="quarter" idx="4"/>
          </p:nvPr>
        </p:nvSpPr>
        <p:spPr/>
        <p:txBody>
          <a:bodyPr/>
          <a:lstStyle/>
          <a:p>
            <a:pPr algn="r"/>
            <a:fld id="{EDF3706E-DB9C-4B59-A485-1194C2A6AD28}" type="slidenum">
              <a:rPr lang="en-GB" sz="1000" smtClean="0"/>
              <a:pPr algn="r"/>
              <a:t>12</a:t>
            </a:fld>
            <a:endParaRPr lang="en-GB" sz="1000"/>
          </a:p>
        </p:txBody>
      </p:sp>
      <p:sp>
        <p:nvSpPr>
          <p:cNvPr id="8" name="Title 1">
            <a:extLst>
              <a:ext uri="{FF2B5EF4-FFF2-40B4-BE49-F238E27FC236}">
                <a16:creationId xmlns:a16="http://schemas.microsoft.com/office/drawing/2014/main" id="{264DEDED-A9E0-0EED-2ECD-625EF80F080D}"/>
              </a:ext>
            </a:extLst>
          </p:cNvPr>
          <p:cNvSpPr>
            <a:spLocks noGrp="1"/>
          </p:cNvSpPr>
          <p:nvPr>
            <p:ph type="title"/>
          </p:nvPr>
        </p:nvSpPr>
        <p:spPr>
          <a:xfrm>
            <a:off x="442913" y="354040"/>
            <a:ext cx="7273925" cy="775597"/>
          </a:xfrm>
        </p:spPr>
        <p:txBody>
          <a:bodyPr vert="horz"/>
          <a:lstStyle/>
          <a:p>
            <a:r>
              <a:rPr lang="fr-FR" noProof="0" dirty="0"/>
              <a:t>LIPEX</a:t>
            </a:r>
            <a:r>
              <a:rPr lang="fr-FR" baseline="30000" noProof="0" dirty="0"/>
              <a:t>®</a:t>
            </a:r>
            <a:r>
              <a:rPr lang="fr-FR" noProof="0" dirty="0"/>
              <a:t> SheaSolve</a:t>
            </a:r>
            <a:r>
              <a:rPr lang="fr-FR" baseline="30000" noProof="0" dirty="0"/>
              <a:t>™ </a:t>
            </a:r>
            <a:r>
              <a:rPr lang="en-GB" sz="2800" dirty="0">
                <a:latin typeface="Work Sans Medium" pitchFamily="2" charset="0"/>
              </a:rPr>
              <a:t>in suncare </a:t>
            </a:r>
            <a:br>
              <a:rPr lang="fr-FR" baseline="30000" noProof="0" dirty="0"/>
            </a:br>
            <a:r>
              <a:rPr lang="fr-FR" sz="1800" dirty="0" err="1">
                <a:solidFill>
                  <a:srgbClr val="00264E"/>
                </a:solidFill>
              </a:rPr>
              <a:t>Get</a:t>
            </a:r>
            <a:r>
              <a:rPr lang="fr-FR" sz="1800" dirty="0">
                <a:solidFill>
                  <a:srgbClr val="00264E"/>
                </a:solidFill>
              </a:rPr>
              <a:t> </a:t>
            </a:r>
            <a:r>
              <a:rPr lang="fr-FR" sz="1800" dirty="0" err="1">
                <a:solidFill>
                  <a:srgbClr val="00264E"/>
                </a:solidFill>
              </a:rPr>
              <a:t>inspired</a:t>
            </a:r>
            <a:r>
              <a:rPr lang="fr-FR" sz="1800" dirty="0">
                <a:solidFill>
                  <a:srgbClr val="00264E"/>
                </a:solidFill>
              </a:rPr>
              <a:t> </a:t>
            </a:r>
            <a:r>
              <a:rPr lang="fr-FR" sz="1800" dirty="0" err="1">
                <a:solidFill>
                  <a:srgbClr val="00264E"/>
                </a:solidFill>
              </a:rPr>
              <a:t>with</a:t>
            </a:r>
            <a:r>
              <a:rPr lang="fr-FR" sz="1800" dirty="0">
                <a:solidFill>
                  <a:srgbClr val="00264E"/>
                </a:solidFill>
              </a:rPr>
              <a:t> </a:t>
            </a:r>
            <a:r>
              <a:rPr lang="fr-FR" sz="1800" dirty="0" err="1">
                <a:solidFill>
                  <a:srgbClr val="00264E"/>
                </a:solidFill>
              </a:rPr>
              <a:t>our</a:t>
            </a:r>
            <a:r>
              <a:rPr lang="fr-FR" sz="1800" dirty="0">
                <a:solidFill>
                  <a:srgbClr val="00264E"/>
                </a:solidFill>
              </a:rPr>
              <a:t> formulations</a:t>
            </a:r>
            <a:endParaRPr lang="fr-FR" sz="1800" noProof="0" dirty="0">
              <a:solidFill>
                <a:srgbClr val="00264E"/>
              </a:solidFill>
            </a:endParaRPr>
          </a:p>
        </p:txBody>
      </p:sp>
      <p:sp>
        <p:nvSpPr>
          <p:cNvPr id="9" name="Footer Placeholder 3">
            <a:extLst>
              <a:ext uri="{FF2B5EF4-FFF2-40B4-BE49-F238E27FC236}">
                <a16:creationId xmlns:a16="http://schemas.microsoft.com/office/drawing/2014/main" id="{4C78B8AA-43F0-5912-C936-B20C7B47D312}"/>
              </a:ext>
            </a:extLst>
          </p:cNvPr>
          <p:cNvSpPr txBox="1">
            <a:spLocks/>
          </p:cNvSpPr>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t>The Co-Development Company</a:t>
            </a:r>
            <a:endParaRPr lang="en-US" sz="1000" dirty="0"/>
          </a:p>
        </p:txBody>
      </p:sp>
      <p:sp>
        <p:nvSpPr>
          <p:cNvPr id="12" name="TextBox 11">
            <a:extLst>
              <a:ext uri="{FF2B5EF4-FFF2-40B4-BE49-F238E27FC236}">
                <a16:creationId xmlns:a16="http://schemas.microsoft.com/office/drawing/2014/main" id="{39597709-2DF6-D081-6E40-7E11E7833DAA}"/>
              </a:ext>
            </a:extLst>
          </p:cNvPr>
          <p:cNvSpPr txBox="1"/>
          <p:nvPr/>
        </p:nvSpPr>
        <p:spPr>
          <a:xfrm>
            <a:off x="1994712" y="1746120"/>
            <a:ext cx="5891988" cy="830997"/>
          </a:xfrm>
          <a:prstGeom prst="rect">
            <a:avLst/>
          </a:prstGeom>
          <a:noFill/>
          <a:ln>
            <a:noFill/>
          </a:ln>
        </p:spPr>
        <p:txBody>
          <a:bodyPr wrap="square">
            <a:spAutoFit/>
          </a:bodyPr>
          <a:lstStyle/>
          <a:p>
            <a:r>
              <a:rPr lang="en-GB" sz="1200" dirty="0" err="1">
                <a:hlinkClick r:id="rId3"/>
              </a:rPr>
              <a:t>SunSafe</a:t>
            </a:r>
            <a:r>
              <a:rPr lang="en-GB" sz="1200" dirty="0">
                <a:hlinkClick r:id="rId3"/>
              </a:rPr>
              <a:t> Mineral Stick SPF 50</a:t>
            </a:r>
            <a:r>
              <a:rPr lang="en-GB" sz="1200" dirty="0"/>
              <a:t> </a:t>
            </a:r>
            <a:r>
              <a:rPr lang="fr-FR" sz="1200" dirty="0" err="1">
                <a:solidFill>
                  <a:srgbClr val="1F67CA"/>
                </a:solidFill>
              </a:rPr>
              <a:t>ref</a:t>
            </a:r>
            <a:r>
              <a:rPr lang="fr-FR" sz="1200" dirty="0">
                <a:solidFill>
                  <a:srgbClr val="1F67CA"/>
                </a:solidFill>
              </a:rPr>
              <a:t>: </a:t>
            </a:r>
            <a:r>
              <a:rPr lang="sv-SE" sz="1200" dirty="0">
                <a:solidFill>
                  <a:srgbClr val="1F67CA"/>
                </a:solidFill>
              </a:rPr>
              <a:t>AAK-22-002</a:t>
            </a:r>
          </a:p>
          <a:p>
            <a:r>
              <a:rPr lang="en-GB" sz="1200" i="0" dirty="0">
                <a:solidFill>
                  <a:srgbClr val="00264E"/>
                </a:solidFill>
                <a:effectLst/>
                <a:latin typeface="Work Sans Light" pitchFamily="2" charset="0"/>
              </a:rPr>
              <a:t>Free from chemical filters, this reef-friendly stick is formulated with titanium dioxide and zinc oxide to act as an effective physical protective barrier against UV light.</a:t>
            </a:r>
            <a:endParaRPr lang="en-US" sz="1400" dirty="0">
              <a:latin typeface="Work Sans Light" pitchFamily="2" charset="0"/>
            </a:endParaRPr>
          </a:p>
        </p:txBody>
      </p:sp>
      <p:sp>
        <p:nvSpPr>
          <p:cNvPr id="17" name="Arc 16">
            <a:extLst>
              <a:ext uri="{FF2B5EF4-FFF2-40B4-BE49-F238E27FC236}">
                <a16:creationId xmlns:a16="http://schemas.microsoft.com/office/drawing/2014/main" id="{8027976E-7220-8C1B-1781-98206D55440E}"/>
              </a:ext>
            </a:extLst>
          </p:cNvPr>
          <p:cNvSpPr/>
          <p:nvPr/>
        </p:nvSpPr>
        <p:spPr>
          <a:xfrm rot="8547019">
            <a:off x="7099211" y="2844516"/>
            <a:ext cx="1108903" cy="922651"/>
          </a:xfrm>
          <a:prstGeom prst="arc">
            <a:avLst/>
          </a:prstGeom>
          <a:ln w="38100">
            <a:solidFill>
              <a:schemeClr val="bg1"/>
            </a:solidFill>
            <a:miter lim="800000"/>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Arc 17">
            <a:extLst>
              <a:ext uri="{FF2B5EF4-FFF2-40B4-BE49-F238E27FC236}">
                <a16:creationId xmlns:a16="http://schemas.microsoft.com/office/drawing/2014/main" id="{269C488E-0AC9-8012-E34E-20290733BF8D}"/>
              </a:ext>
            </a:extLst>
          </p:cNvPr>
          <p:cNvSpPr/>
          <p:nvPr/>
        </p:nvSpPr>
        <p:spPr>
          <a:xfrm rot="8547019">
            <a:off x="7070182" y="2869174"/>
            <a:ext cx="1108903" cy="922651"/>
          </a:xfrm>
          <a:prstGeom prst="arc">
            <a:avLst/>
          </a:prstGeom>
          <a:ln w="38100">
            <a:solidFill>
              <a:schemeClr val="bg1"/>
            </a:solidFill>
            <a:miter lim="800000"/>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Arc 18">
            <a:extLst>
              <a:ext uri="{FF2B5EF4-FFF2-40B4-BE49-F238E27FC236}">
                <a16:creationId xmlns:a16="http://schemas.microsoft.com/office/drawing/2014/main" id="{3F9C6F43-2154-045C-3447-09C6331C67F7}"/>
              </a:ext>
            </a:extLst>
          </p:cNvPr>
          <p:cNvSpPr/>
          <p:nvPr/>
        </p:nvSpPr>
        <p:spPr>
          <a:xfrm rot="8547019">
            <a:off x="7103220" y="2877195"/>
            <a:ext cx="1108903" cy="922651"/>
          </a:xfrm>
          <a:prstGeom prst="arc">
            <a:avLst/>
          </a:prstGeom>
          <a:ln w="38100">
            <a:solidFill>
              <a:schemeClr val="bg1"/>
            </a:solidFill>
            <a:miter lim="800000"/>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0" name="TextBox 19">
            <a:extLst>
              <a:ext uri="{FF2B5EF4-FFF2-40B4-BE49-F238E27FC236}">
                <a16:creationId xmlns:a16="http://schemas.microsoft.com/office/drawing/2014/main" id="{F84EAD28-D3C2-67B7-314F-9894B2719C76}"/>
              </a:ext>
            </a:extLst>
          </p:cNvPr>
          <p:cNvSpPr txBox="1"/>
          <p:nvPr/>
        </p:nvSpPr>
        <p:spPr>
          <a:xfrm>
            <a:off x="1994712" y="3318143"/>
            <a:ext cx="5891988" cy="646331"/>
          </a:xfrm>
          <a:prstGeom prst="rect">
            <a:avLst/>
          </a:prstGeom>
          <a:noFill/>
          <a:ln>
            <a:noFill/>
          </a:ln>
        </p:spPr>
        <p:txBody>
          <a:bodyPr wrap="square">
            <a:spAutoFit/>
          </a:bodyPr>
          <a:lstStyle/>
          <a:p>
            <a:r>
              <a:rPr lang="en-GB" sz="1200" dirty="0">
                <a:hlinkClick r:id="rId4"/>
              </a:rPr>
              <a:t>Clear &amp; Invisible Sunscreen Stick SPF 50</a:t>
            </a:r>
            <a:r>
              <a:rPr lang="en-GB" sz="1200" dirty="0"/>
              <a:t> </a:t>
            </a:r>
            <a:r>
              <a:rPr lang="fr-FR" sz="1200" dirty="0" err="1">
                <a:solidFill>
                  <a:srgbClr val="1F67CA"/>
                </a:solidFill>
              </a:rPr>
              <a:t>ref</a:t>
            </a:r>
            <a:r>
              <a:rPr lang="fr-FR" sz="1200" dirty="0">
                <a:solidFill>
                  <a:srgbClr val="1F67CA"/>
                </a:solidFill>
              </a:rPr>
              <a:t>: </a:t>
            </a:r>
            <a:r>
              <a:rPr lang="sv-SE" sz="1200" dirty="0">
                <a:solidFill>
                  <a:srgbClr val="1F67CA"/>
                </a:solidFill>
              </a:rPr>
              <a:t>AAK-23-012</a:t>
            </a:r>
          </a:p>
          <a:p>
            <a:r>
              <a:rPr lang="en-GB" sz="1200" b="0" i="0" dirty="0">
                <a:solidFill>
                  <a:srgbClr val="00264E"/>
                </a:solidFill>
                <a:effectLst/>
                <a:latin typeface="Work Sans Light" pitchFamily="2" charset="0"/>
              </a:rPr>
              <a:t>A water- and sweat-resistant sunscreen with no white residue featuring Lipex PreAct, Lipex SheaSolve, Lipex </a:t>
            </a:r>
            <a:r>
              <a:rPr lang="en-GB" sz="1200" b="0" i="0" dirty="0" err="1">
                <a:solidFill>
                  <a:srgbClr val="00264E"/>
                </a:solidFill>
                <a:effectLst/>
                <a:latin typeface="Work Sans Light" pitchFamily="2" charset="0"/>
              </a:rPr>
              <a:t>SheaTris</a:t>
            </a:r>
            <a:r>
              <a:rPr lang="en-GB" sz="1200" b="0" i="0" dirty="0">
                <a:solidFill>
                  <a:srgbClr val="00264E"/>
                </a:solidFill>
                <a:effectLst/>
                <a:latin typeface="Work Sans Light" pitchFamily="2" charset="0"/>
              </a:rPr>
              <a:t>.</a:t>
            </a:r>
            <a:endParaRPr lang="en-US" sz="1400" dirty="0">
              <a:latin typeface="Work Sans Light" pitchFamily="2" charset="0"/>
            </a:endParaRPr>
          </a:p>
        </p:txBody>
      </p:sp>
      <p:sp>
        <p:nvSpPr>
          <p:cNvPr id="21" name="TextBox 20">
            <a:extLst>
              <a:ext uri="{FF2B5EF4-FFF2-40B4-BE49-F238E27FC236}">
                <a16:creationId xmlns:a16="http://schemas.microsoft.com/office/drawing/2014/main" id="{E06FA25F-72B9-B672-59DD-93B57BFD5D07}"/>
              </a:ext>
            </a:extLst>
          </p:cNvPr>
          <p:cNvSpPr txBox="1"/>
          <p:nvPr/>
        </p:nvSpPr>
        <p:spPr>
          <a:xfrm>
            <a:off x="1984956" y="4610506"/>
            <a:ext cx="5891987" cy="1015663"/>
          </a:xfrm>
          <a:prstGeom prst="rect">
            <a:avLst/>
          </a:prstGeom>
          <a:noFill/>
          <a:ln>
            <a:noFill/>
          </a:ln>
        </p:spPr>
        <p:txBody>
          <a:bodyPr wrap="square">
            <a:spAutoFit/>
          </a:bodyPr>
          <a:lstStyle/>
          <a:p>
            <a:r>
              <a:rPr lang="en-GB" sz="1200" dirty="0">
                <a:hlinkClick r:id="rId5"/>
              </a:rPr>
              <a:t>Urban </a:t>
            </a:r>
            <a:r>
              <a:rPr lang="en-GB" sz="1200" dirty="0" err="1">
                <a:hlinkClick r:id="rId5"/>
              </a:rPr>
              <a:t>Defense</a:t>
            </a:r>
            <a:r>
              <a:rPr lang="en-GB" sz="1200" dirty="0">
                <a:hlinkClick r:id="rId5"/>
              </a:rPr>
              <a:t> Daily Face Cream SPF 30</a:t>
            </a:r>
            <a:r>
              <a:rPr lang="en-GB" sz="1200" dirty="0"/>
              <a:t> </a:t>
            </a:r>
            <a:r>
              <a:rPr lang="fr-FR" sz="1200" dirty="0" err="1">
                <a:solidFill>
                  <a:srgbClr val="1F67CA"/>
                </a:solidFill>
              </a:rPr>
              <a:t>ref</a:t>
            </a:r>
            <a:r>
              <a:rPr lang="fr-FR" sz="1200" dirty="0">
                <a:solidFill>
                  <a:srgbClr val="1F67CA"/>
                </a:solidFill>
              </a:rPr>
              <a:t>: </a:t>
            </a:r>
            <a:r>
              <a:rPr lang="sv-SE" sz="1200" dirty="0">
                <a:solidFill>
                  <a:srgbClr val="1F67CA"/>
                </a:solidFill>
              </a:rPr>
              <a:t>AAK-17-312</a:t>
            </a:r>
          </a:p>
          <a:p>
            <a:r>
              <a:rPr lang="en-GB" sz="1200" b="0" i="0" dirty="0">
                <a:solidFill>
                  <a:srgbClr val="00264E"/>
                </a:solidFill>
                <a:effectLst/>
                <a:latin typeface="Work Sans Light" pitchFamily="2" charset="0"/>
              </a:rPr>
              <a:t>This beautifully light day cream is easy to apply, it absorbs quickly without any ghosting or residue and harnesses the bioactivity of lipids found naturally in shea and canola to safeguard the skin and help maintain a radiant, youthful complexion.</a:t>
            </a:r>
            <a:endParaRPr lang="en-US" sz="1400" dirty="0">
              <a:latin typeface="Work Sans Light" pitchFamily="2" charset="0"/>
            </a:endParaRPr>
          </a:p>
        </p:txBody>
      </p:sp>
      <p:pic>
        <p:nvPicPr>
          <p:cNvPr id="24" name="Picture 23" descr="A yellow liquid in a glass container&#10;&#10;AI-generated content may be incorrect.">
            <a:extLst>
              <a:ext uri="{FF2B5EF4-FFF2-40B4-BE49-F238E27FC236}">
                <a16:creationId xmlns:a16="http://schemas.microsoft.com/office/drawing/2014/main" id="{AF2FCB00-5ACC-051C-78A4-CFA3BB1DB011}"/>
              </a:ext>
            </a:extLst>
          </p:cNvPr>
          <p:cNvPicPr>
            <a:picLocks noChangeAspect="1"/>
          </p:cNvPicPr>
          <p:nvPr/>
        </p:nvPicPr>
        <p:blipFill>
          <a:blip r:embed="rId6"/>
          <a:srcRect l="21941" r="15344"/>
          <a:stretch/>
        </p:blipFill>
        <p:spPr>
          <a:xfrm>
            <a:off x="563961" y="3117588"/>
            <a:ext cx="1080836" cy="1080000"/>
          </a:xfrm>
          <a:prstGeom prst="ellipse">
            <a:avLst/>
          </a:prstGeom>
          <a:ln>
            <a:noFill/>
          </a:ln>
          <a:effectLst/>
        </p:spPr>
      </p:pic>
      <p:pic>
        <p:nvPicPr>
          <p:cNvPr id="26" name="Picture 25" descr="A white stick with a white cap&#10;&#10;AI-generated content may be incorrect.">
            <a:extLst>
              <a:ext uri="{FF2B5EF4-FFF2-40B4-BE49-F238E27FC236}">
                <a16:creationId xmlns:a16="http://schemas.microsoft.com/office/drawing/2014/main" id="{5594B6CD-BBC2-4BF2-D8FC-BCE59DDD6413}"/>
              </a:ext>
            </a:extLst>
          </p:cNvPr>
          <p:cNvPicPr>
            <a:picLocks noChangeAspect="1"/>
          </p:cNvPicPr>
          <p:nvPr/>
        </p:nvPicPr>
        <p:blipFill>
          <a:blip r:embed="rId7"/>
          <a:srcRect l="8040" t="15076" r="7686" b="29596"/>
          <a:stretch/>
        </p:blipFill>
        <p:spPr>
          <a:xfrm>
            <a:off x="556031" y="1550961"/>
            <a:ext cx="1096697" cy="1080000"/>
          </a:xfrm>
          <a:prstGeom prst="ellipse">
            <a:avLst/>
          </a:prstGeom>
          <a:ln>
            <a:noFill/>
          </a:ln>
          <a:effectLst>
            <a:softEdge rad="12700"/>
          </a:effectLst>
        </p:spPr>
      </p:pic>
      <p:pic>
        <p:nvPicPr>
          <p:cNvPr id="28" name="Picture 27" descr="A white liquid on a white surface&#10;&#10;AI-generated content may be incorrect.">
            <a:extLst>
              <a:ext uri="{FF2B5EF4-FFF2-40B4-BE49-F238E27FC236}">
                <a16:creationId xmlns:a16="http://schemas.microsoft.com/office/drawing/2014/main" id="{C65DE83A-4D0A-8184-EBD1-3D7DF39C8843}"/>
              </a:ext>
            </a:extLst>
          </p:cNvPr>
          <p:cNvPicPr>
            <a:picLocks noChangeAspect="1"/>
          </p:cNvPicPr>
          <p:nvPr/>
        </p:nvPicPr>
        <p:blipFill>
          <a:blip r:embed="rId8"/>
          <a:srcRect t="9722" b="1991"/>
          <a:stretch/>
        </p:blipFill>
        <p:spPr>
          <a:xfrm rot="11602591">
            <a:off x="584085" y="4578338"/>
            <a:ext cx="1040588" cy="1080000"/>
          </a:xfrm>
          <a:prstGeom prst="ellipse">
            <a:avLst/>
          </a:prstGeom>
          <a:ln>
            <a:noFill/>
          </a:ln>
          <a:effectLst/>
        </p:spPr>
      </p:pic>
    </p:spTree>
    <p:extLst>
      <p:ext uri="{BB962C8B-B14F-4D97-AF65-F5344CB8AC3E}">
        <p14:creationId xmlns:p14="http://schemas.microsoft.com/office/powerpoint/2010/main" val="19007406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81B115-9282-D584-B484-4B901107F5E3}"/>
            </a:ext>
          </a:extLst>
        </p:cNvPr>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13D50BFA-532D-9DD1-8B43-B1670F06CA20}"/>
              </a:ext>
            </a:extLst>
          </p:cNvPr>
          <p:cNvPicPr>
            <a:picLocks noGrp="1" noChangeAspect="1"/>
          </p:cNvPicPr>
          <p:nvPr>
            <p:ph type="pic" sz="quarter" idx="16"/>
          </p:nvPr>
        </p:nvPicPr>
        <p:blipFill>
          <a:blip r:embed="rId2"/>
          <a:srcRect l="1024" r="1024"/>
          <a:stretch/>
        </p:blipFill>
        <p:spPr/>
      </p:pic>
      <p:sp>
        <p:nvSpPr>
          <p:cNvPr id="8" name="Title 7">
            <a:extLst>
              <a:ext uri="{FF2B5EF4-FFF2-40B4-BE49-F238E27FC236}">
                <a16:creationId xmlns:a16="http://schemas.microsoft.com/office/drawing/2014/main" id="{FA0D2007-F891-32E0-5083-B09B7F88FD6A}"/>
              </a:ext>
            </a:extLst>
          </p:cNvPr>
          <p:cNvSpPr>
            <a:spLocks noGrp="1"/>
          </p:cNvSpPr>
          <p:nvPr>
            <p:ph type="title"/>
          </p:nvPr>
        </p:nvSpPr>
        <p:spPr>
          <a:xfrm>
            <a:off x="430213" y="2653403"/>
            <a:ext cx="4114800" cy="775597"/>
          </a:xfrm>
        </p:spPr>
        <p:txBody>
          <a:bodyPr/>
          <a:lstStyle/>
          <a:p>
            <a:r>
              <a:rPr lang="en-US" sz="3200" dirty="0"/>
              <a:t>LIPEX</a:t>
            </a:r>
            <a:r>
              <a:rPr lang="en-US" sz="3200" baseline="30000" dirty="0"/>
              <a:t>®</a:t>
            </a:r>
            <a:r>
              <a:rPr lang="en-US" sz="3200" dirty="0"/>
              <a:t> SheaSolve</a:t>
            </a:r>
            <a:r>
              <a:rPr lang="en-GB" sz="3200" baseline="30000" dirty="0"/>
              <a:t>™</a:t>
            </a:r>
            <a:br>
              <a:rPr lang="en-GB" baseline="30000" dirty="0"/>
            </a:br>
            <a:r>
              <a:rPr lang="en-GB" sz="2400" dirty="0"/>
              <a:t>in Make-up</a:t>
            </a:r>
          </a:p>
        </p:txBody>
      </p:sp>
      <p:sp>
        <p:nvSpPr>
          <p:cNvPr id="5" name="Date Placeholder 4">
            <a:extLst>
              <a:ext uri="{FF2B5EF4-FFF2-40B4-BE49-F238E27FC236}">
                <a16:creationId xmlns:a16="http://schemas.microsoft.com/office/drawing/2014/main" id="{BF6CE976-C912-C96B-EF5F-1CCA47464401}"/>
              </a:ext>
            </a:extLst>
          </p:cNvPr>
          <p:cNvSpPr>
            <a:spLocks noGrp="1"/>
          </p:cNvSpPr>
          <p:nvPr>
            <p:ph type="dt" sz="half" idx="2"/>
          </p:nvPr>
        </p:nvSpPr>
        <p:spPr/>
        <p:txBody>
          <a:bodyPr/>
          <a:lstStyle/>
          <a:p>
            <a:fld id="{1B64ED2E-4F5A-4C13-A00E-18C21BE19A85}" type="datetime1">
              <a:rPr lang="en-GB" sz="1000" smtClean="0"/>
              <a:t>18/06/2025</a:t>
            </a:fld>
            <a:endParaRPr lang="en-GB" sz="1000" dirty="0"/>
          </a:p>
        </p:txBody>
      </p:sp>
      <p:sp>
        <p:nvSpPr>
          <p:cNvPr id="6" name="Slide Number Placeholder 5">
            <a:extLst>
              <a:ext uri="{FF2B5EF4-FFF2-40B4-BE49-F238E27FC236}">
                <a16:creationId xmlns:a16="http://schemas.microsoft.com/office/drawing/2014/main" id="{504CF9DD-ED8D-BC82-B46F-2B25639E8A38}"/>
              </a:ext>
            </a:extLst>
          </p:cNvPr>
          <p:cNvSpPr>
            <a:spLocks noGrp="1"/>
          </p:cNvSpPr>
          <p:nvPr>
            <p:ph type="sldNum" sz="quarter" idx="4"/>
          </p:nvPr>
        </p:nvSpPr>
        <p:spPr/>
        <p:txBody>
          <a:bodyPr/>
          <a:lstStyle/>
          <a:p>
            <a:pPr algn="r"/>
            <a:fld id="{EDF3706E-DB9C-4B59-A485-1194C2A6AD28}" type="slidenum">
              <a:rPr lang="en-GB" sz="1000" smtClean="0"/>
              <a:pPr algn="r"/>
              <a:t>13</a:t>
            </a:fld>
            <a:endParaRPr lang="en-GB" sz="1000"/>
          </a:p>
        </p:txBody>
      </p:sp>
      <p:sp>
        <p:nvSpPr>
          <p:cNvPr id="2" name="Footer Placeholder 3">
            <a:extLst>
              <a:ext uri="{FF2B5EF4-FFF2-40B4-BE49-F238E27FC236}">
                <a16:creationId xmlns:a16="http://schemas.microsoft.com/office/drawing/2014/main" id="{6BE7B234-F449-1C88-40A8-03CC3546AB38}"/>
              </a:ext>
            </a:extLst>
          </p:cNvPr>
          <p:cNvSpPr txBox="1">
            <a:spLocks/>
          </p:cNvSpPr>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t>The Co-Development Company</a:t>
            </a:r>
            <a:endParaRPr lang="en-US" sz="1000" dirty="0"/>
          </a:p>
        </p:txBody>
      </p:sp>
    </p:spTree>
    <p:extLst>
      <p:ext uri="{BB962C8B-B14F-4D97-AF65-F5344CB8AC3E}">
        <p14:creationId xmlns:p14="http://schemas.microsoft.com/office/powerpoint/2010/main" val="6195973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62961-E51F-3CA1-77F5-2E6E94BD642D}"/>
              </a:ext>
            </a:extLst>
          </p:cNvPr>
          <p:cNvSpPr>
            <a:spLocks noGrp="1"/>
          </p:cNvSpPr>
          <p:nvPr>
            <p:ph type="title"/>
          </p:nvPr>
        </p:nvSpPr>
        <p:spPr/>
        <p:txBody>
          <a:bodyPr/>
          <a:lstStyle/>
          <a:p>
            <a:r>
              <a:rPr lang="sv-SE" dirty="0"/>
              <a:t>LIPEX® SheaSolve </a:t>
            </a:r>
            <a:r>
              <a:rPr lang="en-GB" sz="2800" dirty="0">
                <a:latin typeface="Work Sans Medium" pitchFamily="2" charset="0"/>
              </a:rPr>
              <a:t>in make-up </a:t>
            </a:r>
            <a:br>
              <a:rPr lang="sv-SE" dirty="0"/>
            </a:br>
            <a:r>
              <a:rPr lang="sv-SE" sz="2000" dirty="0"/>
              <a:t>Shows the best </a:t>
            </a:r>
            <a:r>
              <a:rPr lang="sv-SE" sz="2000" dirty="0" err="1"/>
              <a:t>dispersing</a:t>
            </a:r>
            <a:r>
              <a:rPr lang="sv-SE" sz="2000" dirty="0"/>
              <a:t> </a:t>
            </a:r>
            <a:r>
              <a:rPr lang="sv-SE" sz="2000" dirty="0" err="1"/>
              <a:t>capabilities</a:t>
            </a:r>
            <a:r>
              <a:rPr lang="sv-SE" sz="2000" dirty="0"/>
              <a:t> and </a:t>
            </a:r>
            <a:r>
              <a:rPr lang="sv-SE" sz="2000" dirty="0" err="1"/>
              <a:t>processing</a:t>
            </a:r>
            <a:r>
              <a:rPr lang="sv-SE" sz="2000" dirty="0"/>
              <a:t> </a:t>
            </a:r>
            <a:r>
              <a:rPr lang="sv-SE" sz="2000" dirty="0" err="1"/>
              <a:t>conditions</a:t>
            </a:r>
            <a:endParaRPr lang="sv-SE" sz="2000" dirty="0"/>
          </a:p>
        </p:txBody>
      </p:sp>
      <p:sp>
        <p:nvSpPr>
          <p:cNvPr id="3" name="Date Placeholder 2">
            <a:extLst>
              <a:ext uri="{FF2B5EF4-FFF2-40B4-BE49-F238E27FC236}">
                <a16:creationId xmlns:a16="http://schemas.microsoft.com/office/drawing/2014/main" id="{2E821794-F3C8-A1C4-D7C4-3748B348EA3D}"/>
              </a:ext>
            </a:extLst>
          </p:cNvPr>
          <p:cNvSpPr>
            <a:spLocks noGrp="1"/>
          </p:cNvSpPr>
          <p:nvPr>
            <p:ph type="dt" sz="half" idx="10"/>
          </p:nvPr>
        </p:nvSpPr>
        <p:spPr>
          <a:xfrm>
            <a:off x="10542897" y="6472030"/>
            <a:ext cx="626774"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2DCDAF2-D32B-4959-9A14-0F980FBA07DD}" type="datetime1">
              <a:rPr lang="en-GB" sz="1000" smtClean="0"/>
              <a:pPr marL="0" marR="0" lvl="0" indent="0" algn="r" defTabSz="914400" rtl="0" eaLnBrk="1" fontAlgn="auto" latinLnBrk="0" hangingPunct="1">
                <a:lnSpc>
                  <a:spcPct val="100000"/>
                </a:lnSpc>
                <a:spcBef>
                  <a:spcPts val="0"/>
                </a:spcBef>
                <a:spcAft>
                  <a:spcPts val="0"/>
                </a:spcAft>
                <a:buClrTx/>
                <a:buSzTx/>
                <a:buFontTx/>
                <a:buNone/>
                <a:tabLst/>
                <a:defRPr/>
              </a:pPr>
              <a:t>18/06/2025</a:t>
            </a:fld>
            <a:endParaRPr kumimoji="0" lang="en-US" sz="1000" b="0" i="0" u="none" strike="noStrike" kern="1200" cap="none" spc="-30" normalizeH="0" baseline="0" noProof="0">
              <a:ln>
                <a:noFill/>
              </a:ln>
              <a:solidFill>
                <a:srgbClr val="2067CA"/>
              </a:solidFill>
              <a:effectLst/>
              <a:uLnTx/>
              <a:uFillTx/>
              <a:latin typeface="Work Sans Light"/>
              <a:ea typeface="+mn-ea"/>
              <a:cs typeface="+mn-cs"/>
            </a:endParaRPr>
          </a:p>
        </p:txBody>
      </p:sp>
      <p:sp>
        <p:nvSpPr>
          <p:cNvPr id="4" name="Footer Placeholder 3">
            <a:extLst>
              <a:ext uri="{FF2B5EF4-FFF2-40B4-BE49-F238E27FC236}">
                <a16:creationId xmlns:a16="http://schemas.microsoft.com/office/drawing/2014/main" id="{EE289586-481E-3BD0-171E-18A53DC299E9}"/>
              </a:ext>
            </a:extLst>
          </p:cNvPr>
          <p:cNvSpPr>
            <a:spLocks noGrp="1"/>
          </p:cNvSpPr>
          <p:nvPr>
            <p:ph type="ftr" sz="quarter" idx="11"/>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The Co-Development Company</a:t>
            </a:r>
            <a:endParaRPr kumimoji="0" lang="en-US" sz="1000" b="0" i="0" u="none" strike="noStrike" kern="1200" cap="none" spc="-30" normalizeH="0" baseline="0" noProof="0">
              <a:ln>
                <a:noFill/>
              </a:ln>
              <a:solidFill>
                <a:srgbClr val="2067CA"/>
              </a:solidFill>
              <a:effectLst/>
              <a:uLnTx/>
              <a:uFillTx/>
              <a:latin typeface="Work Sans Light"/>
              <a:ea typeface="+mn-ea"/>
              <a:cs typeface="+mn-cs"/>
            </a:endParaRPr>
          </a:p>
        </p:txBody>
      </p:sp>
      <p:sp>
        <p:nvSpPr>
          <p:cNvPr id="5" name="Slide Number Placeholder 4">
            <a:extLst>
              <a:ext uri="{FF2B5EF4-FFF2-40B4-BE49-F238E27FC236}">
                <a16:creationId xmlns:a16="http://schemas.microsoft.com/office/drawing/2014/main" id="{92566864-E2BA-E344-634C-A9222F7DD3D9}"/>
              </a:ext>
            </a:extLst>
          </p:cNvPr>
          <p:cNvSpPr>
            <a:spLocks noGrp="1"/>
          </p:cNvSpPr>
          <p:nvPr>
            <p:ph type="sldNum" sz="quarter" idx="12"/>
          </p:nvPr>
        </p:nvSpPr>
        <p:spPr>
          <a:xfrm>
            <a:off x="11376660" y="6472030"/>
            <a:ext cx="372428" cy="153888"/>
          </a:xfrm>
          <a:prstGeom prst="rect">
            <a:avLst/>
          </a:prstGeom>
        </p:spPr>
        <p:txBody>
          <a:bodyPr vert="horz" wrap="squar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803DD7B-12C8-43B8-9F45-989336E79744}" type="slidenum">
              <a:rPr lang="en-US" sz="1000" smtClean="0"/>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30" normalizeH="0" baseline="0" noProof="0">
              <a:ln>
                <a:noFill/>
              </a:ln>
              <a:solidFill>
                <a:srgbClr val="2067CA"/>
              </a:solidFill>
              <a:effectLst/>
              <a:uLnTx/>
              <a:uFillTx/>
              <a:latin typeface="Work Sans Light"/>
              <a:ea typeface="+mn-ea"/>
              <a:cs typeface="+mn-cs"/>
            </a:endParaRPr>
          </a:p>
        </p:txBody>
      </p:sp>
      <p:graphicFrame>
        <p:nvGraphicFramePr>
          <p:cNvPr id="14" name="Content Placeholder 13">
            <a:extLst>
              <a:ext uri="{FF2B5EF4-FFF2-40B4-BE49-F238E27FC236}">
                <a16:creationId xmlns:a16="http://schemas.microsoft.com/office/drawing/2014/main" id="{A10402E1-105D-10F5-53D4-22730D8CA1CB}"/>
              </a:ext>
            </a:extLst>
          </p:cNvPr>
          <p:cNvGraphicFramePr>
            <a:graphicFrameLocks noGrp="1"/>
          </p:cNvGraphicFramePr>
          <p:nvPr>
            <p:ph sz="quarter" idx="13"/>
            <p:extLst>
              <p:ext uri="{D42A27DB-BD31-4B8C-83A1-F6EECF244321}">
                <p14:modId xmlns:p14="http://schemas.microsoft.com/office/powerpoint/2010/main" val="1632274992"/>
              </p:ext>
            </p:extLst>
          </p:nvPr>
        </p:nvGraphicFramePr>
        <p:xfrm>
          <a:off x="442913" y="1567124"/>
          <a:ext cx="5880769" cy="3723752"/>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a:extLst>
              <a:ext uri="{FF2B5EF4-FFF2-40B4-BE49-F238E27FC236}">
                <a16:creationId xmlns:a16="http://schemas.microsoft.com/office/drawing/2014/main" id="{31481767-0418-0F9D-BAFC-E034D8ECC640}"/>
              </a:ext>
            </a:extLst>
          </p:cNvPr>
          <p:cNvSpPr txBox="1"/>
          <p:nvPr/>
        </p:nvSpPr>
        <p:spPr>
          <a:xfrm>
            <a:off x="6458924" y="1840367"/>
            <a:ext cx="5387249" cy="3016210"/>
          </a:xfrm>
          <a:prstGeom prst="rect">
            <a:avLst/>
          </a:prstGeom>
          <a:noFill/>
          <a:ln>
            <a:noFill/>
          </a:ln>
        </p:spPr>
        <p:txBody>
          <a:bodyPr wrap="square" lIns="0" tIns="0" rIns="0" bIns="0" rtlCol="0">
            <a:spAutoFit/>
          </a:bodyPr>
          <a:lstStyle/>
          <a:p>
            <a:pPr marR="0" lvl="0" algn="ctr" defTabSz="914400" rtl="0" eaLnBrk="1" fontAlgn="auto" latinLnBrk="0" hangingPunct="1">
              <a:lnSpc>
                <a:spcPct val="100000"/>
              </a:lnSpc>
              <a:spcBef>
                <a:spcPts val="0"/>
              </a:spcBef>
              <a:spcAft>
                <a:spcPts val="0"/>
              </a:spcAft>
              <a:buClr>
                <a:srgbClr val="00264E"/>
              </a:buClr>
              <a:buSzTx/>
              <a:tabLst/>
              <a:defRPr/>
            </a:pPr>
            <a:r>
              <a:rPr kumimoji="0" lang="en-GB" sz="1600" b="0" i="0" u="none" strike="noStrike" kern="1200" cap="none" spc="-30" normalizeH="0" baseline="0" noProof="0" dirty="0">
                <a:ln>
                  <a:noFill/>
                </a:ln>
                <a:solidFill>
                  <a:srgbClr val="2067CA"/>
                </a:solidFill>
                <a:effectLst/>
                <a:uLnTx/>
                <a:uFillTx/>
                <a:latin typeface="Work Sans Light"/>
                <a:ea typeface="+mn-ea"/>
                <a:cs typeface="+mn-cs"/>
              </a:rPr>
              <a:t>LIPEX® SheaSolve generates low viscosity dispersions with the two tested colorants.</a:t>
            </a:r>
          </a:p>
          <a:p>
            <a:pPr marL="285750" marR="0" lvl="0" indent="-285750" algn="l" defTabSz="914400" rtl="0" eaLnBrk="1" fontAlgn="auto" latinLnBrk="0" hangingPunct="1">
              <a:lnSpc>
                <a:spcPct val="100000"/>
              </a:lnSpc>
              <a:spcBef>
                <a:spcPts val="0"/>
              </a:spcBef>
              <a:spcAft>
                <a:spcPts val="0"/>
              </a:spcAft>
              <a:buClr>
                <a:srgbClr val="00264E"/>
              </a:buClr>
              <a:buSzTx/>
              <a:buFont typeface="Arial" panose="020B0604020202020204" pitchFamily="34" charset="0"/>
              <a:buChar char="•"/>
              <a:tabLst/>
              <a:defRPr/>
            </a:pPr>
            <a:endParaRPr kumimoji="0" lang="en-GB" sz="1600" b="0" i="0" u="none" strike="noStrike" kern="1200" cap="none" spc="-30" normalizeH="0" baseline="0" noProof="0" dirty="0">
              <a:ln>
                <a:noFill/>
              </a:ln>
              <a:solidFill>
                <a:srgbClr val="00264E"/>
              </a:solidFill>
              <a:effectLst/>
              <a:uLnTx/>
              <a:uFillTx/>
              <a:latin typeface="Work Sans Light"/>
              <a:ea typeface="+mn-ea"/>
              <a:cs typeface="+mn-cs"/>
            </a:endParaRPr>
          </a:p>
          <a:p>
            <a:pPr marR="0" lvl="0" algn="l" defTabSz="914400" rtl="0" eaLnBrk="1" fontAlgn="auto" latinLnBrk="0" hangingPunct="1">
              <a:lnSpc>
                <a:spcPct val="100000"/>
              </a:lnSpc>
              <a:spcBef>
                <a:spcPts val="0"/>
              </a:spcBef>
              <a:spcAft>
                <a:spcPts val="600"/>
              </a:spcAft>
              <a:buClr>
                <a:srgbClr val="00264E"/>
              </a:buClr>
              <a:buSzTx/>
              <a:tabLst/>
              <a:defRPr/>
            </a:pPr>
            <a:r>
              <a:rPr kumimoji="0" lang="en-GB" sz="1600" b="0" i="0" u="none" strike="noStrike" kern="1200" cap="none" spc="-30" normalizeH="0" baseline="0" noProof="0" dirty="0">
                <a:ln>
                  <a:noFill/>
                </a:ln>
                <a:solidFill>
                  <a:srgbClr val="00264E"/>
                </a:solidFill>
                <a:effectLst/>
                <a:uLnTx/>
                <a:uFillTx/>
                <a:latin typeface="Work Sans Light"/>
                <a:ea typeface="+mn-ea"/>
                <a:cs typeface="+mn-cs"/>
              </a:rPr>
              <a:t>A lower viscosity of the final dispersion indicates:</a:t>
            </a:r>
          </a:p>
          <a:p>
            <a:pPr marL="447675" marR="0" lvl="1" indent="-180975" algn="l" defTabSz="914400" rtl="0" eaLnBrk="1" fontAlgn="auto" latinLnBrk="0" hangingPunct="1">
              <a:lnSpc>
                <a:spcPct val="100000"/>
              </a:lnSpc>
              <a:spcBef>
                <a:spcPts val="0"/>
              </a:spcBef>
              <a:spcAft>
                <a:spcPts val="600"/>
              </a:spcAft>
              <a:buClr>
                <a:srgbClr val="00264E"/>
              </a:buClr>
              <a:buSzTx/>
              <a:tabLst/>
              <a:defRPr/>
            </a:pPr>
            <a:r>
              <a:rPr kumimoji="0" lang="en-GB" sz="1600" b="0" i="0" u="none" strike="noStrike" kern="1200" cap="none" spc="-30" normalizeH="0" baseline="0" noProof="0" dirty="0">
                <a:ln>
                  <a:noFill/>
                </a:ln>
                <a:solidFill>
                  <a:srgbClr val="00264E"/>
                </a:solidFill>
                <a:effectLst/>
                <a:uLnTx/>
                <a:uFillTx/>
                <a:latin typeface="Work Sans Light"/>
                <a:ea typeface="+mn-ea"/>
                <a:cs typeface="+mn-cs"/>
              </a:rPr>
              <a:t>- Better wettability of the pigments → lower agglomeration → more homogeneous</a:t>
            </a:r>
            <a:r>
              <a:rPr kumimoji="0" lang="en-GB" sz="1600" b="0" i="0" u="none" strike="noStrike" kern="1200" cap="none" spc="-30" normalizeH="0" baseline="0" noProof="0" dirty="0">
                <a:ln>
                  <a:noFill/>
                </a:ln>
                <a:solidFill>
                  <a:srgbClr val="FF0000"/>
                </a:solidFill>
                <a:effectLst/>
                <a:uLnTx/>
                <a:uFillTx/>
                <a:latin typeface="Work Sans Light"/>
                <a:ea typeface="+mn-ea"/>
                <a:cs typeface="+mn-cs"/>
              </a:rPr>
              <a:t> </a:t>
            </a:r>
            <a:r>
              <a:rPr kumimoji="0" lang="en-GB" sz="1600" b="0" i="0" u="none" strike="noStrike" kern="1200" cap="none" spc="-30" normalizeH="0" baseline="0" noProof="0" dirty="0" err="1">
                <a:ln>
                  <a:noFill/>
                </a:ln>
                <a:solidFill>
                  <a:srgbClr val="00264E"/>
                </a:solidFill>
                <a:effectLst/>
                <a:uLnTx/>
                <a:uFillTx/>
                <a:latin typeface="Work Sans Light"/>
                <a:ea typeface="+mn-ea"/>
                <a:cs typeface="+mn-cs"/>
              </a:rPr>
              <a:t>color</a:t>
            </a:r>
            <a:endParaRPr kumimoji="0" lang="en-GB" sz="1600" b="0" i="0" u="none" strike="noStrike" kern="1200" cap="none" spc="-30" normalizeH="0" baseline="0" noProof="0" dirty="0">
              <a:ln>
                <a:noFill/>
              </a:ln>
              <a:solidFill>
                <a:srgbClr val="00264E"/>
              </a:solidFill>
              <a:effectLst/>
              <a:uLnTx/>
              <a:uFillTx/>
              <a:latin typeface="Work Sans Light"/>
              <a:ea typeface="+mn-ea"/>
              <a:cs typeface="+mn-cs"/>
            </a:endParaRPr>
          </a:p>
          <a:p>
            <a:pPr marL="447675" marR="0" lvl="1" indent="-180975" algn="l" defTabSz="914400" rtl="0" eaLnBrk="1" fontAlgn="auto" latinLnBrk="0" hangingPunct="1">
              <a:lnSpc>
                <a:spcPct val="100000"/>
              </a:lnSpc>
              <a:spcBef>
                <a:spcPts val="0"/>
              </a:spcBef>
              <a:spcAft>
                <a:spcPts val="600"/>
              </a:spcAft>
              <a:buClr>
                <a:srgbClr val="00264E"/>
              </a:buClr>
              <a:buSzTx/>
              <a:tabLst/>
              <a:defRPr/>
            </a:pPr>
            <a:r>
              <a:rPr kumimoji="0" lang="en-GB" sz="1600" b="0" i="0" u="none" strike="noStrike" kern="1200" cap="none" spc="-30" normalizeH="0" baseline="0" noProof="0" dirty="0">
                <a:ln>
                  <a:noFill/>
                </a:ln>
                <a:solidFill>
                  <a:srgbClr val="00264E"/>
                </a:solidFill>
                <a:effectLst/>
                <a:uLnTx/>
                <a:uFillTx/>
                <a:latin typeface="Work Sans Light"/>
                <a:ea typeface="+mn-ea"/>
                <a:cs typeface="+mn-cs"/>
              </a:rPr>
              <a:t>- Reduces the need for additional wetting/dispersing agents</a:t>
            </a:r>
          </a:p>
          <a:p>
            <a:pPr marL="447675" marR="0" lvl="1" indent="-180975" algn="l" defTabSz="914400" rtl="0" eaLnBrk="1" fontAlgn="auto" latinLnBrk="0" hangingPunct="1">
              <a:lnSpc>
                <a:spcPct val="100000"/>
              </a:lnSpc>
              <a:spcBef>
                <a:spcPts val="0"/>
              </a:spcBef>
              <a:spcAft>
                <a:spcPts val="600"/>
              </a:spcAft>
              <a:buClr>
                <a:srgbClr val="00264E"/>
              </a:buClr>
              <a:buSzTx/>
              <a:tabLst/>
              <a:defRPr/>
            </a:pPr>
            <a:r>
              <a:rPr kumimoji="0" lang="en-GB" sz="1600" b="0" i="0" u="none" strike="noStrike" kern="1200" cap="none" spc="-30" normalizeH="0" baseline="0" noProof="0" dirty="0">
                <a:ln>
                  <a:noFill/>
                </a:ln>
                <a:solidFill>
                  <a:srgbClr val="00264E"/>
                </a:solidFill>
                <a:effectLst/>
                <a:uLnTx/>
                <a:uFillTx/>
                <a:latin typeface="Work Sans Light"/>
                <a:ea typeface="+mn-ea"/>
                <a:cs typeface="+mn-cs"/>
              </a:rPr>
              <a:t>- Easiness to work in the lab and scale up</a:t>
            </a:r>
          </a:p>
          <a:p>
            <a:pPr marL="447675" marR="0" lvl="1" indent="-180975" algn="l" defTabSz="914400" rtl="0" eaLnBrk="1" fontAlgn="auto" latinLnBrk="0" hangingPunct="1">
              <a:lnSpc>
                <a:spcPct val="100000"/>
              </a:lnSpc>
              <a:spcBef>
                <a:spcPts val="0"/>
              </a:spcBef>
              <a:spcAft>
                <a:spcPts val="600"/>
              </a:spcAft>
              <a:buClr>
                <a:srgbClr val="00264E"/>
              </a:buClr>
              <a:buSzTx/>
              <a:tabLst/>
              <a:defRPr/>
            </a:pPr>
            <a:r>
              <a:rPr kumimoji="0" lang="en-GB" sz="1600" b="0" i="0" u="none" strike="noStrike" kern="1200" cap="none" spc="-30" normalizeH="0" baseline="0" noProof="0" dirty="0">
                <a:ln>
                  <a:noFill/>
                </a:ln>
                <a:solidFill>
                  <a:srgbClr val="00264E"/>
                </a:solidFill>
                <a:effectLst/>
                <a:uLnTx/>
                <a:uFillTx/>
                <a:latin typeface="Work Sans Light"/>
                <a:ea typeface="+mn-ea"/>
                <a:cs typeface="+mn-cs"/>
              </a:rPr>
              <a:t>- Ability to disperse a higher amount of pigment at a workable viscosity, ensuring a higher </a:t>
            </a:r>
            <a:r>
              <a:rPr kumimoji="0" lang="en-GB" sz="1600" b="0" i="0" u="none" strike="noStrike" kern="1200" cap="none" spc="-30" normalizeH="0" baseline="0" noProof="0" dirty="0" err="1">
                <a:ln>
                  <a:noFill/>
                </a:ln>
                <a:solidFill>
                  <a:srgbClr val="00264E"/>
                </a:solidFill>
                <a:effectLst/>
                <a:uLnTx/>
                <a:uFillTx/>
                <a:latin typeface="Work Sans Light"/>
                <a:ea typeface="+mn-ea"/>
                <a:cs typeface="+mn-cs"/>
              </a:rPr>
              <a:t>color</a:t>
            </a:r>
            <a:r>
              <a:rPr kumimoji="0" lang="en-GB" sz="1600" b="0" i="0" u="none" strike="noStrike" kern="1200" cap="none" spc="-30" normalizeH="0" baseline="0" noProof="0" dirty="0">
                <a:ln>
                  <a:noFill/>
                </a:ln>
                <a:solidFill>
                  <a:srgbClr val="00264E"/>
                </a:solidFill>
                <a:effectLst/>
                <a:uLnTx/>
                <a:uFillTx/>
                <a:latin typeface="Work Sans Light"/>
                <a:ea typeface="+mn-ea"/>
                <a:cs typeface="+mn-cs"/>
              </a:rPr>
              <a:t> payoff. </a:t>
            </a:r>
            <a:endParaRPr kumimoji="0" lang="en-GB" sz="1400" b="0" i="0" u="none" strike="noStrike" kern="1200" cap="none" spc="-30" normalizeH="0" baseline="0" noProof="0" dirty="0">
              <a:ln>
                <a:noFill/>
              </a:ln>
              <a:solidFill>
                <a:srgbClr val="00264E"/>
              </a:solidFill>
              <a:effectLst/>
              <a:uLnTx/>
              <a:uFillTx/>
              <a:latin typeface="Work Sans Light"/>
              <a:ea typeface="+mn-ea"/>
              <a:cs typeface="+mn-cs"/>
            </a:endParaRPr>
          </a:p>
        </p:txBody>
      </p:sp>
      <p:sp>
        <p:nvSpPr>
          <p:cNvPr id="6" name="TextBox 5">
            <a:extLst>
              <a:ext uri="{FF2B5EF4-FFF2-40B4-BE49-F238E27FC236}">
                <a16:creationId xmlns:a16="http://schemas.microsoft.com/office/drawing/2014/main" id="{53E8A243-DA8D-DEF9-0FE7-0C581E5A87D3}"/>
              </a:ext>
            </a:extLst>
          </p:cNvPr>
          <p:cNvSpPr txBox="1"/>
          <p:nvPr/>
        </p:nvSpPr>
        <p:spPr>
          <a:xfrm>
            <a:off x="651967" y="5528432"/>
            <a:ext cx="5880769" cy="415498"/>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264E"/>
              </a:buClr>
              <a:buSzTx/>
              <a:buFontTx/>
              <a:buNone/>
              <a:tabLst/>
              <a:defRPr/>
            </a:pPr>
            <a:r>
              <a:rPr kumimoji="0" lang="en-US" sz="900" b="0" i="0" u="none" strike="noStrike" kern="1200" cap="none" spc="0" normalizeH="0" baseline="0" noProof="0">
                <a:ln>
                  <a:noFill/>
                </a:ln>
                <a:solidFill>
                  <a:srgbClr val="000000"/>
                </a:solidFill>
                <a:effectLst/>
                <a:uLnTx/>
                <a:uFillTx/>
                <a:latin typeface="Work Sans Light"/>
                <a:ea typeface="+mn-ea"/>
                <a:cs typeface="+mn-cs"/>
              </a:rPr>
              <a:t>Roller mill dispersion conditions: Regular setting with “2” on rear and “1” on the front; pass batch through roller mill 3 times. Viscosity measurements were done with an </a:t>
            </a:r>
            <a:r>
              <a:rPr kumimoji="0" lang="en-GB" sz="900" b="0" i="0" u="none" strike="noStrike" kern="1200" cap="none" spc="0" normalizeH="0" baseline="0" noProof="0">
                <a:ln>
                  <a:noFill/>
                </a:ln>
                <a:solidFill>
                  <a:srgbClr val="000000"/>
                </a:solidFill>
                <a:effectLst/>
                <a:uLnTx/>
                <a:uFillTx/>
                <a:latin typeface="Work Sans Light"/>
                <a:ea typeface="+mn-ea"/>
                <a:cs typeface="+mn-cs"/>
              </a:rPr>
              <a:t>Anton </a:t>
            </a:r>
            <a:r>
              <a:rPr kumimoji="0" lang="en-GB" sz="900" b="0" i="0" u="none" strike="noStrike" kern="1200" cap="none" spc="0" normalizeH="0" baseline="0" noProof="0" err="1">
                <a:ln>
                  <a:noFill/>
                </a:ln>
                <a:solidFill>
                  <a:srgbClr val="000000"/>
                </a:solidFill>
                <a:effectLst/>
                <a:uLnTx/>
                <a:uFillTx/>
                <a:latin typeface="Work Sans Light"/>
                <a:ea typeface="+mn-ea"/>
                <a:cs typeface="+mn-cs"/>
              </a:rPr>
              <a:t>Paar</a:t>
            </a:r>
            <a:r>
              <a:rPr kumimoji="0" lang="en-GB" sz="900" b="0" i="0" u="none" strike="noStrike" kern="1200" cap="none" spc="0" normalizeH="0" baseline="0" noProof="0">
                <a:ln>
                  <a:noFill/>
                </a:ln>
                <a:solidFill>
                  <a:srgbClr val="000000"/>
                </a:solidFill>
                <a:effectLst/>
                <a:uLnTx/>
                <a:uFillTx/>
                <a:latin typeface="Work Sans Light"/>
                <a:ea typeface="+mn-ea"/>
                <a:cs typeface="+mn-cs"/>
              </a:rPr>
              <a:t> Rheometer MCR301 under 10  S-1 shear rate and 20˚C temperature</a:t>
            </a:r>
            <a:endParaRPr kumimoji="0" lang="sv-SE" sz="900" b="0" i="0" u="none" strike="noStrike" kern="1200" cap="none" spc="0" normalizeH="0" baseline="0" noProof="0">
              <a:ln>
                <a:noFill/>
              </a:ln>
              <a:solidFill>
                <a:srgbClr val="000000"/>
              </a:solidFill>
              <a:effectLst/>
              <a:uLnTx/>
              <a:uFillTx/>
              <a:latin typeface="Work Sans Light"/>
              <a:ea typeface="+mn-ea"/>
              <a:cs typeface="+mn-cs"/>
            </a:endParaRPr>
          </a:p>
        </p:txBody>
      </p:sp>
    </p:spTree>
    <p:extLst>
      <p:ext uri="{BB962C8B-B14F-4D97-AF65-F5344CB8AC3E}">
        <p14:creationId xmlns:p14="http://schemas.microsoft.com/office/powerpoint/2010/main" val="40977411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104A000-7B6E-2450-478C-0FE5B3D7471A}"/>
              </a:ext>
            </a:extLst>
          </p:cNvPr>
          <p:cNvSpPr>
            <a:spLocks noGrp="1"/>
          </p:cNvSpPr>
          <p:nvPr>
            <p:ph type="dt" sz="half" idx="10"/>
          </p:nvPr>
        </p:nvSpPr>
        <p:spPr>
          <a:xfrm>
            <a:off x="10542897" y="6472030"/>
            <a:ext cx="626774"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2DCDAF2-D32B-4959-9A14-0F980FBA07DD}" type="datetime1">
              <a:rPr lang="en-GB" sz="1000" smtClean="0"/>
              <a:pPr marL="0" marR="0" lvl="0" indent="0" algn="r" defTabSz="914400" rtl="0" eaLnBrk="1" fontAlgn="auto" latinLnBrk="0" hangingPunct="1">
                <a:lnSpc>
                  <a:spcPct val="100000"/>
                </a:lnSpc>
                <a:spcBef>
                  <a:spcPts val="0"/>
                </a:spcBef>
                <a:spcAft>
                  <a:spcPts val="0"/>
                </a:spcAft>
                <a:buClrTx/>
                <a:buSzTx/>
                <a:buFontTx/>
                <a:buNone/>
                <a:tabLst/>
                <a:defRPr/>
              </a:pPr>
              <a:t>18/06/2025</a:t>
            </a:fld>
            <a:endParaRPr kumimoji="0" lang="en-US" sz="1000" b="0" i="0" u="none" strike="noStrike" kern="1200" cap="none" spc="-30" normalizeH="0" baseline="0" noProof="0">
              <a:ln>
                <a:noFill/>
              </a:ln>
              <a:solidFill>
                <a:srgbClr val="2067CA"/>
              </a:solidFill>
              <a:effectLst/>
              <a:uLnTx/>
              <a:uFillTx/>
              <a:latin typeface="Work Sans Light"/>
              <a:ea typeface="+mn-ea"/>
              <a:cs typeface="+mn-cs"/>
            </a:endParaRPr>
          </a:p>
        </p:txBody>
      </p:sp>
      <p:sp>
        <p:nvSpPr>
          <p:cNvPr id="4" name="Footer Placeholder 3">
            <a:extLst>
              <a:ext uri="{FF2B5EF4-FFF2-40B4-BE49-F238E27FC236}">
                <a16:creationId xmlns:a16="http://schemas.microsoft.com/office/drawing/2014/main" id="{0F06FAFC-7353-F08E-D7BB-A6B94FAD5323}"/>
              </a:ext>
            </a:extLst>
          </p:cNvPr>
          <p:cNvSpPr>
            <a:spLocks noGrp="1"/>
          </p:cNvSpPr>
          <p:nvPr>
            <p:ph type="ftr" sz="quarter" idx="11"/>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The Co-Development Company</a:t>
            </a:r>
            <a:endParaRPr kumimoji="0" lang="en-US" sz="1000" b="0" i="0" u="none" strike="noStrike" kern="1200" cap="none" spc="-30" normalizeH="0" baseline="0" noProof="0">
              <a:ln>
                <a:noFill/>
              </a:ln>
              <a:solidFill>
                <a:srgbClr val="2067CA"/>
              </a:solidFill>
              <a:effectLst/>
              <a:uLnTx/>
              <a:uFillTx/>
              <a:latin typeface="Work Sans Light"/>
              <a:ea typeface="+mn-ea"/>
              <a:cs typeface="+mn-cs"/>
            </a:endParaRPr>
          </a:p>
        </p:txBody>
      </p:sp>
      <p:sp>
        <p:nvSpPr>
          <p:cNvPr id="5" name="Slide Number Placeholder 4">
            <a:extLst>
              <a:ext uri="{FF2B5EF4-FFF2-40B4-BE49-F238E27FC236}">
                <a16:creationId xmlns:a16="http://schemas.microsoft.com/office/drawing/2014/main" id="{59CC0A6D-11CA-5E65-8A06-0C6D2870249D}"/>
              </a:ext>
            </a:extLst>
          </p:cNvPr>
          <p:cNvSpPr>
            <a:spLocks noGrp="1"/>
          </p:cNvSpPr>
          <p:nvPr>
            <p:ph type="sldNum" sz="quarter" idx="12"/>
          </p:nvPr>
        </p:nvSpPr>
        <p:spPr>
          <a:xfrm>
            <a:off x="11376660" y="6472030"/>
            <a:ext cx="372428" cy="153888"/>
          </a:xfrm>
          <a:prstGeom prst="rect">
            <a:avLst/>
          </a:prstGeom>
        </p:spPr>
        <p:txBody>
          <a:bodyPr vert="horz" wrap="squar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803DD7B-12C8-43B8-9F45-989336E79744}" type="slidenum">
              <a:rPr lang="en-US" sz="1000" smtClean="0"/>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30" normalizeH="0" baseline="0" noProof="0">
              <a:ln>
                <a:noFill/>
              </a:ln>
              <a:solidFill>
                <a:srgbClr val="2067CA"/>
              </a:solidFill>
              <a:effectLst/>
              <a:uLnTx/>
              <a:uFillTx/>
              <a:latin typeface="Work Sans Light"/>
              <a:ea typeface="+mn-ea"/>
              <a:cs typeface="+mn-cs"/>
            </a:endParaRPr>
          </a:p>
        </p:txBody>
      </p:sp>
      <p:sp>
        <p:nvSpPr>
          <p:cNvPr id="9" name="Title 1">
            <a:extLst>
              <a:ext uri="{FF2B5EF4-FFF2-40B4-BE49-F238E27FC236}">
                <a16:creationId xmlns:a16="http://schemas.microsoft.com/office/drawing/2014/main" id="{9C0B5CEC-D40C-FFE5-B48E-61AD8ACB65C3}"/>
              </a:ext>
            </a:extLst>
          </p:cNvPr>
          <p:cNvSpPr txBox="1">
            <a:spLocks/>
          </p:cNvSpPr>
          <p:nvPr/>
        </p:nvSpPr>
        <p:spPr>
          <a:xfrm>
            <a:off x="442911" y="338237"/>
            <a:ext cx="11306175" cy="77559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800" kern="1200" spc="-30" baseline="0">
                <a:solidFill>
                  <a:srgbClr val="00264E"/>
                </a:solidFill>
                <a:latin typeface="Work Sans Medium" pitchFamily="2" charset="0"/>
                <a:ea typeface="+mj-ea"/>
                <a:cs typeface="+mj-cs"/>
              </a:defRPr>
            </a:lvl1pPr>
          </a:lstStyle>
          <a:p>
            <a:r>
              <a:rPr lang="sv-SE" dirty="0"/>
              <a:t>LIPEX® SheaSolve </a:t>
            </a:r>
            <a:r>
              <a:rPr lang="en-GB" dirty="0"/>
              <a:t>in make-up</a:t>
            </a:r>
          </a:p>
          <a:p>
            <a:r>
              <a:rPr lang="en-US" sz="2000" dirty="0"/>
              <a:t>Able to produce the lowest viscosity dispersions</a:t>
            </a:r>
            <a:endParaRPr lang="sv-SE" sz="2000" dirty="0"/>
          </a:p>
        </p:txBody>
      </p:sp>
      <p:sp>
        <p:nvSpPr>
          <p:cNvPr id="13" name="Title 1">
            <a:extLst>
              <a:ext uri="{FF2B5EF4-FFF2-40B4-BE49-F238E27FC236}">
                <a16:creationId xmlns:a16="http://schemas.microsoft.com/office/drawing/2014/main" id="{286BE2FC-CEE2-B805-0F2C-FAA65C6DE01E}"/>
              </a:ext>
            </a:extLst>
          </p:cNvPr>
          <p:cNvSpPr txBox="1">
            <a:spLocks/>
          </p:cNvSpPr>
          <p:nvPr/>
        </p:nvSpPr>
        <p:spPr>
          <a:xfrm>
            <a:off x="695926" y="5472719"/>
            <a:ext cx="4155208" cy="33241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800" kern="1200" spc="-30" baseline="0">
                <a:solidFill>
                  <a:srgbClr val="00264E"/>
                </a:solidFill>
                <a:latin typeface="Work Sans Medium" pitchFamily="2" charset="0"/>
                <a:ea typeface="+mj-ea"/>
                <a:cs typeface="+mj-cs"/>
              </a:defRPr>
            </a:lvl1pPr>
          </a:lstStyle>
          <a:p>
            <a:r>
              <a:rPr lang="en-US" sz="2000" dirty="0">
                <a:latin typeface="Work Sans Light" pitchFamily="2" charset="0"/>
              </a:rPr>
              <a:t>See it for yourself with this video :</a:t>
            </a:r>
          </a:p>
        </p:txBody>
      </p:sp>
      <p:sp>
        <p:nvSpPr>
          <p:cNvPr id="7" name="TextBox 6">
            <a:extLst>
              <a:ext uri="{FF2B5EF4-FFF2-40B4-BE49-F238E27FC236}">
                <a16:creationId xmlns:a16="http://schemas.microsoft.com/office/drawing/2014/main" id="{54648BBD-3363-363E-289A-7511BF046F5A}"/>
              </a:ext>
            </a:extLst>
          </p:cNvPr>
          <p:cNvSpPr txBox="1"/>
          <p:nvPr/>
        </p:nvSpPr>
        <p:spPr>
          <a:xfrm>
            <a:off x="4696681" y="5466582"/>
            <a:ext cx="6097604" cy="369332"/>
          </a:xfrm>
          <a:prstGeom prst="rect">
            <a:avLst/>
          </a:prstGeom>
          <a:noFill/>
          <a:ln>
            <a:noFill/>
          </a:ln>
        </p:spPr>
        <p:txBody>
          <a:bodyPr wrap="square">
            <a:spAutoFit/>
          </a:bodyPr>
          <a:lstStyle/>
          <a:p>
            <a:r>
              <a:rPr lang="en-GB" dirty="0">
                <a:hlinkClick r:id="rId2"/>
              </a:rPr>
              <a:t>Achieving low viscosity FINAL - YouTube</a:t>
            </a:r>
            <a:endParaRPr lang="en-GB" dirty="0"/>
          </a:p>
        </p:txBody>
      </p:sp>
      <p:pic>
        <p:nvPicPr>
          <p:cNvPr id="1026" name="Picture 2">
            <a:extLst>
              <a:ext uri="{FF2B5EF4-FFF2-40B4-BE49-F238E27FC236}">
                <a16:creationId xmlns:a16="http://schemas.microsoft.com/office/drawing/2014/main" id="{E8C51CFB-73BE-8E69-0364-410CEF7795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49971" y="1499764"/>
            <a:ext cx="7092056" cy="302121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3F769696-D227-B9CC-AE30-D37573D6DF21}"/>
              </a:ext>
            </a:extLst>
          </p:cNvPr>
          <p:cNvSpPr txBox="1"/>
          <p:nvPr/>
        </p:nvSpPr>
        <p:spPr>
          <a:xfrm>
            <a:off x="530917" y="4684338"/>
            <a:ext cx="10913521" cy="461665"/>
          </a:xfrm>
          <a:prstGeom prst="rect">
            <a:avLst/>
          </a:prstGeom>
          <a:noFill/>
          <a:ln>
            <a:noFill/>
          </a:ln>
        </p:spPr>
        <p:txBody>
          <a:bodyPr wrap="square">
            <a:spAutoFit/>
          </a:bodyPr>
          <a:lstStyle/>
          <a:p>
            <a:r>
              <a:rPr lang="en-GB" sz="1200" b="0" i="0" dirty="0">
                <a:solidFill>
                  <a:schemeClr val="tx1">
                    <a:lumMod val="50000"/>
                    <a:lumOff val="50000"/>
                  </a:schemeClr>
                </a:solidFill>
                <a:effectLst/>
                <a:latin typeface="Work Sans Light" pitchFamily="2" charset="0"/>
              </a:rPr>
              <a:t>The above image shows 20% yellow iron oxide dispersions in different emollients. The Lipex SheaSolve dispersion is flowable, the caprylic/capric triglyceride dispersion is thicker but also flowable, and the C12-15 alkyl benzoate dispersion doesn’t flow.</a:t>
            </a:r>
            <a:endParaRPr lang="en-GB" sz="1200" dirty="0">
              <a:solidFill>
                <a:schemeClr val="tx1">
                  <a:lumMod val="50000"/>
                  <a:lumOff val="50000"/>
                </a:schemeClr>
              </a:solidFill>
              <a:latin typeface="Work Sans Light" pitchFamily="2" charset="0"/>
            </a:endParaRPr>
          </a:p>
        </p:txBody>
      </p:sp>
    </p:spTree>
    <p:extLst>
      <p:ext uri="{BB962C8B-B14F-4D97-AF65-F5344CB8AC3E}">
        <p14:creationId xmlns:p14="http://schemas.microsoft.com/office/powerpoint/2010/main" val="18890405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a:extLst>
              <a:ext uri="{FF2B5EF4-FFF2-40B4-BE49-F238E27FC236}">
                <a16:creationId xmlns:a16="http://schemas.microsoft.com/office/drawing/2014/main" id="{409D889C-DD14-97AC-6530-1359011311D6}"/>
              </a:ext>
            </a:extLst>
          </p:cNvPr>
          <p:cNvGraphicFramePr>
            <a:graphicFrameLocks/>
          </p:cNvGraphicFramePr>
          <p:nvPr>
            <p:extLst>
              <p:ext uri="{D42A27DB-BD31-4B8C-83A1-F6EECF244321}">
                <p14:modId xmlns:p14="http://schemas.microsoft.com/office/powerpoint/2010/main" val="1262270086"/>
              </p:ext>
            </p:extLst>
          </p:nvPr>
        </p:nvGraphicFramePr>
        <p:xfrm>
          <a:off x="334025" y="1086505"/>
          <a:ext cx="5456190" cy="3675053"/>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442912" y="331037"/>
            <a:ext cx="11306175" cy="422356"/>
          </a:xfrm>
        </p:spPr>
        <p:txBody>
          <a:bodyPr>
            <a:noAutofit/>
          </a:bodyPr>
          <a:lstStyle/>
          <a:p>
            <a:br>
              <a:rPr lang="en-US" dirty="0"/>
            </a:br>
            <a:r>
              <a:rPr lang="sv-SE" dirty="0"/>
              <a:t>LIPEX® SheaSolve </a:t>
            </a:r>
            <a:r>
              <a:rPr lang="en-GB" dirty="0"/>
              <a:t>in make-up </a:t>
            </a:r>
            <a:br>
              <a:rPr lang="en-US" dirty="0"/>
            </a:br>
            <a:r>
              <a:rPr lang="en-US" sz="1800" dirty="0"/>
              <a:t>Able to produce the lowest viscosity dispersions at different levels and with different coating</a:t>
            </a:r>
            <a:endParaRPr lang="sv-SE" sz="1800" baseline="-25000" dirty="0"/>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C63280-7450-40C6-A390-1C3D150B86C7}" type="slidenum">
              <a:rPr kumimoji="0" lang="sv-SE" sz="1200" b="0" i="0" u="none" strike="noStrike" kern="1200" cap="none" spc="-30" normalizeH="0" baseline="0" noProof="0" smtClean="0">
                <a:ln>
                  <a:noFill/>
                </a:ln>
                <a:solidFill>
                  <a:prstClr val="white">
                    <a:lumMod val="50000"/>
                  </a:prstClr>
                </a:solidFill>
                <a:effectLst/>
                <a:uLnTx/>
                <a:uFillTx/>
                <a:latin typeface="Work Sa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sv-SE" sz="1200" b="0" i="0" u="none" strike="noStrike" kern="1200" cap="none" spc="-30" normalizeH="0" baseline="0" noProof="0">
              <a:ln>
                <a:noFill/>
              </a:ln>
              <a:solidFill>
                <a:prstClr val="white">
                  <a:lumMod val="50000"/>
                </a:prstClr>
              </a:solidFill>
              <a:effectLst/>
              <a:uLnTx/>
              <a:uFillTx/>
              <a:latin typeface="Work Sans Light"/>
              <a:ea typeface="+mn-ea"/>
              <a:cs typeface="+mn-cs"/>
            </a:endParaRPr>
          </a:p>
        </p:txBody>
      </p:sp>
      <p:sp>
        <p:nvSpPr>
          <p:cNvPr id="5" name="Date Placeholder 4"/>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30" normalizeH="0" baseline="0" noProof="0">
                <a:ln>
                  <a:noFill/>
                </a:ln>
                <a:solidFill>
                  <a:srgbClr val="2067CA"/>
                </a:solidFill>
                <a:effectLst/>
                <a:uLnTx/>
                <a:uFillTx/>
                <a:latin typeface="Work Sans Light"/>
                <a:ea typeface="+mn-ea"/>
                <a:cs typeface="+mn-cs"/>
              </a:rPr>
              <a:t>2018-03-22</a:t>
            </a:r>
          </a:p>
        </p:txBody>
      </p:sp>
      <p:sp>
        <p:nvSpPr>
          <p:cNvPr id="8" name="TextBox 7">
            <a:extLst>
              <a:ext uri="{FF2B5EF4-FFF2-40B4-BE49-F238E27FC236}">
                <a16:creationId xmlns:a16="http://schemas.microsoft.com/office/drawing/2014/main" id="{8126DBE5-B3A4-B9CD-43C1-D3F12CBF1C33}"/>
              </a:ext>
            </a:extLst>
          </p:cNvPr>
          <p:cNvSpPr txBox="1"/>
          <p:nvPr/>
        </p:nvSpPr>
        <p:spPr>
          <a:xfrm>
            <a:off x="770402" y="4761559"/>
            <a:ext cx="4744907" cy="276999"/>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264E"/>
              </a:buClr>
              <a:buSzTx/>
              <a:buFontTx/>
              <a:buNone/>
              <a:tabLst/>
              <a:defRPr/>
            </a:pPr>
            <a:r>
              <a:rPr kumimoji="0" lang="sv-SE" sz="900" b="0" i="0" u="none" strike="noStrike" kern="1200" cap="none" spc="-30" normalizeH="0" baseline="0" noProof="0">
                <a:ln>
                  <a:noFill/>
                </a:ln>
                <a:solidFill>
                  <a:srgbClr val="00264E"/>
                </a:solidFill>
                <a:effectLst/>
                <a:uLnTx/>
                <a:uFillTx/>
                <a:latin typeface="Work Sans Light"/>
                <a:ea typeface="+mn-ea"/>
                <a:cs typeface="+mn-cs"/>
              </a:rPr>
              <a:t>INCI: </a:t>
            </a:r>
            <a:r>
              <a:rPr kumimoji="0" lang="en-US" sz="900" b="0" i="0" u="none" strike="noStrike" kern="1200" cap="none" spc="0" normalizeH="0" baseline="0" noProof="0">
                <a:ln>
                  <a:noFill/>
                </a:ln>
                <a:solidFill>
                  <a:srgbClr val="333333"/>
                </a:solidFill>
                <a:effectLst/>
                <a:uLnTx/>
                <a:uFillTx/>
                <a:latin typeface="Work Sans Light"/>
                <a:ea typeface="+mn-ea"/>
                <a:cs typeface="+mn-cs"/>
              </a:rPr>
              <a:t>Titanium Dioxide, Silica, </a:t>
            </a:r>
            <a:r>
              <a:rPr kumimoji="0" lang="en-US" sz="900" b="0" i="0" u="none" strike="noStrike" kern="1200" cap="none" spc="0" normalizeH="0" baseline="0" noProof="0" err="1">
                <a:ln>
                  <a:noFill/>
                </a:ln>
                <a:solidFill>
                  <a:srgbClr val="333333"/>
                </a:solidFill>
                <a:effectLst/>
                <a:uLnTx/>
                <a:uFillTx/>
                <a:latin typeface="Work Sans Light"/>
                <a:ea typeface="+mn-ea"/>
                <a:cs typeface="+mn-cs"/>
              </a:rPr>
              <a:t>Cetyl</a:t>
            </a:r>
            <a:r>
              <a:rPr kumimoji="0" lang="en-US" sz="900" b="0" i="0" u="none" strike="noStrike" kern="1200" cap="none" spc="0" normalizeH="0" baseline="0" noProof="0">
                <a:ln>
                  <a:noFill/>
                </a:ln>
                <a:solidFill>
                  <a:srgbClr val="333333"/>
                </a:solidFill>
                <a:effectLst/>
                <a:uLnTx/>
                <a:uFillTx/>
                <a:latin typeface="Work Sans Light"/>
                <a:ea typeface="+mn-ea"/>
                <a:cs typeface="+mn-cs"/>
              </a:rPr>
              <a:t> Phosphate</a:t>
            </a:r>
          </a:p>
          <a:p>
            <a:pPr marL="0" marR="0" lvl="0" indent="0" algn="l" defTabSz="914400" rtl="0" eaLnBrk="1" fontAlgn="auto" latinLnBrk="0" hangingPunct="1">
              <a:lnSpc>
                <a:spcPct val="100000"/>
              </a:lnSpc>
              <a:spcBef>
                <a:spcPts val="0"/>
              </a:spcBef>
              <a:spcAft>
                <a:spcPts val="0"/>
              </a:spcAft>
              <a:buClr>
                <a:srgbClr val="00264E"/>
              </a:buClr>
              <a:buSzTx/>
              <a:buFontTx/>
              <a:buNone/>
              <a:tabLst/>
              <a:defRPr/>
            </a:pPr>
            <a:r>
              <a:rPr kumimoji="0" lang="sv-SE" sz="900" b="0" i="0" u="none" strike="noStrike" kern="1200" cap="none" spc="-30" normalizeH="0" baseline="0" noProof="0">
                <a:ln>
                  <a:noFill/>
                </a:ln>
                <a:solidFill>
                  <a:srgbClr val="00264E"/>
                </a:solidFill>
                <a:effectLst/>
                <a:uLnTx/>
                <a:uFillTx/>
                <a:latin typeface="Work Sans Light"/>
                <a:ea typeface="+mn-ea"/>
                <a:cs typeface="+mn-cs"/>
              </a:rPr>
              <a:t> </a:t>
            </a:r>
          </a:p>
        </p:txBody>
      </p:sp>
      <p:sp>
        <p:nvSpPr>
          <p:cNvPr id="11" name="TextBox 10">
            <a:extLst>
              <a:ext uri="{FF2B5EF4-FFF2-40B4-BE49-F238E27FC236}">
                <a16:creationId xmlns:a16="http://schemas.microsoft.com/office/drawing/2014/main" id="{6085A899-4DB4-9261-0C2E-7BA960504E3F}"/>
              </a:ext>
            </a:extLst>
          </p:cNvPr>
          <p:cNvSpPr txBox="1"/>
          <p:nvPr/>
        </p:nvSpPr>
        <p:spPr>
          <a:xfrm>
            <a:off x="610956" y="5150944"/>
            <a:ext cx="10951918" cy="1061829"/>
          </a:xfrm>
          <a:prstGeom prst="rect">
            <a:avLst/>
          </a:prstGeom>
          <a:noFill/>
          <a:ln>
            <a:noFill/>
          </a:ln>
        </p:spPr>
        <p:txBody>
          <a:bodyPr wrap="square" lIns="0" tIns="0" rIns="0" bIns="0" rtlCol="0">
            <a:spAutoFit/>
          </a:bodyPr>
          <a:lstStyle/>
          <a:p>
            <a:pPr marL="285750" marR="0" lvl="0" indent="-285750" algn="l" defTabSz="914400" rtl="0" eaLnBrk="1" fontAlgn="auto" latinLnBrk="0" hangingPunct="1">
              <a:lnSpc>
                <a:spcPct val="100000"/>
              </a:lnSpc>
              <a:spcBef>
                <a:spcPts val="600"/>
              </a:spcBef>
              <a:spcAft>
                <a:spcPts val="0"/>
              </a:spcAft>
              <a:buClr>
                <a:srgbClr val="00264E"/>
              </a:buClr>
              <a:buSzTx/>
              <a:buFont typeface="Arial" panose="020B0604020202020204" pitchFamily="34" charset="0"/>
              <a:buChar char="•"/>
              <a:tabLst/>
              <a:defRPr/>
            </a:pPr>
            <a:r>
              <a:rPr kumimoji="0" lang="en-GB" sz="1600" b="0" i="0" u="none" strike="noStrike" kern="1200" cap="none" spc="-30" normalizeH="0" baseline="0" noProof="0" dirty="0">
                <a:ln>
                  <a:noFill/>
                </a:ln>
                <a:solidFill>
                  <a:srgbClr val="00264E"/>
                </a:solidFill>
                <a:effectLst/>
                <a:uLnTx/>
                <a:uFillTx/>
                <a:latin typeface="Work Sans Light"/>
                <a:ea typeface="+mn-ea"/>
                <a:cs typeface="+mn-cs"/>
              </a:rPr>
              <a:t>LIPEX® SheaSolve consistently delivers low viscosity dispersions, regardless of the concentration or the type of titanium dioxide used. </a:t>
            </a:r>
          </a:p>
          <a:p>
            <a:pPr marL="285750" marR="0" lvl="0" indent="-285750" algn="l" defTabSz="914400" rtl="0" eaLnBrk="1" fontAlgn="auto" latinLnBrk="0" hangingPunct="1">
              <a:lnSpc>
                <a:spcPct val="100000"/>
              </a:lnSpc>
              <a:spcBef>
                <a:spcPts val="600"/>
              </a:spcBef>
              <a:spcAft>
                <a:spcPts val="0"/>
              </a:spcAft>
              <a:buClr>
                <a:srgbClr val="00264E"/>
              </a:buClr>
              <a:buSzTx/>
              <a:buFont typeface="Arial" panose="020B0604020202020204" pitchFamily="34" charset="0"/>
              <a:buChar char="•"/>
              <a:tabLst/>
              <a:defRPr/>
            </a:pPr>
            <a:r>
              <a:rPr kumimoji="0" lang="en-GB" sz="1600" b="0" i="0" u="none" strike="noStrike" kern="1200" cap="none" spc="-30" normalizeH="0" baseline="0" noProof="0" dirty="0">
                <a:ln>
                  <a:noFill/>
                </a:ln>
                <a:solidFill>
                  <a:srgbClr val="00264E"/>
                </a:solidFill>
                <a:effectLst/>
                <a:uLnTx/>
                <a:uFillTx/>
                <a:latin typeface="Work Sans Light"/>
                <a:ea typeface="+mn-ea"/>
                <a:cs typeface="+mn-cs"/>
              </a:rPr>
              <a:t>By being a versatile emollient across pigments and pigment types, processing conditions and concentrations, LIPEX® SheaSolve releases pressure and time on the product development process. </a:t>
            </a:r>
          </a:p>
        </p:txBody>
      </p:sp>
      <p:graphicFrame>
        <p:nvGraphicFramePr>
          <p:cNvPr id="14" name="Chart 13">
            <a:extLst>
              <a:ext uri="{FF2B5EF4-FFF2-40B4-BE49-F238E27FC236}">
                <a16:creationId xmlns:a16="http://schemas.microsoft.com/office/drawing/2014/main" id="{F636E444-D42A-6A87-9825-216033450724}"/>
              </a:ext>
            </a:extLst>
          </p:cNvPr>
          <p:cNvGraphicFramePr>
            <a:graphicFrameLocks/>
          </p:cNvGraphicFramePr>
          <p:nvPr>
            <p:extLst>
              <p:ext uri="{D42A27DB-BD31-4B8C-83A1-F6EECF244321}">
                <p14:modId xmlns:p14="http://schemas.microsoft.com/office/powerpoint/2010/main" val="241458289"/>
              </p:ext>
            </p:extLst>
          </p:nvPr>
        </p:nvGraphicFramePr>
        <p:xfrm>
          <a:off x="5790215" y="1108414"/>
          <a:ext cx="5859719" cy="348478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0094151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0F7F91-2398-A950-20AC-68C3078CC9FB}"/>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3E02A9A6-318C-9656-C1B6-B3A4C0083CD9}"/>
              </a:ext>
            </a:extLst>
          </p:cNvPr>
          <p:cNvSpPr>
            <a:spLocks noGrp="1"/>
          </p:cNvSpPr>
          <p:nvPr>
            <p:ph type="title"/>
          </p:nvPr>
        </p:nvSpPr>
        <p:spPr/>
        <p:txBody>
          <a:bodyPr vert="horz"/>
          <a:lstStyle/>
          <a:p>
            <a:r>
              <a:rPr lang="fr-FR" noProof="0" dirty="0"/>
              <a:t>LIPEX</a:t>
            </a:r>
            <a:r>
              <a:rPr lang="fr-FR" baseline="30000" noProof="0" dirty="0"/>
              <a:t>®</a:t>
            </a:r>
            <a:r>
              <a:rPr lang="fr-FR" noProof="0" dirty="0"/>
              <a:t> SheaSolve</a:t>
            </a:r>
            <a:r>
              <a:rPr lang="fr-FR" baseline="30000" noProof="0" dirty="0"/>
              <a:t>™ </a:t>
            </a:r>
            <a:r>
              <a:rPr lang="en-GB" sz="2800" dirty="0">
                <a:latin typeface="Work Sans Medium" pitchFamily="2" charset="0"/>
              </a:rPr>
              <a:t>in Make-up </a:t>
            </a:r>
            <a:br>
              <a:rPr lang="fr-FR" baseline="30000" noProof="0" dirty="0"/>
            </a:br>
            <a:r>
              <a:rPr lang="fr-FR" sz="1800" dirty="0" err="1">
                <a:solidFill>
                  <a:srgbClr val="00264E"/>
                </a:solidFill>
              </a:rPr>
              <a:t>Get</a:t>
            </a:r>
            <a:r>
              <a:rPr lang="fr-FR" sz="1800" dirty="0">
                <a:solidFill>
                  <a:srgbClr val="00264E"/>
                </a:solidFill>
              </a:rPr>
              <a:t> </a:t>
            </a:r>
            <a:r>
              <a:rPr lang="fr-FR" sz="1800" dirty="0" err="1">
                <a:solidFill>
                  <a:srgbClr val="00264E"/>
                </a:solidFill>
              </a:rPr>
              <a:t>inspired</a:t>
            </a:r>
            <a:r>
              <a:rPr lang="fr-FR" sz="1800" dirty="0">
                <a:solidFill>
                  <a:srgbClr val="00264E"/>
                </a:solidFill>
              </a:rPr>
              <a:t> </a:t>
            </a:r>
            <a:r>
              <a:rPr lang="fr-FR" sz="1800" dirty="0" err="1">
                <a:solidFill>
                  <a:srgbClr val="00264E"/>
                </a:solidFill>
              </a:rPr>
              <a:t>with</a:t>
            </a:r>
            <a:r>
              <a:rPr lang="fr-FR" sz="1800" dirty="0">
                <a:solidFill>
                  <a:srgbClr val="00264E"/>
                </a:solidFill>
              </a:rPr>
              <a:t> </a:t>
            </a:r>
            <a:r>
              <a:rPr lang="fr-FR" sz="1800" dirty="0" err="1">
                <a:solidFill>
                  <a:srgbClr val="00264E"/>
                </a:solidFill>
              </a:rPr>
              <a:t>our</a:t>
            </a:r>
            <a:r>
              <a:rPr lang="fr-FR" sz="1800" dirty="0">
                <a:solidFill>
                  <a:srgbClr val="00264E"/>
                </a:solidFill>
              </a:rPr>
              <a:t> formulations</a:t>
            </a:r>
            <a:endParaRPr lang="fr-FR" sz="1800" noProof="0" dirty="0">
              <a:solidFill>
                <a:srgbClr val="00264E"/>
              </a:solidFill>
            </a:endParaRPr>
          </a:p>
        </p:txBody>
      </p:sp>
      <p:pic>
        <p:nvPicPr>
          <p:cNvPr id="26" name="Picture Placeholder 25" descr="A person with her hands on her cheeks&#10;&#10;AI-generated content may be incorrect.">
            <a:extLst>
              <a:ext uri="{FF2B5EF4-FFF2-40B4-BE49-F238E27FC236}">
                <a16:creationId xmlns:a16="http://schemas.microsoft.com/office/drawing/2014/main" id="{A0740ED4-7F3C-8175-5740-3C80814E08DC}"/>
              </a:ext>
            </a:extLst>
          </p:cNvPr>
          <p:cNvPicPr>
            <a:picLocks noGrp="1" noChangeAspect="1"/>
          </p:cNvPicPr>
          <p:nvPr>
            <p:ph type="pic" sz="quarter" idx="15"/>
          </p:nvPr>
        </p:nvPicPr>
        <p:blipFill>
          <a:blip r:embed="rId2"/>
          <a:srcRect l="24197" r="24197"/>
          <a:stretch>
            <a:fillRect/>
          </a:stretch>
        </p:blipFill>
        <p:spPr/>
      </p:pic>
      <p:sp>
        <p:nvSpPr>
          <p:cNvPr id="5" name="Date Placeholder 4">
            <a:extLst>
              <a:ext uri="{FF2B5EF4-FFF2-40B4-BE49-F238E27FC236}">
                <a16:creationId xmlns:a16="http://schemas.microsoft.com/office/drawing/2014/main" id="{906C9FD9-D815-FDA9-E782-B1A437051988}"/>
              </a:ext>
            </a:extLst>
          </p:cNvPr>
          <p:cNvSpPr>
            <a:spLocks noGrp="1"/>
          </p:cNvSpPr>
          <p:nvPr>
            <p:ph type="dt" sz="half" idx="2"/>
          </p:nvPr>
        </p:nvSpPr>
        <p:spPr/>
        <p:txBody>
          <a:bodyPr/>
          <a:lstStyle/>
          <a:p>
            <a:fld id="{35789837-2FA3-4C30-A77E-903C3E8D2B15}" type="datetime1">
              <a:rPr lang="en-GB" smtClean="0"/>
              <a:t>18/06/2025</a:t>
            </a:fld>
            <a:endParaRPr lang="en-GB" dirty="0"/>
          </a:p>
        </p:txBody>
      </p:sp>
      <p:sp>
        <p:nvSpPr>
          <p:cNvPr id="6" name="Slide Number Placeholder 5">
            <a:extLst>
              <a:ext uri="{FF2B5EF4-FFF2-40B4-BE49-F238E27FC236}">
                <a16:creationId xmlns:a16="http://schemas.microsoft.com/office/drawing/2014/main" id="{B157D322-57DC-F2D4-08AA-87249BBBC9D1}"/>
              </a:ext>
            </a:extLst>
          </p:cNvPr>
          <p:cNvSpPr>
            <a:spLocks noGrp="1"/>
          </p:cNvSpPr>
          <p:nvPr>
            <p:ph type="sldNum" sz="quarter" idx="4"/>
          </p:nvPr>
        </p:nvSpPr>
        <p:spPr/>
        <p:txBody>
          <a:bodyPr/>
          <a:lstStyle/>
          <a:p>
            <a:pPr algn="r"/>
            <a:fld id="{EDF3706E-DB9C-4B59-A485-1194C2A6AD28}" type="slidenum">
              <a:rPr lang="en-GB" smtClean="0"/>
              <a:pPr algn="r"/>
              <a:t>17</a:t>
            </a:fld>
            <a:endParaRPr lang="en-GB"/>
          </a:p>
        </p:txBody>
      </p:sp>
      <p:sp>
        <p:nvSpPr>
          <p:cNvPr id="3" name="TextBox 2">
            <a:extLst>
              <a:ext uri="{FF2B5EF4-FFF2-40B4-BE49-F238E27FC236}">
                <a16:creationId xmlns:a16="http://schemas.microsoft.com/office/drawing/2014/main" id="{4A7E453D-B9EF-1F46-17A1-F1502E0BCA9D}"/>
              </a:ext>
            </a:extLst>
          </p:cNvPr>
          <p:cNvSpPr txBox="1"/>
          <p:nvPr/>
        </p:nvSpPr>
        <p:spPr>
          <a:xfrm>
            <a:off x="1900280" y="1469291"/>
            <a:ext cx="6022363" cy="830997"/>
          </a:xfrm>
          <a:prstGeom prst="rect">
            <a:avLst/>
          </a:prstGeom>
          <a:noFill/>
          <a:ln>
            <a:noFill/>
          </a:ln>
        </p:spPr>
        <p:txBody>
          <a:bodyPr wrap="square" lIns="0">
            <a:spAutoFit/>
          </a:bodyPr>
          <a:lstStyle/>
          <a:p>
            <a:r>
              <a:rPr lang="fr-FR" sz="1200" dirty="0">
                <a:solidFill>
                  <a:srgbClr val="2067CA"/>
                </a:solidFill>
                <a:hlinkClick r:id="rId3">
                  <a:extLst>
                    <a:ext uri="{A12FA001-AC4F-418D-AE19-62706E023703}">
                      <ahyp:hlinkClr xmlns:ahyp="http://schemas.microsoft.com/office/drawing/2018/hyperlinkcolor" val="tx"/>
                    </a:ext>
                  </a:extLst>
                </a:hlinkClick>
              </a:rPr>
              <a:t>La Vie en Rose </a:t>
            </a:r>
            <a:r>
              <a:rPr lang="fr-FR" sz="1200" dirty="0" err="1">
                <a:solidFill>
                  <a:srgbClr val="2067CA"/>
                </a:solidFill>
                <a:hlinkClick r:id="rId3">
                  <a:extLst>
                    <a:ext uri="{A12FA001-AC4F-418D-AE19-62706E023703}">
                      <ahyp:hlinkClr xmlns:ahyp="http://schemas.microsoft.com/office/drawing/2018/hyperlinkcolor" val="tx"/>
                    </a:ext>
                  </a:extLst>
                </a:hlinkClick>
              </a:rPr>
              <a:t>Creamy</a:t>
            </a:r>
            <a:r>
              <a:rPr lang="fr-FR" sz="1200" dirty="0">
                <a:solidFill>
                  <a:srgbClr val="2067CA"/>
                </a:solidFill>
                <a:hlinkClick r:id="rId3">
                  <a:extLst>
                    <a:ext uri="{A12FA001-AC4F-418D-AE19-62706E023703}">
                      <ahyp:hlinkClr xmlns:ahyp="http://schemas.microsoft.com/office/drawing/2018/hyperlinkcolor" val="tx"/>
                    </a:ext>
                  </a:extLst>
                </a:hlinkClick>
              </a:rPr>
              <a:t> Matte </a:t>
            </a:r>
            <a:r>
              <a:rPr lang="fr-FR" sz="1200" dirty="0" err="1">
                <a:solidFill>
                  <a:srgbClr val="1F67CA"/>
                </a:solidFill>
                <a:hlinkClick r:id="rId3">
                  <a:extLst>
                    <a:ext uri="{A12FA001-AC4F-418D-AE19-62706E023703}">
                      <ahyp:hlinkClr xmlns:ahyp="http://schemas.microsoft.com/office/drawing/2018/hyperlinkcolor" val="tx"/>
                    </a:ext>
                  </a:extLst>
                </a:hlinkClick>
              </a:rPr>
              <a:t>Lipstick</a:t>
            </a:r>
            <a:r>
              <a:rPr lang="fr-FR" sz="1200" dirty="0">
                <a:solidFill>
                  <a:srgbClr val="1F67CA"/>
                </a:solidFill>
              </a:rPr>
              <a:t> </a:t>
            </a:r>
            <a:r>
              <a:rPr lang="fr-FR" sz="1200" dirty="0" err="1">
                <a:solidFill>
                  <a:srgbClr val="1F67CA"/>
                </a:solidFill>
              </a:rPr>
              <a:t>ref</a:t>
            </a:r>
            <a:r>
              <a:rPr lang="fr-FR" sz="1200" dirty="0">
                <a:solidFill>
                  <a:srgbClr val="1F67CA"/>
                </a:solidFill>
              </a:rPr>
              <a:t>: </a:t>
            </a:r>
            <a:r>
              <a:rPr lang="sv-SE" sz="1200" dirty="0">
                <a:solidFill>
                  <a:srgbClr val="1F67CA"/>
                </a:solidFill>
              </a:rPr>
              <a:t>AAK-23-007</a:t>
            </a:r>
          </a:p>
          <a:p>
            <a:r>
              <a:rPr lang="sv-SE" sz="1200" dirty="0" err="1">
                <a:solidFill>
                  <a:srgbClr val="00264E"/>
                </a:solidFill>
              </a:rPr>
              <a:t>This</a:t>
            </a:r>
            <a:r>
              <a:rPr lang="sv-SE" sz="1200" dirty="0">
                <a:solidFill>
                  <a:srgbClr val="00264E"/>
                </a:solidFill>
              </a:rPr>
              <a:t> </a:t>
            </a:r>
            <a:r>
              <a:rPr lang="en-US" sz="1200" dirty="0">
                <a:solidFill>
                  <a:srgbClr val="00264E"/>
                </a:solidFill>
              </a:rPr>
              <a:t>long-wear lipstick, delivers a perfect matt finish offers supreme comfort, thanks to the nourishing benefits of a duo of highly moisturizing shea-based emollients.</a:t>
            </a:r>
            <a:endParaRPr lang="en-US" sz="1400" dirty="0"/>
          </a:p>
        </p:txBody>
      </p:sp>
      <p:pic>
        <p:nvPicPr>
          <p:cNvPr id="14" name="Picture 13" descr="A pink eraser in a plastic container&#10;&#10;AI-generated content may be incorrect.">
            <a:extLst>
              <a:ext uri="{FF2B5EF4-FFF2-40B4-BE49-F238E27FC236}">
                <a16:creationId xmlns:a16="http://schemas.microsoft.com/office/drawing/2014/main" id="{D7B2A49A-713D-FC50-D12F-A0817E6074F0}"/>
              </a:ext>
            </a:extLst>
          </p:cNvPr>
          <p:cNvPicPr>
            <a:picLocks noChangeAspect="1"/>
          </p:cNvPicPr>
          <p:nvPr/>
        </p:nvPicPr>
        <p:blipFill>
          <a:blip r:embed="rId4"/>
          <a:srcRect t="6288" b="22266"/>
          <a:stretch/>
        </p:blipFill>
        <p:spPr>
          <a:xfrm>
            <a:off x="474838" y="3720982"/>
            <a:ext cx="1109143" cy="1080000"/>
          </a:xfrm>
          <a:prstGeom prst="ellipse">
            <a:avLst/>
          </a:prstGeom>
          <a:ln>
            <a:noFill/>
          </a:ln>
          <a:effectLst/>
        </p:spPr>
      </p:pic>
      <p:sp>
        <p:nvSpPr>
          <p:cNvPr id="15" name="TextBox 14">
            <a:extLst>
              <a:ext uri="{FF2B5EF4-FFF2-40B4-BE49-F238E27FC236}">
                <a16:creationId xmlns:a16="http://schemas.microsoft.com/office/drawing/2014/main" id="{4C93583E-89D7-A50D-2A4A-B739DC8C3C69}"/>
              </a:ext>
            </a:extLst>
          </p:cNvPr>
          <p:cNvSpPr txBox="1"/>
          <p:nvPr/>
        </p:nvSpPr>
        <p:spPr>
          <a:xfrm>
            <a:off x="1900280" y="3899066"/>
            <a:ext cx="6022363" cy="738664"/>
          </a:xfrm>
          <a:prstGeom prst="rect">
            <a:avLst/>
          </a:prstGeom>
          <a:noFill/>
          <a:ln>
            <a:noFill/>
          </a:ln>
        </p:spPr>
        <p:txBody>
          <a:bodyPr wrap="square" lIns="0" tIns="0" rIns="0" bIns="0" rtlCol="0">
            <a:spAutoFit/>
          </a:bodyPr>
          <a:lstStyle/>
          <a:p>
            <a:r>
              <a:rPr lang="en-GB" sz="1200" dirty="0">
                <a:solidFill>
                  <a:srgbClr val="2067CA"/>
                </a:solidFill>
                <a:hlinkClick r:id="rId5">
                  <a:extLst>
                    <a:ext uri="{A12FA001-AC4F-418D-AE19-62706E023703}">
                      <ahyp:hlinkClr xmlns:ahyp="http://schemas.microsoft.com/office/drawing/2018/hyperlinkcolor" val="tx"/>
                    </a:ext>
                  </a:extLst>
                </a:hlinkClick>
              </a:rPr>
              <a:t>Candy Floss Blush </a:t>
            </a:r>
            <a:r>
              <a:rPr lang="en-GB" sz="1200" dirty="0">
                <a:solidFill>
                  <a:srgbClr val="1F67CA"/>
                </a:solidFill>
                <a:hlinkClick r:id="rId5">
                  <a:extLst>
                    <a:ext uri="{A12FA001-AC4F-418D-AE19-62706E023703}">
                      <ahyp:hlinkClr xmlns:ahyp="http://schemas.microsoft.com/office/drawing/2018/hyperlinkcolor" val="tx"/>
                    </a:ext>
                  </a:extLst>
                </a:hlinkClick>
              </a:rPr>
              <a:t>Stick</a:t>
            </a:r>
            <a:r>
              <a:rPr lang="en-GB" sz="1200" dirty="0">
                <a:solidFill>
                  <a:srgbClr val="1F67CA"/>
                </a:solidFill>
              </a:rPr>
              <a:t> ref: AAK-24-001</a:t>
            </a:r>
          </a:p>
          <a:p>
            <a:pPr marL="0" indent="0">
              <a:buNone/>
            </a:pPr>
            <a:r>
              <a:rPr lang="en-US" sz="1200" dirty="0">
                <a:solidFill>
                  <a:srgbClr val="00264E"/>
                </a:solidFill>
              </a:rPr>
              <a:t>A cream-to-matte tinted balm in a handy stick format, the formulation </a:t>
            </a:r>
            <a:r>
              <a:rPr lang="en-US" sz="1200" dirty="0">
                <a:solidFill>
                  <a:srgbClr val="00264E"/>
                </a:solidFill>
                <a:latin typeface="Work Sans Light" pitchFamily="2" charset="0"/>
              </a:rPr>
              <a:t>delivers a fresh </a:t>
            </a:r>
            <a:r>
              <a:rPr lang="en-US" sz="1200" dirty="0">
                <a:solidFill>
                  <a:srgbClr val="00264E"/>
                </a:solidFill>
              </a:rPr>
              <a:t>flush of buildable color in a single swipe, blends seamlessly with the skin for beautiful, radiant results. </a:t>
            </a:r>
          </a:p>
        </p:txBody>
      </p:sp>
      <p:pic>
        <p:nvPicPr>
          <p:cNvPr id="17" name="Picture 16" descr="A pink lipstick in a gold tube&#10;&#10;AI-generated content may be incorrect.">
            <a:extLst>
              <a:ext uri="{FF2B5EF4-FFF2-40B4-BE49-F238E27FC236}">
                <a16:creationId xmlns:a16="http://schemas.microsoft.com/office/drawing/2014/main" id="{D914552A-7BEF-4854-498C-193B717851F0}"/>
              </a:ext>
            </a:extLst>
          </p:cNvPr>
          <p:cNvPicPr>
            <a:picLocks noChangeAspect="1"/>
          </p:cNvPicPr>
          <p:nvPr/>
        </p:nvPicPr>
        <p:blipFill>
          <a:blip r:embed="rId6"/>
          <a:stretch>
            <a:fillRect/>
          </a:stretch>
        </p:blipFill>
        <p:spPr>
          <a:xfrm>
            <a:off x="489409" y="1331944"/>
            <a:ext cx="1080000" cy="1080000"/>
          </a:xfrm>
          <a:prstGeom prst="ellipse">
            <a:avLst/>
          </a:prstGeom>
          <a:ln>
            <a:noFill/>
          </a:ln>
          <a:effectLst/>
        </p:spPr>
      </p:pic>
      <p:sp>
        <p:nvSpPr>
          <p:cNvPr id="22" name="TextBox 21">
            <a:extLst>
              <a:ext uri="{FF2B5EF4-FFF2-40B4-BE49-F238E27FC236}">
                <a16:creationId xmlns:a16="http://schemas.microsoft.com/office/drawing/2014/main" id="{843D0FC0-CB6B-6495-F9EA-C8FCAC61F2FF}"/>
              </a:ext>
            </a:extLst>
          </p:cNvPr>
          <p:cNvSpPr txBox="1"/>
          <p:nvPr/>
        </p:nvSpPr>
        <p:spPr>
          <a:xfrm>
            <a:off x="1900280" y="2730345"/>
            <a:ext cx="6022363" cy="738664"/>
          </a:xfrm>
          <a:prstGeom prst="rect">
            <a:avLst/>
          </a:prstGeom>
          <a:noFill/>
          <a:ln>
            <a:noFill/>
          </a:ln>
        </p:spPr>
        <p:txBody>
          <a:bodyPr wrap="square" lIns="0" tIns="0" rIns="0" bIns="0" rtlCol="0">
            <a:spAutoFit/>
          </a:bodyPr>
          <a:lstStyle/>
          <a:p>
            <a:r>
              <a:rPr lang="en-GB" sz="1200" dirty="0">
                <a:solidFill>
                  <a:srgbClr val="1F67CA"/>
                </a:solidFill>
                <a:hlinkClick r:id="rId7">
                  <a:extLst>
                    <a:ext uri="{A12FA001-AC4F-418D-AE19-62706E023703}">
                      <ahyp:hlinkClr xmlns:ahyp="http://schemas.microsoft.com/office/drawing/2018/hyperlinkcolor" val="tx"/>
                    </a:ext>
                  </a:extLst>
                </a:hlinkClick>
              </a:rPr>
              <a:t>Luminous Star Highlighter Stick</a:t>
            </a:r>
            <a:r>
              <a:rPr lang="en-GB" sz="1200" dirty="0">
                <a:solidFill>
                  <a:srgbClr val="1F67CA"/>
                </a:solidFill>
              </a:rPr>
              <a:t> ref: AAK-24-008</a:t>
            </a:r>
          </a:p>
          <a:p>
            <a:r>
              <a:rPr lang="en-GB" sz="1200" b="0" i="0" dirty="0">
                <a:solidFill>
                  <a:srgbClr val="00264E"/>
                </a:solidFill>
                <a:effectLst/>
                <a:latin typeface="Work Sans Light" pitchFamily="2" charset="0"/>
              </a:rPr>
              <a:t>Say hello to the glow with this easy to apply highlighter stick. Simply swipe to illuminate cheekbones, décolletage, or anywhere you want gleaming, gorgeous skin. </a:t>
            </a:r>
          </a:p>
          <a:p>
            <a:r>
              <a:rPr lang="en-GB" sz="1200" dirty="0">
                <a:solidFill>
                  <a:srgbClr val="00264E"/>
                </a:solidFill>
                <a:latin typeface="Work Sans Light" pitchFamily="2" charset="0"/>
              </a:rPr>
              <a:t>Natural Origin Index: 97%*</a:t>
            </a:r>
            <a:endParaRPr lang="en-US" sz="1200" dirty="0">
              <a:solidFill>
                <a:srgbClr val="00264E"/>
              </a:solidFill>
              <a:latin typeface="Work Sans Light" pitchFamily="2" charset="0"/>
            </a:endParaRPr>
          </a:p>
        </p:txBody>
      </p:sp>
      <p:sp>
        <p:nvSpPr>
          <p:cNvPr id="29" name="TextBox 28">
            <a:extLst>
              <a:ext uri="{FF2B5EF4-FFF2-40B4-BE49-F238E27FC236}">
                <a16:creationId xmlns:a16="http://schemas.microsoft.com/office/drawing/2014/main" id="{7CAFDBC4-EBB9-6F46-1FEB-95923770A9B9}"/>
              </a:ext>
            </a:extLst>
          </p:cNvPr>
          <p:cNvSpPr txBox="1"/>
          <p:nvPr/>
        </p:nvSpPr>
        <p:spPr>
          <a:xfrm>
            <a:off x="1900280" y="5067788"/>
            <a:ext cx="6022363" cy="923330"/>
          </a:xfrm>
          <a:prstGeom prst="rect">
            <a:avLst/>
          </a:prstGeom>
          <a:noFill/>
          <a:ln>
            <a:noFill/>
          </a:ln>
        </p:spPr>
        <p:txBody>
          <a:bodyPr wrap="square" lIns="0" tIns="0" rIns="0" bIns="0" rtlCol="0">
            <a:spAutoFit/>
          </a:bodyPr>
          <a:lstStyle/>
          <a:p>
            <a:r>
              <a:rPr lang="en-GB" sz="1200" dirty="0">
                <a:solidFill>
                  <a:srgbClr val="2067CA"/>
                </a:solidFill>
                <a:hlinkClick r:id="rId8">
                  <a:extLst>
                    <a:ext uri="{A12FA001-AC4F-418D-AE19-62706E023703}">
                      <ahyp:hlinkClr xmlns:ahyp="http://schemas.microsoft.com/office/drawing/2018/hyperlinkcolor" val="tx"/>
                    </a:ext>
                  </a:extLst>
                </a:hlinkClick>
              </a:rPr>
              <a:t>Bronze Bombshell </a:t>
            </a:r>
            <a:r>
              <a:rPr lang="en-GB" sz="1200" dirty="0">
                <a:solidFill>
                  <a:srgbClr val="1F67CA"/>
                </a:solidFill>
                <a:hlinkClick r:id="rId8">
                  <a:extLst>
                    <a:ext uri="{A12FA001-AC4F-418D-AE19-62706E023703}">
                      <ahyp:hlinkClr xmlns:ahyp="http://schemas.microsoft.com/office/drawing/2018/hyperlinkcolor" val="tx"/>
                    </a:ext>
                  </a:extLst>
                </a:hlinkClick>
              </a:rPr>
              <a:t>Creamy Eyeshadow</a:t>
            </a:r>
            <a:r>
              <a:rPr lang="en-GB" sz="1200" dirty="0">
                <a:solidFill>
                  <a:srgbClr val="1F67CA"/>
                </a:solidFill>
              </a:rPr>
              <a:t> ref: AAK-24-007</a:t>
            </a:r>
          </a:p>
          <a:p>
            <a:r>
              <a:rPr lang="en-GB" sz="1200" b="0" i="0" dirty="0">
                <a:solidFill>
                  <a:srgbClr val="00264E"/>
                </a:solidFill>
                <a:effectLst/>
                <a:latin typeface="Work Sans Light" pitchFamily="2" charset="0"/>
              </a:rPr>
              <a:t>Dial up the drama in an instant with this luxurious creamy bronze eyeshadow, crafted with sustainably sourced plant-based ingredients to deliver a uniquely hydrating, lightweight texture.</a:t>
            </a:r>
          </a:p>
          <a:p>
            <a:r>
              <a:rPr lang="en-GB" sz="1200" dirty="0">
                <a:solidFill>
                  <a:srgbClr val="00264E"/>
                </a:solidFill>
                <a:latin typeface="Work Sans Light" pitchFamily="2" charset="0"/>
              </a:rPr>
              <a:t>Natural Origin Index: 99%*</a:t>
            </a:r>
            <a:endParaRPr lang="en-US" sz="1200" dirty="0">
              <a:solidFill>
                <a:srgbClr val="00264E"/>
              </a:solidFill>
              <a:latin typeface="Work Sans Light" pitchFamily="2" charset="0"/>
            </a:endParaRPr>
          </a:p>
        </p:txBody>
      </p:sp>
      <p:pic>
        <p:nvPicPr>
          <p:cNvPr id="33" name="Picture 32" descr="A smear of brown paint&#10;&#10;AI-generated content may be incorrect.">
            <a:extLst>
              <a:ext uri="{FF2B5EF4-FFF2-40B4-BE49-F238E27FC236}">
                <a16:creationId xmlns:a16="http://schemas.microsoft.com/office/drawing/2014/main" id="{A5C09763-BAF0-BD08-A1E0-3DE76952174A}"/>
              </a:ext>
            </a:extLst>
          </p:cNvPr>
          <p:cNvPicPr>
            <a:picLocks noChangeAspect="1"/>
          </p:cNvPicPr>
          <p:nvPr/>
        </p:nvPicPr>
        <p:blipFill>
          <a:blip r:embed="rId9"/>
          <a:stretch>
            <a:fillRect/>
          </a:stretch>
        </p:blipFill>
        <p:spPr>
          <a:xfrm rot="20688249">
            <a:off x="405367" y="4967118"/>
            <a:ext cx="1248085" cy="1080000"/>
          </a:xfrm>
          <a:prstGeom prst="ellipse">
            <a:avLst/>
          </a:prstGeom>
          <a:ln>
            <a:noFill/>
          </a:ln>
          <a:effectLst/>
        </p:spPr>
      </p:pic>
      <p:pic>
        <p:nvPicPr>
          <p:cNvPr id="37" name="Picture 36" descr="A smear of makeup on a black background&#10;&#10;AI-generated content may be incorrect.">
            <a:extLst>
              <a:ext uri="{FF2B5EF4-FFF2-40B4-BE49-F238E27FC236}">
                <a16:creationId xmlns:a16="http://schemas.microsoft.com/office/drawing/2014/main" id="{4FBD527A-ED7C-5C10-631C-58674CC46440}"/>
              </a:ext>
            </a:extLst>
          </p:cNvPr>
          <p:cNvPicPr>
            <a:picLocks noChangeAspect="1"/>
          </p:cNvPicPr>
          <p:nvPr/>
        </p:nvPicPr>
        <p:blipFill>
          <a:blip r:embed="rId10"/>
          <a:stretch>
            <a:fillRect/>
          </a:stretch>
        </p:blipFill>
        <p:spPr>
          <a:xfrm>
            <a:off x="227311" y="2559500"/>
            <a:ext cx="1604196" cy="1080000"/>
          </a:xfrm>
          <a:prstGeom prst="rect">
            <a:avLst/>
          </a:prstGeom>
          <a:effectLst/>
        </p:spPr>
      </p:pic>
      <p:sp>
        <p:nvSpPr>
          <p:cNvPr id="2" name="TextBox 1">
            <a:extLst>
              <a:ext uri="{FF2B5EF4-FFF2-40B4-BE49-F238E27FC236}">
                <a16:creationId xmlns:a16="http://schemas.microsoft.com/office/drawing/2014/main" id="{1363F97E-5582-C51D-B228-03C8DD026725}"/>
              </a:ext>
            </a:extLst>
          </p:cNvPr>
          <p:cNvSpPr txBox="1"/>
          <p:nvPr/>
        </p:nvSpPr>
        <p:spPr>
          <a:xfrm>
            <a:off x="6673850" y="6298012"/>
            <a:ext cx="2085975" cy="138499"/>
          </a:xfrm>
          <a:prstGeom prst="rect">
            <a:avLst/>
          </a:prstGeom>
          <a:noFill/>
          <a:ln>
            <a:noFill/>
          </a:ln>
        </p:spPr>
        <p:txBody>
          <a:bodyPr wrap="square" lIns="0" tIns="0" rIns="0" bIns="0" rtlCol="0">
            <a:spAutoFit/>
          </a:bodyPr>
          <a:lstStyle/>
          <a:p>
            <a:pPr algn="l">
              <a:buClr>
                <a:schemeClr val="tx2"/>
              </a:buClr>
            </a:pPr>
            <a:r>
              <a:rPr lang="fr-FR" sz="900" i="1" spc="-30" dirty="0">
                <a:solidFill>
                  <a:srgbClr val="00264E"/>
                </a:solidFill>
              </a:rPr>
              <a:t>*</a:t>
            </a:r>
            <a:r>
              <a:rPr lang="fr-FR" sz="900" i="1" spc="-30" dirty="0" err="1">
                <a:solidFill>
                  <a:srgbClr val="00264E"/>
                </a:solidFill>
              </a:rPr>
              <a:t>according</a:t>
            </a:r>
            <a:r>
              <a:rPr lang="fr-FR" sz="900" i="1" spc="-30" dirty="0">
                <a:solidFill>
                  <a:srgbClr val="00264E"/>
                </a:solidFill>
              </a:rPr>
              <a:t> to ISO 16128</a:t>
            </a:r>
            <a:endParaRPr lang="en-GB" sz="900" i="1" spc="-30" dirty="0">
              <a:solidFill>
                <a:srgbClr val="00264E"/>
              </a:solidFill>
            </a:endParaRPr>
          </a:p>
        </p:txBody>
      </p:sp>
    </p:spTree>
    <p:extLst>
      <p:ext uri="{BB962C8B-B14F-4D97-AF65-F5344CB8AC3E}">
        <p14:creationId xmlns:p14="http://schemas.microsoft.com/office/powerpoint/2010/main" val="13092885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F39DC7-CF08-2E0C-F4EA-B3372263BDBB}"/>
            </a:ext>
          </a:extLst>
        </p:cNvPr>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B5B56F0B-F735-164F-4E2C-F9F5AFAED3DC}"/>
              </a:ext>
            </a:extLst>
          </p:cNvPr>
          <p:cNvPicPr>
            <a:picLocks noGrp="1" noChangeAspect="1"/>
          </p:cNvPicPr>
          <p:nvPr>
            <p:ph type="pic" sz="quarter" idx="16"/>
          </p:nvPr>
        </p:nvPicPr>
        <p:blipFill>
          <a:blip r:embed="rId2"/>
          <a:srcRect l="8413" r="8413"/>
          <a:stretch/>
        </p:blipFill>
        <p:spPr/>
      </p:pic>
      <p:sp>
        <p:nvSpPr>
          <p:cNvPr id="8" name="Title 7">
            <a:extLst>
              <a:ext uri="{FF2B5EF4-FFF2-40B4-BE49-F238E27FC236}">
                <a16:creationId xmlns:a16="http://schemas.microsoft.com/office/drawing/2014/main" id="{62A0E743-92B1-4326-1079-36A36887E474}"/>
              </a:ext>
            </a:extLst>
          </p:cNvPr>
          <p:cNvSpPr>
            <a:spLocks noGrp="1"/>
          </p:cNvSpPr>
          <p:nvPr>
            <p:ph type="title"/>
          </p:nvPr>
        </p:nvSpPr>
        <p:spPr>
          <a:xfrm>
            <a:off x="430213" y="2653403"/>
            <a:ext cx="4114800" cy="775597"/>
          </a:xfrm>
        </p:spPr>
        <p:txBody>
          <a:bodyPr/>
          <a:lstStyle/>
          <a:p>
            <a:r>
              <a:rPr lang="en-US" sz="3200" dirty="0"/>
              <a:t>LIPEX</a:t>
            </a:r>
            <a:r>
              <a:rPr lang="en-US" sz="3200" baseline="30000" dirty="0"/>
              <a:t>®</a:t>
            </a:r>
            <a:r>
              <a:rPr lang="en-US" sz="3200" dirty="0"/>
              <a:t> SheaSolve</a:t>
            </a:r>
            <a:r>
              <a:rPr lang="en-GB" sz="3200" baseline="30000" dirty="0"/>
              <a:t>™</a:t>
            </a:r>
            <a:br>
              <a:rPr lang="en-GB" baseline="30000" dirty="0"/>
            </a:br>
            <a:r>
              <a:rPr lang="en-GB" sz="2400" dirty="0"/>
              <a:t>in Hair care</a:t>
            </a:r>
          </a:p>
        </p:txBody>
      </p:sp>
      <p:sp>
        <p:nvSpPr>
          <p:cNvPr id="5" name="Date Placeholder 4">
            <a:extLst>
              <a:ext uri="{FF2B5EF4-FFF2-40B4-BE49-F238E27FC236}">
                <a16:creationId xmlns:a16="http://schemas.microsoft.com/office/drawing/2014/main" id="{E082B059-C53A-3B10-B34F-FEA4EFF0BB7E}"/>
              </a:ext>
            </a:extLst>
          </p:cNvPr>
          <p:cNvSpPr>
            <a:spLocks noGrp="1"/>
          </p:cNvSpPr>
          <p:nvPr>
            <p:ph type="dt" sz="half" idx="2"/>
          </p:nvPr>
        </p:nvSpPr>
        <p:spPr/>
        <p:txBody>
          <a:bodyPr/>
          <a:lstStyle/>
          <a:p>
            <a:fld id="{1B64ED2E-4F5A-4C13-A00E-18C21BE19A85}" type="datetime1">
              <a:rPr lang="en-GB" sz="1000" smtClean="0"/>
              <a:t>18/06/2025</a:t>
            </a:fld>
            <a:endParaRPr lang="en-GB" sz="1000" dirty="0"/>
          </a:p>
        </p:txBody>
      </p:sp>
      <p:sp>
        <p:nvSpPr>
          <p:cNvPr id="6" name="Slide Number Placeholder 5">
            <a:extLst>
              <a:ext uri="{FF2B5EF4-FFF2-40B4-BE49-F238E27FC236}">
                <a16:creationId xmlns:a16="http://schemas.microsoft.com/office/drawing/2014/main" id="{9E79A05A-DDE1-1F9E-4B16-C3E64F836DE7}"/>
              </a:ext>
            </a:extLst>
          </p:cNvPr>
          <p:cNvSpPr>
            <a:spLocks noGrp="1"/>
          </p:cNvSpPr>
          <p:nvPr>
            <p:ph type="sldNum" sz="quarter" idx="4"/>
          </p:nvPr>
        </p:nvSpPr>
        <p:spPr/>
        <p:txBody>
          <a:bodyPr/>
          <a:lstStyle/>
          <a:p>
            <a:pPr algn="r"/>
            <a:fld id="{EDF3706E-DB9C-4B59-A485-1194C2A6AD28}" type="slidenum">
              <a:rPr lang="en-GB" sz="1000" smtClean="0"/>
              <a:pPr algn="r"/>
              <a:t>18</a:t>
            </a:fld>
            <a:endParaRPr lang="en-GB" sz="1000"/>
          </a:p>
        </p:txBody>
      </p:sp>
      <p:sp>
        <p:nvSpPr>
          <p:cNvPr id="2" name="Footer Placeholder 3">
            <a:extLst>
              <a:ext uri="{FF2B5EF4-FFF2-40B4-BE49-F238E27FC236}">
                <a16:creationId xmlns:a16="http://schemas.microsoft.com/office/drawing/2014/main" id="{C4C0CA56-CE05-32A8-7C36-7C95678567E9}"/>
              </a:ext>
            </a:extLst>
          </p:cNvPr>
          <p:cNvSpPr txBox="1">
            <a:spLocks/>
          </p:cNvSpPr>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t>The Co-Development Company</a:t>
            </a:r>
            <a:endParaRPr lang="en-US" sz="1000" dirty="0"/>
          </a:p>
        </p:txBody>
      </p:sp>
    </p:spTree>
    <p:extLst>
      <p:ext uri="{BB962C8B-B14F-4D97-AF65-F5344CB8AC3E}">
        <p14:creationId xmlns:p14="http://schemas.microsoft.com/office/powerpoint/2010/main" val="41683366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dato 4">
            <a:extLst>
              <a:ext uri="{FF2B5EF4-FFF2-40B4-BE49-F238E27FC236}">
                <a16:creationId xmlns:a16="http://schemas.microsoft.com/office/drawing/2014/main" id="{84675973-D00E-49E2-A91D-F08A97FF68EB}"/>
              </a:ext>
            </a:extLst>
          </p:cNvPr>
          <p:cNvSpPr>
            <a:spLocks noGrp="1"/>
          </p:cNvSpPr>
          <p:nvPr>
            <p:ph type="dt" sz="half" idx="2"/>
          </p:nvPr>
        </p:nvSpPr>
        <p:spPr>
          <a:prstGeom prst="rect">
            <a:avLst/>
          </a:prstGeom>
        </p:spPr>
        <p:txBody>
          <a:bodyPr vert="horz" wrap="non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494C7A5-7204-4571-82E0-A02B43A64BE1}" type="datetime1">
              <a:rPr lang="en-GB" smtClean="0"/>
              <a:pPr marL="0" marR="0" lvl="0" indent="0" algn="r" defTabSz="914400" rtl="0" eaLnBrk="1" fontAlgn="auto" latinLnBrk="0" hangingPunct="1">
                <a:lnSpc>
                  <a:spcPct val="100000"/>
                </a:lnSpc>
                <a:spcBef>
                  <a:spcPts val="0"/>
                </a:spcBef>
                <a:spcAft>
                  <a:spcPts val="0"/>
                </a:spcAft>
                <a:buClrTx/>
                <a:buSzTx/>
                <a:buFontTx/>
                <a:buNone/>
                <a:tabLst/>
                <a:defRPr/>
              </a:pPr>
              <a:t>18/06/2025</a:t>
            </a:fld>
            <a:endParaRPr kumimoji="0" lang="en-US" sz="1200" b="0" i="0" u="none" strike="noStrike" kern="1200" cap="none" spc="-30" normalizeH="0" baseline="0" noProof="0">
              <a:ln>
                <a:noFill/>
              </a:ln>
              <a:solidFill>
                <a:srgbClr val="2067CA"/>
              </a:solidFill>
              <a:effectLst/>
              <a:uLnTx/>
              <a:uFillTx/>
              <a:latin typeface="Work Sans Light Roman"/>
              <a:ea typeface="+mn-ea"/>
              <a:cs typeface="+mn-cs"/>
            </a:endParaRPr>
          </a:p>
        </p:txBody>
      </p:sp>
      <p:sp>
        <p:nvSpPr>
          <p:cNvPr id="7" name="Pladsholder til slidenummer 6">
            <a:extLst>
              <a:ext uri="{FF2B5EF4-FFF2-40B4-BE49-F238E27FC236}">
                <a16:creationId xmlns:a16="http://schemas.microsoft.com/office/drawing/2014/main" id="{60B596AD-114F-449A-9484-11BF9D96300D}"/>
              </a:ext>
            </a:extLst>
          </p:cNvPr>
          <p:cNvSpPr>
            <a:spLocks noGrp="1"/>
          </p:cNvSpPr>
          <p:nvPr>
            <p:ph type="sldNum" sz="quarter" idx="4"/>
          </p:nvPr>
        </p:nvSpPr>
        <p:spPr>
          <a:prstGeom prst="rect">
            <a:avLst/>
          </a:prstGeom>
        </p:spPr>
        <p:txBody>
          <a:bodyPr vert="horz" wrap="squar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803DD7B-12C8-43B8-9F45-989336E79744}"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30" normalizeH="0" baseline="0" noProof="0">
              <a:ln>
                <a:noFill/>
              </a:ln>
              <a:solidFill>
                <a:srgbClr val="2067CA"/>
              </a:solidFill>
              <a:effectLst/>
              <a:uLnTx/>
              <a:uFillTx/>
              <a:latin typeface="Work Sans Light Roman"/>
              <a:ea typeface="+mn-ea"/>
              <a:cs typeface="+mn-cs"/>
            </a:endParaRPr>
          </a:p>
        </p:txBody>
      </p:sp>
      <p:sp>
        <p:nvSpPr>
          <p:cNvPr id="6" name="Pladsholder til sidefod 5">
            <a:extLst>
              <a:ext uri="{FF2B5EF4-FFF2-40B4-BE49-F238E27FC236}">
                <a16:creationId xmlns:a16="http://schemas.microsoft.com/office/drawing/2014/main" id="{E00537AC-7B90-4FDD-9028-4745512C8C6D}"/>
              </a:ext>
            </a:extLst>
          </p:cNvPr>
          <p:cNvSpPr>
            <a:spLocks noGrp="1"/>
          </p:cNvSpPr>
          <p:nvPr>
            <p:ph type="ftr" sz="quarter" idx="10"/>
          </p:nvPr>
        </p:nvSpPr>
        <p:spPr>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The Co-Development Company</a:t>
            </a:r>
            <a:endParaRPr kumimoji="0" lang="en-US" sz="1200" b="0" i="0" u="none" strike="noStrike" kern="1200" cap="none" spc="-30" normalizeH="0" baseline="0" noProof="0">
              <a:ln>
                <a:noFill/>
              </a:ln>
              <a:solidFill>
                <a:srgbClr val="2067CA"/>
              </a:solidFill>
              <a:effectLst/>
              <a:uLnTx/>
              <a:uFillTx/>
              <a:latin typeface="Work Sans Light Roman"/>
              <a:ea typeface="+mn-ea"/>
              <a:cs typeface="+mn-cs"/>
            </a:endParaRPr>
          </a:p>
        </p:txBody>
      </p:sp>
      <p:sp>
        <p:nvSpPr>
          <p:cNvPr id="13" name="Titel 12">
            <a:extLst>
              <a:ext uri="{FF2B5EF4-FFF2-40B4-BE49-F238E27FC236}">
                <a16:creationId xmlns:a16="http://schemas.microsoft.com/office/drawing/2014/main" id="{0F32F665-CD7B-4BD9-990C-250A9AFD7E6B}"/>
              </a:ext>
            </a:extLst>
          </p:cNvPr>
          <p:cNvSpPr>
            <a:spLocks noGrp="1"/>
          </p:cNvSpPr>
          <p:nvPr>
            <p:ph type="title" idx="4294967295"/>
          </p:nvPr>
        </p:nvSpPr>
        <p:spPr>
          <a:xfrm>
            <a:off x="581025" y="215900"/>
            <a:ext cx="11610975" cy="776288"/>
          </a:xfrm>
        </p:spPr>
        <p:txBody>
          <a:bodyPr/>
          <a:lstStyle/>
          <a:p>
            <a:r>
              <a:rPr lang="en-GB" dirty="0"/>
              <a:t>LIPEX</a:t>
            </a:r>
            <a:r>
              <a:rPr lang="en-GB" baseline="30000" dirty="0"/>
              <a:t>®</a:t>
            </a:r>
            <a:r>
              <a:rPr lang="en-GB" dirty="0"/>
              <a:t> SheaSolve</a:t>
            </a:r>
            <a:r>
              <a:rPr lang="en-GB" baseline="30000" dirty="0"/>
              <a:t>™</a:t>
            </a:r>
            <a:r>
              <a:rPr lang="en-GB" dirty="0"/>
              <a:t> in Hair Care</a:t>
            </a:r>
            <a:endParaRPr lang="da-DK" sz="2000" dirty="0"/>
          </a:p>
        </p:txBody>
      </p:sp>
      <p:sp>
        <p:nvSpPr>
          <p:cNvPr id="19" name="Pladsholder til indhold 13">
            <a:extLst>
              <a:ext uri="{FF2B5EF4-FFF2-40B4-BE49-F238E27FC236}">
                <a16:creationId xmlns:a16="http://schemas.microsoft.com/office/drawing/2014/main" id="{A524F855-4027-47AC-9298-DE9771EF705F}"/>
              </a:ext>
            </a:extLst>
          </p:cNvPr>
          <p:cNvSpPr txBox="1">
            <a:spLocks/>
          </p:cNvSpPr>
          <p:nvPr/>
        </p:nvSpPr>
        <p:spPr>
          <a:xfrm>
            <a:off x="7825056" y="2280922"/>
            <a:ext cx="3726387" cy="1246495"/>
          </a:xfrm>
          <a:prstGeom prst="rect">
            <a:avLst/>
          </a:prstGeom>
        </p:spPr>
        <p:txBody>
          <a:bodyPr vert="horz" wrap="square" lIns="0" tIns="0" rIns="0" bIns="0" rtlCol="0" anchor="t">
            <a:sp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buNone/>
            </a:pPr>
            <a:r>
              <a:rPr lang="en-GB" sz="1800" dirty="0">
                <a:solidFill>
                  <a:srgbClr val="2067CA"/>
                </a:solidFill>
              </a:rPr>
              <a:t>LIPEX</a:t>
            </a:r>
            <a:r>
              <a:rPr lang="en-GB" sz="1800" baseline="30000" dirty="0">
                <a:solidFill>
                  <a:srgbClr val="2067CA"/>
                </a:solidFill>
              </a:rPr>
              <a:t>®</a:t>
            </a:r>
            <a:r>
              <a:rPr lang="en-GB" sz="1800" dirty="0">
                <a:solidFill>
                  <a:srgbClr val="2067CA"/>
                </a:solidFill>
              </a:rPr>
              <a:t> SheaSolve</a:t>
            </a:r>
            <a:r>
              <a:rPr lang="en-GB" sz="1800" baseline="30000" dirty="0">
                <a:solidFill>
                  <a:srgbClr val="2067CA"/>
                </a:solidFill>
              </a:rPr>
              <a:t>™</a:t>
            </a:r>
            <a:r>
              <a:rPr lang="en-US" sz="1800" dirty="0">
                <a:solidFill>
                  <a:srgbClr val="2067CA"/>
                </a:solidFill>
              </a:rPr>
              <a:t> outperforms dimethicone to improve combability on both wet and dry hair, reducing the probability of hair breakage. </a:t>
            </a:r>
          </a:p>
        </p:txBody>
      </p:sp>
      <p:pic>
        <p:nvPicPr>
          <p:cNvPr id="18434" name="Picture 2">
            <a:extLst>
              <a:ext uri="{FF2B5EF4-FFF2-40B4-BE49-F238E27FC236}">
                <a16:creationId xmlns:a16="http://schemas.microsoft.com/office/drawing/2014/main" id="{959BFF66-641B-4D4A-A2CC-FC431D304CBF}"/>
              </a:ext>
            </a:extLst>
          </p:cNvPr>
          <p:cNvPicPr>
            <a:picLocks noChangeAspect="1" noChangeArrowheads="1"/>
          </p:cNvPicPr>
          <p:nvPr/>
        </p:nvPicPr>
        <p:blipFill rotWithShape="1">
          <a:blip r:embed="rId3"/>
          <a:srcRect l="2439" t="4288" r="4018" b="4288"/>
          <a:stretch/>
        </p:blipFill>
        <p:spPr bwMode="auto">
          <a:xfrm>
            <a:off x="883713" y="1099325"/>
            <a:ext cx="3231087" cy="36000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CFA07830-32A9-D7B9-6CD3-28E21D9EDFFF}"/>
              </a:ext>
            </a:extLst>
          </p:cNvPr>
          <p:cNvPicPr>
            <a:picLocks noChangeAspect="1" noChangeArrowheads="1"/>
          </p:cNvPicPr>
          <p:nvPr/>
        </p:nvPicPr>
        <p:blipFill rotWithShape="1">
          <a:blip r:embed="rId4"/>
          <a:srcRect l="2381" t="3847" r="3897" b="3455"/>
          <a:stretch/>
        </p:blipFill>
        <p:spPr bwMode="auto">
          <a:xfrm>
            <a:off x="4632277" y="1099325"/>
            <a:ext cx="3192779" cy="3600000"/>
          </a:xfrm>
          <a:prstGeom prst="rect">
            <a:avLst/>
          </a:prstGeom>
          <a:noFill/>
          <a:extLst>
            <a:ext uri="{909E8E84-426E-40DD-AFC4-6F175D3DCCD1}">
              <a14:hiddenFill xmlns:a14="http://schemas.microsoft.com/office/drawing/2010/main">
                <a:solidFill>
                  <a:srgbClr val="FFFFFF"/>
                </a:solidFill>
              </a14:hiddenFill>
            </a:ext>
          </a:extLst>
        </p:spPr>
      </p:pic>
      <p:sp>
        <p:nvSpPr>
          <p:cNvPr id="3" name="Pladsholder til indhold 13">
            <a:extLst>
              <a:ext uri="{FF2B5EF4-FFF2-40B4-BE49-F238E27FC236}">
                <a16:creationId xmlns:a16="http://schemas.microsoft.com/office/drawing/2014/main" id="{4E946871-16BE-5100-BC25-0C663E228BEE}"/>
              </a:ext>
            </a:extLst>
          </p:cNvPr>
          <p:cNvSpPr txBox="1">
            <a:spLocks/>
          </p:cNvSpPr>
          <p:nvPr/>
        </p:nvSpPr>
        <p:spPr>
          <a:xfrm>
            <a:off x="592932" y="4980000"/>
            <a:ext cx="11006136" cy="1015663"/>
          </a:xfrm>
          <a:prstGeom prst="rect">
            <a:avLst/>
          </a:prstGeom>
        </p:spPr>
        <p:txBody>
          <a:bodyPr vert="horz" wrap="square" lIns="0" tIns="0" rIns="0" bIns="0" rtlCol="0" anchor="t">
            <a:sp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9070" indent="-179070" fontAlgn="base">
              <a:lnSpc>
                <a:spcPct val="100000"/>
              </a:lnSpc>
              <a:spcBef>
                <a:spcPts val="1200"/>
              </a:spcBef>
            </a:pPr>
            <a:r>
              <a:rPr lang="en-US" sz="1400" dirty="0">
                <a:solidFill>
                  <a:srgbClr val="00264E"/>
                </a:solidFill>
              </a:rPr>
              <a:t>In Vivo Testing show that it delivers similar sensory, </a:t>
            </a:r>
            <a:r>
              <a:rPr lang="en-US" sz="1400" dirty="0" err="1">
                <a:solidFill>
                  <a:srgbClr val="00264E"/>
                </a:solidFill>
              </a:rPr>
              <a:t>spreadability</a:t>
            </a:r>
            <a:r>
              <a:rPr lang="en-US" sz="1400" dirty="0">
                <a:solidFill>
                  <a:srgbClr val="00264E"/>
                </a:solidFill>
              </a:rPr>
              <a:t> and </a:t>
            </a:r>
            <a:r>
              <a:rPr lang="en-US" sz="1400" dirty="0" err="1">
                <a:solidFill>
                  <a:srgbClr val="00264E"/>
                </a:solidFill>
              </a:rPr>
              <a:t>rinsability</a:t>
            </a:r>
            <a:r>
              <a:rPr lang="en-US" sz="1400" dirty="0">
                <a:solidFill>
                  <a:srgbClr val="00264E"/>
                </a:solidFill>
              </a:rPr>
              <a:t> benefits as dimethicone throughout the whole washing process. And there was no significant difference in performance between the two.</a:t>
            </a:r>
            <a:endParaRPr lang="en-GB" sz="1400" b="0" i="0" u="none" strike="noStrike" kern="1200" cap="none" spc="-30" normalizeH="0" baseline="0" noProof="0" dirty="0">
              <a:ln>
                <a:noFill/>
              </a:ln>
              <a:solidFill>
                <a:srgbClr val="00264E"/>
              </a:solidFill>
              <a:effectLst/>
              <a:uLnTx/>
              <a:uFillTx/>
            </a:endParaRPr>
          </a:p>
          <a:p>
            <a:pPr marL="179070" indent="-179070" fontAlgn="base">
              <a:lnSpc>
                <a:spcPct val="100000"/>
              </a:lnSpc>
              <a:spcBef>
                <a:spcPts val="1200"/>
              </a:spcBef>
            </a:pPr>
            <a:r>
              <a:rPr lang="en-US" sz="1400" dirty="0">
                <a:solidFill>
                  <a:srgbClr val="00264E"/>
                </a:solidFill>
              </a:rPr>
              <a:t>Low viscosity and good </a:t>
            </a:r>
            <a:r>
              <a:rPr lang="en-US" sz="1400" dirty="0" err="1">
                <a:solidFill>
                  <a:srgbClr val="00264E"/>
                </a:solidFill>
              </a:rPr>
              <a:t>spreadability</a:t>
            </a:r>
            <a:r>
              <a:rPr lang="en-US" sz="1400" dirty="0">
                <a:solidFill>
                  <a:srgbClr val="00264E"/>
                </a:solidFill>
              </a:rPr>
              <a:t> ensure uniform coating of hair fibers with a thin, weightless, moisturizing film to improve silkiness, shine and combability, making </a:t>
            </a:r>
            <a:r>
              <a:rPr lang="en-GB" sz="1400" dirty="0">
                <a:solidFill>
                  <a:srgbClr val="00264E"/>
                </a:solidFill>
              </a:rPr>
              <a:t>LIPEX</a:t>
            </a:r>
            <a:r>
              <a:rPr lang="en-GB" sz="1400" baseline="30000" dirty="0">
                <a:solidFill>
                  <a:srgbClr val="00264E"/>
                </a:solidFill>
              </a:rPr>
              <a:t>®</a:t>
            </a:r>
            <a:r>
              <a:rPr lang="en-GB" sz="1400" dirty="0">
                <a:solidFill>
                  <a:srgbClr val="00264E"/>
                </a:solidFill>
              </a:rPr>
              <a:t> SheaSolve</a:t>
            </a:r>
            <a:r>
              <a:rPr lang="en-GB" sz="1400" baseline="30000" dirty="0">
                <a:solidFill>
                  <a:srgbClr val="00264E"/>
                </a:solidFill>
              </a:rPr>
              <a:t>™</a:t>
            </a:r>
            <a:r>
              <a:rPr lang="en-US" sz="1400" dirty="0">
                <a:solidFill>
                  <a:srgbClr val="00264E"/>
                </a:solidFill>
              </a:rPr>
              <a:t> a good alternative to linear, low molecular weight silicones in hair care application.</a:t>
            </a:r>
            <a:endParaRPr lang="en-GB" sz="1400" b="0" i="0" u="none" strike="noStrike" kern="1200" cap="none" spc="-30" normalizeH="0" baseline="0" noProof="0" dirty="0">
              <a:ln>
                <a:noFill/>
              </a:ln>
              <a:solidFill>
                <a:srgbClr val="00264E"/>
              </a:solidFill>
              <a:effectLst/>
              <a:uLnTx/>
              <a:uFillTx/>
            </a:endParaRPr>
          </a:p>
        </p:txBody>
      </p:sp>
    </p:spTree>
    <p:extLst>
      <p:ext uri="{BB962C8B-B14F-4D97-AF65-F5344CB8AC3E}">
        <p14:creationId xmlns:p14="http://schemas.microsoft.com/office/powerpoint/2010/main" val="18268199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Placeholder 6">
            <a:extLst>
              <a:ext uri="{FF2B5EF4-FFF2-40B4-BE49-F238E27FC236}">
                <a16:creationId xmlns:a16="http://schemas.microsoft.com/office/drawing/2014/main" id="{EA0A110F-DAD5-C34E-9B96-C2D6FF3EA74F}"/>
              </a:ext>
            </a:extLst>
          </p:cNvPr>
          <p:cNvPicPr>
            <a:picLocks noChangeAspect="1"/>
          </p:cNvPicPr>
          <p:nvPr/>
        </p:nvPicPr>
        <p:blipFill>
          <a:blip r:embed="rId2"/>
          <a:srcRect l="12975" r="17852"/>
          <a:stretch/>
        </p:blipFill>
        <p:spPr>
          <a:xfrm>
            <a:off x="5406828" y="0"/>
            <a:ext cx="6785172"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pic>
      <p:sp>
        <p:nvSpPr>
          <p:cNvPr id="3" name="Platshållare för datum 2">
            <a:extLst>
              <a:ext uri="{FF2B5EF4-FFF2-40B4-BE49-F238E27FC236}">
                <a16:creationId xmlns:a16="http://schemas.microsoft.com/office/drawing/2014/main" id="{5FAB4949-961B-B3B9-CDE3-2A76352C8C5F}"/>
              </a:ext>
            </a:extLst>
          </p:cNvPr>
          <p:cNvSpPr>
            <a:spLocks noGrp="1"/>
          </p:cNvSpPr>
          <p:nvPr>
            <p:ph type="dt" sz="half" idx="10"/>
          </p:nvPr>
        </p:nvSpPr>
        <p:spPr>
          <a:xfrm>
            <a:off x="10172700" y="6456641"/>
            <a:ext cx="996971" cy="184666"/>
          </a:xfrm>
        </p:spPr>
        <p:txBody>
          <a:bodyPr/>
          <a:lstStyle/>
          <a:p>
            <a:fld id="{8729AB67-F046-4E36-95AB-E592286E28AE}" type="datetime1">
              <a:rPr lang="en-GB" smtClean="0">
                <a:solidFill>
                  <a:schemeClr val="bg1"/>
                </a:solidFill>
              </a:rPr>
              <a:t>18/06/2025</a:t>
            </a:fld>
            <a:endParaRPr lang="en-US" dirty="0">
              <a:solidFill>
                <a:schemeClr val="bg1"/>
              </a:solidFill>
            </a:endParaRPr>
          </a:p>
        </p:txBody>
      </p:sp>
      <p:sp>
        <p:nvSpPr>
          <p:cNvPr id="4" name="Platshållare för bildnummer 3">
            <a:extLst>
              <a:ext uri="{FF2B5EF4-FFF2-40B4-BE49-F238E27FC236}">
                <a16:creationId xmlns:a16="http://schemas.microsoft.com/office/drawing/2014/main" id="{579519DD-0970-DB4D-C91E-0473C3D6FF9E}"/>
              </a:ext>
            </a:extLst>
          </p:cNvPr>
          <p:cNvSpPr>
            <a:spLocks noGrp="1"/>
          </p:cNvSpPr>
          <p:nvPr>
            <p:ph type="sldNum" sz="quarter" idx="12"/>
          </p:nvPr>
        </p:nvSpPr>
        <p:spPr/>
        <p:txBody>
          <a:bodyPr/>
          <a:lstStyle/>
          <a:p>
            <a:fld id="{4803DD7B-12C8-43B8-9F45-989336E79744}" type="slidenum">
              <a:rPr lang="en-US" smtClean="0">
                <a:solidFill>
                  <a:schemeClr val="bg1"/>
                </a:solidFill>
              </a:rPr>
              <a:pPr/>
              <a:t>2</a:t>
            </a:fld>
            <a:endParaRPr lang="en-US" dirty="0">
              <a:solidFill>
                <a:schemeClr val="bg1"/>
              </a:solidFill>
            </a:endParaRPr>
          </a:p>
        </p:txBody>
      </p:sp>
      <p:sp>
        <p:nvSpPr>
          <p:cNvPr id="5" name="Rubrik 4">
            <a:extLst>
              <a:ext uri="{FF2B5EF4-FFF2-40B4-BE49-F238E27FC236}">
                <a16:creationId xmlns:a16="http://schemas.microsoft.com/office/drawing/2014/main" id="{80B4ABA0-F1D4-D570-4B66-80618201629D}"/>
              </a:ext>
            </a:extLst>
          </p:cNvPr>
          <p:cNvSpPr>
            <a:spLocks noGrp="1"/>
          </p:cNvSpPr>
          <p:nvPr>
            <p:ph type="title"/>
          </p:nvPr>
        </p:nvSpPr>
        <p:spPr>
          <a:xfrm>
            <a:off x="442913" y="613501"/>
            <a:ext cx="3600450" cy="775597"/>
          </a:xfrm>
        </p:spPr>
        <p:txBody>
          <a:bodyPr/>
          <a:lstStyle/>
          <a:p>
            <a:r>
              <a:rPr lang="sv-SE" sz="3600" dirty="0">
                <a:solidFill>
                  <a:srgbClr val="0070C0"/>
                </a:solidFill>
              </a:rPr>
              <a:t>Agenda</a:t>
            </a:r>
          </a:p>
        </p:txBody>
      </p:sp>
      <p:sp>
        <p:nvSpPr>
          <p:cNvPr id="8" name="Platshållare för text 7">
            <a:extLst>
              <a:ext uri="{FF2B5EF4-FFF2-40B4-BE49-F238E27FC236}">
                <a16:creationId xmlns:a16="http://schemas.microsoft.com/office/drawing/2014/main" id="{D3CED123-99DC-35C1-5B40-209F723B77F0}"/>
              </a:ext>
            </a:extLst>
          </p:cNvPr>
          <p:cNvSpPr>
            <a:spLocks noGrp="1"/>
          </p:cNvSpPr>
          <p:nvPr>
            <p:ph type="body" sz="quarter" idx="17"/>
          </p:nvPr>
        </p:nvSpPr>
        <p:spPr>
          <a:xfrm>
            <a:off x="935116" y="2079894"/>
            <a:ext cx="4481951" cy="997196"/>
          </a:xfrm>
        </p:spPr>
        <p:txBody>
          <a:bodyPr wrap="square">
            <a:spAutoFit/>
          </a:bodyPr>
          <a:lstStyle/>
          <a:p>
            <a:r>
              <a:rPr lang="en-GB" sz="1800" dirty="0">
                <a:effectLst/>
              </a:rPr>
              <a:t>Discover how </a:t>
            </a:r>
            <a:br>
              <a:rPr lang="en-GB" sz="1800" dirty="0">
                <a:effectLst/>
              </a:rPr>
            </a:br>
            <a:r>
              <a:rPr lang="en-GB" sz="1800" dirty="0">
                <a:solidFill>
                  <a:srgbClr val="2067CA"/>
                </a:solidFill>
                <a:effectLst/>
              </a:rPr>
              <a:t>Lipex® </a:t>
            </a:r>
            <a:r>
              <a:rPr lang="en-GB" sz="1800" dirty="0" err="1">
                <a:solidFill>
                  <a:srgbClr val="2067CA"/>
                </a:solidFill>
                <a:effectLst/>
              </a:rPr>
              <a:t>SheaSolve</a:t>
            </a:r>
            <a:r>
              <a:rPr lang="en-GB" sz="1800" baseline="30000" dirty="0" err="1">
                <a:solidFill>
                  <a:srgbClr val="2067CA"/>
                </a:solidFill>
                <a:effectLst/>
              </a:rPr>
              <a:t>TM</a:t>
            </a:r>
            <a:r>
              <a:rPr lang="en-GB" sz="1800" baseline="30000" dirty="0">
                <a:solidFill>
                  <a:srgbClr val="2067CA"/>
                </a:solidFill>
                <a:effectLst/>
              </a:rPr>
              <a:t> </a:t>
            </a:r>
            <a:br>
              <a:rPr lang="en-GB" sz="1800" baseline="30000" dirty="0">
                <a:effectLst/>
              </a:rPr>
            </a:br>
            <a:r>
              <a:rPr lang="en-GB" sz="1800" dirty="0"/>
              <a:t>enables the creation of high-performance formulations in different categories.</a:t>
            </a:r>
            <a:endParaRPr lang="en-US" sz="1800" dirty="0">
              <a:solidFill>
                <a:srgbClr val="405C7A"/>
              </a:solidFill>
            </a:endParaRPr>
          </a:p>
        </p:txBody>
      </p:sp>
      <p:sp>
        <p:nvSpPr>
          <p:cNvPr id="9" name="Platshållare för text 8">
            <a:extLst>
              <a:ext uri="{FF2B5EF4-FFF2-40B4-BE49-F238E27FC236}">
                <a16:creationId xmlns:a16="http://schemas.microsoft.com/office/drawing/2014/main" id="{68123127-BAF3-E7EC-B98E-192C803DB4FA}"/>
              </a:ext>
            </a:extLst>
          </p:cNvPr>
          <p:cNvSpPr>
            <a:spLocks noGrp="1"/>
          </p:cNvSpPr>
          <p:nvPr>
            <p:ph type="body" sz="quarter" idx="18"/>
          </p:nvPr>
        </p:nvSpPr>
        <p:spPr>
          <a:xfrm>
            <a:off x="493840" y="3648127"/>
            <a:ext cx="376237" cy="276999"/>
          </a:xfrm>
        </p:spPr>
        <p:txBody>
          <a:bodyPr/>
          <a:lstStyle/>
          <a:p>
            <a:r>
              <a:rPr lang="sv-SE" dirty="0">
                <a:solidFill>
                  <a:srgbClr val="00264E"/>
                </a:solidFill>
                <a:latin typeface="Work Sans Light" pitchFamily="2" charset="0"/>
              </a:rPr>
              <a:t>2</a:t>
            </a:r>
          </a:p>
        </p:txBody>
      </p:sp>
      <p:sp>
        <p:nvSpPr>
          <p:cNvPr id="13" name="Platshållare för text 12">
            <a:extLst>
              <a:ext uri="{FF2B5EF4-FFF2-40B4-BE49-F238E27FC236}">
                <a16:creationId xmlns:a16="http://schemas.microsoft.com/office/drawing/2014/main" id="{584B3C24-D76B-D46E-9037-660FCDF637B6}"/>
              </a:ext>
            </a:extLst>
          </p:cNvPr>
          <p:cNvSpPr>
            <a:spLocks noGrp="1"/>
          </p:cNvSpPr>
          <p:nvPr>
            <p:ph type="body" sz="quarter" idx="22"/>
          </p:nvPr>
        </p:nvSpPr>
        <p:spPr>
          <a:xfrm>
            <a:off x="504080" y="2079894"/>
            <a:ext cx="376237" cy="276999"/>
          </a:xfrm>
        </p:spPr>
        <p:txBody>
          <a:bodyPr/>
          <a:lstStyle/>
          <a:p>
            <a:r>
              <a:rPr lang="sv-SE" dirty="0">
                <a:solidFill>
                  <a:srgbClr val="422310"/>
                </a:solidFill>
                <a:latin typeface="Work Sans Light" pitchFamily="2" charset="0"/>
              </a:rPr>
              <a:t>1</a:t>
            </a:r>
          </a:p>
        </p:txBody>
      </p:sp>
      <p:sp>
        <p:nvSpPr>
          <p:cNvPr id="16" name="Platshållare för text 11">
            <a:extLst>
              <a:ext uri="{FF2B5EF4-FFF2-40B4-BE49-F238E27FC236}">
                <a16:creationId xmlns:a16="http://schemas.microsoft.com/office/drawing/2014/main" id="{7784DFDD-21EE-35D3-FE16-A83BB1F7E7C4}"/>
              </a:ext>
            </a:extLst>
          </p:cNvPr>
          <p:cNvSpPr>
            <a:spLocks noGrp="1"/>
          </p:cNvSpPr>
          <p:nvPr>
            <p:ph type="body" sz="quarter" idx="21"/>
          </p:nvPr>
        </p:nvSpPr>
        <p:spPr>
          <a:xfrm>
            <a:off x="935117" y="3648127"/>
            <a:ext cx="4334973" cy="747897"/>
          </a:xfrm>
        </p:spPr>
        <p:txBody>
          <a:bodyPr wrap="square">
            <a:spAutoFit/>
          </a:bodyPr>
          <a:lstStyle/>
          <a:p>
            <a:r>
              <a:rPr lang="sv-SE" sz="1800" dirty="0" err="1"/>
              <a:t>Achieve</a:t>
            </a:r>
            <a:r>
              <a:rPr lang="sv-SE" sz="1800" dirty="0"/>
              <a:t> </a:t>
            </a:r>
            <a:r>
              <a:rPr lang="sv-SE" sz="1800" dirty="0" err="1"/>
              <a:t>natural</a:t>
            </a:r>
            <a:r>
              <a:rPr lang="sv-SE" sz="1800" dirty="0"/>
              <a:t>, </a:t>
            </a:r>
            <a:r>
              <a:rPr lang="sv-SE" sz="1800" dirty="0" err="1"/>
              <a:t>lightweight</a:t>
            </a:r>
            <a:r>
              <a:rPr lang="sv-SE" sz="1800" dirty="0"/>
              <a:t> and </a:t>
            </a:r>
            <a:r>
              <a:rPr lang="sv-SE" sz="1800" dirty="0" err="1"/>
              <a:t>silicon</a:t>
            </a:r>
            <a:r>
              <a:rPr lang="sv-SE" sz="1800" dirty="0"/>
              <a:t>-like </a:t>
            </a:r>
            <a:r>
              <a:rPr lang="sv-SE" sz="1800" dirty="0" err="1"/>
              <a:t>textures</a:t>
            </a:r>
            <a:r>
              <a:rPr lang="sv-SE" sz="1800" dirty="0"/>
              <a:t> in skin </a:t>
            </a:r>
            <a:r>
              <a:rPr lang="sv-SE" sz="1800" dirty="0" err="1"/>
              <a:t>care</a:t>
            </a:r>
            <a:r>
              <a:rPr lang="sv-SE" sz="1800" dirty="0"/>
              <a:t> and </a:t>
            </a:r>
            <a:r>
              <a:rPr lang="sv-SE" sz="1800" dirty="0" err="1"/>
              <a:t>hair</a:t>
            </a:r>
            <a:r>
              <a:rPr lang="sv-SE" sz="1800" dirty="0"/>
              <a:t> </a:t>
            </a:r>
            <a:r>
              <a:rPr lang="sv-SE" sz="1800" dirty="0" err="1"/>
              <a:t>care</a:t>
            </a:r>
            <a:r>
              <a:rPr lang="sv-SE" sz="1800" dirty="0"/>
              <a:t> </a:t>
            </a:r>
            <a:r>
              <a:rPr lang="sv-SE" sz="1800" dirty="0" err="1"/>
              <a:t>with</a:t>
            </a:r>
            <a:r>
              <a:rPr lang="sv-SE" sz="1800" dirty="0"/>
              <a:t> </a:t>
            </a:r>
            <a:r>
              <a:rPr lang="sv-SE" sz="1800" dirty="0">
                <a:solidFill>
                  <a:srgbClr val="2067CA"/>
                </a:solidFill>
              </a:rPr>
              <a:t>Lipex® SheaLuxe TR</a:t>
            </a:r>
            <a:r>
              <a:rPr lang="sv-SE" sz="1800" baseline="30000" dirty="0">
                <a:solidFill>
                  <a:srgbClr val="2067CA"/>
                </a:solidFill>
              </a:rPr>
              <a:t>TM</a:t>
            </a:r>
            <a:r>
              <a:rPr lang="sv-SE" sz="1800" dirty="0">
                <a:solidFill>
                  <a:srgbClr val="2067CA"/>
                </a:solidFill>
              </a:rPr>
              <a:t> </a:t>
            </a:r>
            <a:endParaRPr lang="en-US" sz="1800" dirty="0">
              <a:solidFill>
                <a:srgbClr val="2067CA"/>
              </a:solidFill>
            </a:endParaRPr>
          </a:p>
        </p:txBody>
      </p:sp>
    </p:spTree>
    <p:extLst>
      <p:ext uri="{BB962C8B-B14F-4D97-AF65-F5344CB8AC3E}">
        <p14:creationId xmlns:p14="http://schemas.microsoft.com/office/powerpoint/2010/main" val="34620019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DF8F72-135E-5C1D-7861-AA84A068384C}"/>
            </a:ext>
          </a:extLst>
        </p:cNvPr>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30BE2BAC-E73E-6C6D-134D-FB575779065A}"/>
              </a:ext>
            </a:extLst>
          </p:cNvPr>
          <p:cNvPicPr>
            <a:picLocks noGrp="1" noChangeAspect="1"/>
          </p:cNvPicPr>
          <p:nvPr>
            <p:ph type="pic" sz="quarter" idx="14"/>
          </p:nvPr>
        </p:nvPicPr>
        <p:blipFill>
          <a:blip r:embed="rId2"/>
          <a:srcRect t="4907" b="35772"/>
          <a:stretch/>
        </p:blipFill>
        <p:spPr>
          <a:xfrm>
            <a:off x="5828824" y="10"/>
            <a:ext cx="7716837" cy="6857990"/>
          </a:xfrm>
          <a:noFill/>
        </p:spPr>
      </p:pic>
      <p:sp>
        <p:nvSpPr>
          <p:cNvPr id="6" name="Title 5">
            <a:extLst>
              <a:ext uri="{FF2B5EF4-FFF2-40B4-BE49-F238E27FC236}">
                <a16:creationId xmlns:a16="http://schemas.microsoft.com/office/drawing/2014/main" id="{98AB9DAB-ED29-3B2E-AF12-14578B46F183}"/>
              </a:ext>
            </a:extLst>
          </p:cNvPr>
          <p:cNvSpPr>
            <a:spLocks noGrp="1"/>
          </p:cNvSpPr>
          <p:nvPr>
            <p:ph type="title"/>
          </p:nvPr>
        </p:nvSpPr>
        <p:spPr>
          <a:xfrm>
            <a:off x="442914" y="216693"/>
            <a:ext cx="5500686" cy="5912645"/>
          </a:xfrm>
        </p:spPr>
        <p:txBody>
          <a:bodyPr anchor="ctr">
            <a:normAutofit/>
          </a:bodyPr>
          <a:lstStyle/>
          <a:p>
            <a:pPr>
              <a:spcBef>
                <a:spcPts val="1200"/>
              </a:spcBef>
              <a:spcAft>
                <a:spcPts val="1200"/>
              </a:spcAft>
            </a:pPr>
            <a:r>
              <a:rPr lang="sv-SE" sz="3200" b="1" dirty="0" err="1"/>
              <a:t>Achieve</a:t>
            </a:r>
            <a:r>
              <a:rPr lang="sv-SE" sz="3200" b="1" dirty="0"/>
              <a:t> </a:t>
            </a:r>
            <a:r>
              <a:rPr lang="sv-SE" sz="3200" b="1" dirty="0" err="1"/>
              <a:t>natural</a:t>
            </a:r>
            <a:r>
              <a:rPr lang="sv-SE" sz="3200" b="1" dirty="0"/>
              <a:t>, </a:t>
            </a:r>
            <a:r>
              <a:rPr lang="sv-SE" sz="3200" b="1" dirty="0" err="1"/>
              <a:t>lightweight</a:t>
            </a:r>
            <a:r>
              <a:rPr lang="sv-SE" sz="3200" b="1" dirty="0"/>
              <a:t> and </a:t>
            </a:r>
            <a:r>
              <a:rPr lang="sv-SE" sz="3200" b="1" dirty="0" err="1"/>
              <a:t>silicon</a:t>
            </a:r>
            <a:r>
              <a:rPr lang="sv-SE" sz="3200" b="1" dirty="0"/>
              <a:t>-like </a:t>
            </a:r>
            <a:r>
              <a:rPr lang="sv-SE" sz="3200" b="1" dirty="0" err="1"/>
              <a:t>textures</a:t>
            </a:r>
            <a:r>
              <a:rPr lang="sv-SE" sz="3200" b="1" dirty="0"/>
              <a:t> in skin </a:t>
            </a:r>
            <a:r>
              <a:rPr lang="sv-SE" sz="3200" b="1" dirty="0" err="1"/>
              <a:t>care</a:t>
            </a:r>
            <a:r>
              <a:rPr lang="sv-SE" sz="3200" b="1" dirty="0"/>
              <a:t> &amp; </a:t>
            </a:r>
            <a:r>
              <a:rPr lang="sv-SE" sz="3200" b="1" dirty="0" err="1"/>
              <a:t>hair</a:t>
            </a:r>
            <a:r>
              <a:rPr lang="sv-SE" sz="3200" b="1" dirty="0"/>
              <a:t> </a:t>
            </a:r>
            <a:r>
              <a:rPr lang="sv-SE" sz="3200" b="1" dirty="0" err="1"/>
              <a:t>care</a:t>
            </a:r>
            <a:br>
              <a:rPr lang="sv-SE" sz="3200" b="1" dirty="0"/>
            </a:br>
            <a:r>
              <a:rPr lang="sv-SE" sz="3200" b="1" dirty="0" err="1"/>
              <a:t>with</a:t>
            </a:r>
            <a:r>
              <a:rPr lang="sv-SE" sz="3200" b="1" dirty="0"/>
              <a:t> </a:t>
            </a:r>
            <a:br>
              <a:rPr lang="sv-SE" sz="3200" b="1" dirty="0"/>
            </a:br>
            <a:r>
              <a:rPr lang="sv-SE" sz="3200" b="1" dirty="0"/>
              <a:t>Lipex® SheaLuxe TR</a:t>
            </a:r>
            <a:r>
              <a:rPr lang="sv-SE" sz="3200" b="1" baseline="30000" dirty="0"/>
              <a:t>TM</a:t>
            </a:r>
            <a:r>
              <a:rPr lang="sv-SE" sz="3200" b="1" dirty="0"/>
              <a:t> </a:t>
            </a:r>
          </a:p>
        </p:txBody>
      </p:sp>
      <p:sp>
        <p:nvSpPr>
          <p:cNvPr id="7" name="Date Placeholder 6">
            <a:extLst>
              <a:ext uri="{FF2B5EF4-FFF2-40B4-BE49-F238E27FC236}">
                <a16:creationId xmlns:a16="http://schemas.microsoft.com/office/drawing/2014/main" id="{485B3929-99B8-C480-3156-6F8DA0DE5CAF}"/>
              </a:ext>
            </a:extLst>
          </p:cNvPr>
          <p:cNvSpPr>
            <a:spLocks noGrp="1"/>
          </p:cNvSpPr>
          <p:nvPr>
            <p:ph type="dt" sz="half" idx="2"/>
          </p:nvPr>
        </p:nvSpPr>
        <p:spPr>
          <a:xfrm>
            <a:off x="10298096" y="6356350"/>
            <a:ext cx="1055703" cy="365125"/>
          </a:xfrm>
        </p:spPr>
        <p:txBody>
          <a:bodyPr anchor="ctr">
            <a:normAutofit/>
          </a:bodyPr>
          <a:lstStyle/>
          <a:p>
            <a:pPr>
              <a:spcAft>
                <a:spcPts val="600"/>
              </a:spcAft>
            </a:pPr>
            <a:fld id="{E60B2C05-1104-41BB-B925-7E3352CEED91}" type="datetime1">
              <a:rPr lang="en-GB" smtClean="0"/>
              <a:pPr>
                <a:spcAft>
                  <a:spcPts val="600"/>
                </a:spcAft>
              </a:pPr>
              <a:t>18/06/2025</a:t>
            </a:fld>
            <a:endParaRPr lang="en-US"/>
          </a:p>
        </p:txBody>
      </p:sp>
      <p:sp>
        <p:nvSpPr>
          <p:cNvPr id="4" name="Slide Number Placeholder 3">
            <a:extLst>
              <a:ext uri="{FF2B5EF4-FFF2-40B4-BE49-F238E27FC236}">
                <a16:creationId xmlns:a16="http://schemas.microsoft.com/office/drawing/2014/main" id="{E7904D94-7440-AE58-723F-E577F895A793}"/>
              </a:ext>
            </a:extLst>
          </p:cNvPr>
          <p:cNvSpPr>
            <a:spLocks noGrp="1"/>
          </p:cNvSpPr>
          <p:nvPr>
            <p:ph type="sldNum" sz="quarter" idx="4"/>
          </p:nvPr>
        </p:nvSpPr>
        <p:spPr>
          <a:xfrm>
            <a:off x="11353800" y="6356350"/>
            <a:ext cx="395286" cy="365125"/>
          </a:xfrm>
        </p:spPr>
        <p:txBody>
          <a:bodyPr anchor="ctr">
            <a:normAutofit/>
          </a:bodyPr>
          <a:lstStyle/>
          <a:p>
            <a:pPr algn="r">
              <a:spcAft>
                <a:spcPts val="600"/>
              </a:spcAft>
            </a:pPr>
            <a:fld id="{4803DD7B-12C8-43B8-9F45-989336E79744}" type="slidenum">
              <a:rPr lang="en-US" smtClean="0"/>
              <a:pPr algn="r">
                <a:spcAft>
                  <a:spcPts val="600"/>
                </a:spcAft>
              </a:pPr>
              <a:t>20</a:t>
            </a:fld>
            <a:endParaRPr lang="en-US"/>
          </a:p>
        </p:txBody>
      </p:sp>
    </p:spTree>
    <p:extLst>
      <p:ext uri="{BB962C8B-B14F-4D97-AF65-F5344CB8AC3E}">
        <p14:creationId xmlns:p14="http://schemas.microsoft.com/office/powerpoint/2010/main" val="3488410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6" name="Picture Placeholder 25">
            <a:extLst>
              <a:ext uri="{FF2B5EF4-FFF2-40B4-BE49-F238E27FC236}">
                <a16:creationId xmlns:a16="http://schemas.microsoft.com/office/drawing/2014/main" id="{BCA574DF-4B28-4966-928E-6EE6535C5FD2}"/>
              </a:ext>
            </a:extLst>
          </p:cNvPr>
          <p:cNvPicPr>
            <a:picLocks noGrp="1" noChangeAspect="1"/>
          </p:cNvPicPr>
          <p:nvPr>
            <p:ph type="pic" sz="quarter" idx="15"/>
          </p:nvPr>
        </p:nvPicPr>
        <p:blipFill>
          <a:blip r:embed="rId3"/>
          <a:srcRect l="5538" r="5538"/>
          <a:stretch/>
        </p:blipFill>
        <p:spPr/>
      </p:pic>
      <p:sp>
        <p:nvSpPr>
          <p:cNvPr id="7" name="Pladsholder til slidenummer 6">
            <a:extLst>
              <a:ext uri="{FF2B5EF4-FFF2-40B4-BE49-F238E27FC236}">
                <a16:creationId xmlns:a16="http://schemas.microsoft.com/office/drawing/2014/main" id="{60B596AD-114F-449A-9484-11BF9D96300D}"/>
              </a:ext>
            </a:extLst>
          </p:cNvPr>
          <p:cNvSpPr>
            <a:spLocks noGrp="1"/>
          </p:cNvSpPr>
          <p:nvPr>
            <p:ph type="sldNum" sz="quarter" idx="12"/>
          </p:nvPr>
        </p:nvSpPr>
        <p:spPr>
          <a:xfrm>
            <a:off x="11376660" y="6456641"/>
            <a:ext cx="372428" cy="184666"/>
          </a:xfrm>
          <a:prstGeom prst="rect">
            <a:avLst/>
          </a:prstGeom>
        </p:spPr>
        <p:txBody>
          <a:bodyPr vert="horz" wrap="squar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803DD7B-12C8-43B8-9F45-989336E79744}"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30" normalizeH="0" baseline="0" noProof="0">
              <a:ln>
                <a:noFill/>
              </a:ln>
              <a:solidFill>
                <a:srgbClr val="2067CA"/>
              </a:solidFill>
              <a:effectLst/>
              <a:uLnTx/>
              <a:uFillTx/>
              <a:latin typeface="Work Sans Light Roman"/>
              <a:ea typeface="+mn-ea"/>
              <a:cs typeface="+mn-cs"/>
            </a:endParaRPr>
          </a:p>
        </p:txBody>
      </p:sp>
      <p:sp>
        <p:nvSpPr>
          <p:cNvPr id="5" name="Pladsholder til dato 4">
            <a:extLst>
              <a:ext uri="{FF2B5EF4-FFF2-40B4-BE49-F238E27FC236}">
                <a16:creationId xmlns:a16="http://schemas.microsoft.com/office/drawing/2014/main" id="{84675973-D00E-49E2-A91D-F08A97FF68EB}"/>
              </a:ext>
            </a:extLst>
          </p:cNvPr>
          <p:cNvSpPr>
            <a:spLocks noGrp="1"/>
          </p:cNvSpPr>
          <p:nvPr>
            <p:ph type="dt" sz="half" idx="10"/>
          </p:nvPr>
        </p:nvSpPr>
        <p:spPr>
          <a:xfrm>
            <a:off x="10406641" y="6456641"/>
            <a:ext cx="763030" cy="184666"/>
          </a:xfrm>
          <a:prstGeom prst="rect">
            <a:avLst/>
          </a:prstGeom>
        </p:spPr>
        <p:txBody>
          <a:bodyPr vert="horz" wrap="non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60B2C05-1104-41BB-B925-7E3352CEED91}" type="datetime1">
              <a:rPr lang="en-GB" smtClean="0"/>
              <a:pPr marL="0" marR="0" lvl="0" indent="0" algn="r" defTabSz="914400" rtl="0" eaLnBrk="1" fontAlgn="auto" latinLnBrk="0" hangingPunct="1">
                <a:lnSpc>
                  <a:spcPct val="100000"/>
                </a:lnSpc>
                <a:spcBef>
                  <a:spcPts val="0"/>
                </a:spcBef>
                <a:spcAft>
                  <a:spcPts val="0"/>
                </a:spcAft>
                <a:buClrTx/>
                <a:buSzTx/>
                <a:buFontTx/>
                <a:buNone/>
                <a:tabLst/>
                <a:defRPr/>
              </a:pPr>
              <a:t>18/06/2025</a:t>
            </a:fld>
            <a:endParaRPr kumimoji="0" lang="en-US" sz="1200" b="0" i="0" u="none" strike="noStrike" kern="1200" cap="none" spc="-30" normalizeH="0" baseline="0" noProof="0">
              <a:ln>
                <a:noFill/>
              </a:ln>
              <a:solidFill>
                <a:srgbClr val="2067CA"/>
              </a:solidFill>
              <a:effectLst/>
              <a:uLnTx/>
              <a:uFillTx/>
              <a:latin typeface="Work Sans Light Roman"/>
              <a:ea typeface="+mn-ea"/>
              <a:cs typeface="+mn-cs"/>
            </a:endParaRPr>
          </a:p>
        </p:txBody>
      </p:sp>
      <p:sp>
        <p:nvSpPr>
          <p:cNvPr id="9" name="Pladsholder til indhold 13">
            <a:extLst>
              <a:ext uri="{FF2B5EF4-FFF2-40B4-BE49-F238E27FC236}">
                <a16:creationId xmlns:a16="http://schemas.microsoft.com/office/drawing/2014/main" id="{71FD5603-6A05-4133-8C40-BA0F036C74B9}"/>
              </a:ext>
            </a:extLst>
          </p:cNvPr>
          <p:cNvSpPr>
            <a:spLocks noGrp="1"/>
          </p:cNvSpPr>
          <p:nvPr>
            <p:ph sz="quarter" idx="13"/>
          </p:nvPr>
        </p:nvSpPr>
        <p:spPr>
          <a:xfrm>
            <a:off x="5683762" y="3272140"/>
            <a:ext cx="5683272" cy="1548116"/>
          </a:xfrm>
        </p:spPr>
        <p:txBody>
          <a:bodyPr vert="horz" wrap="square" lIns="0" tIns="0" rIns="0" bIns="0" rtlCol="0" anchor="t">
            <a:spAutoFit/>
          </a:bodyPr>
          <a:lstStyle/>
          <a:p>
            <a:pPr marL="179070" indent="-179070"/>
            <a:r>
              <a:rPr lang="en-GB" sz="1400" dirty="0"/>
              <a:t>Fully Traceable to the Kolo Nafaso program</a:t>
            </a:r>
            <a:endParaRPr lang="en-US" sz="1400" dirty="0"/>
          </a:p>
          <a:p>
            <a:pPr marL="179070" indent="-179070"/>
            <a:r>
              <a:rPr lang="en-GB" sz="1400" dirty="0"/>
              <a:t>Sustainably – sourced shea </a:t>
            </a:r>
            <a:endParaRPr lang="en-US" sz="1400" dirty="0"/>
          </a:p>
          <a:p>
            <a:pPr marL="179070" indent="-179070"/>
            <a:r>
              <a:rPr lang="en-GB" sz="1400" dirty="0"/>
              <a:t>Empowering women shea collectors. </a:t>
            </a:r>
            <a:endParaRPr lang="en-US" sz="1400" dirty="0"/>
          </a:p>
          <a:p>
            <a:pPr marL="179070" indent="-179070"/>
            <a:r>
              <a:rPr lang="en-SE" sz="1400" dirty="0"/>
              <a:t>Climate-Compensated</a:t>
            </a:r>
            <a:endParaRPr lang="sv-SE" sz="1400" dirty="0"/>
          </a:p>
          <a:p>
            <a:pPr marL="179070" indent="-179070"/>
            <a:r>
              <a:rPr lang="en-US" sz="1400" dirty="0"/>
              <a:t>Readily Biodegradable</a:t>
            </a:r>
            <a:r>
              <a:rPr lang="sv-SE" sz="1400" dirty="0"/>
              <a:t>- (</a:t>
            </a:r>
            <a:r>
              <a:rPr lang="en-US" sz="1400" dirty="0"/>
              <a:t>OECD 301F</a:t>
            </a:r>
            <a:r>
              <a:rPr lang="sv-SE" sz="1400" dirty="0"/>
              <a:t>)</a:t>
            </a:r>
          </a:p>
          <a:p>
            <a:pPr marL="179070" indent="-179070"/>
            <a:r>
              <a:rPr lang="en-GB" sz="1400" dirty="0"/>
              <a:t>Eco-designed, 100% Renewable sources.</a:t>
            </a:r>
          </a:p>
        </p:txBody>
      </p:sp>
      <p:sp>
        <p:nvSpPr>
          <p:cNvPr id="10" name="Titel 12">
            <a:extLst>
              <a:ext uri="{FF2B5EF4-FFF2-40B4-BE49-F238E27FC236}">
                <a16:creationId xmlns:a16="http://schemas.microsoft.com/office/drawing/2014/main" id="{603E4E1A-15A0-B70E-A74A-E5C67CD59E29}"/>
              </a:ext>
            </a:extLst>
          </p:cNvPr>
          <p:cNvSpPr>
            <a:spLocks noGrp="1"/>
          </p:cNvSpPr>
          <p:nvPr>
            <p:ph type="title"/>
          </p:nvPr>
        </p:nvSpPr>
        <p:spPr>
          <a:xfrm>
            <a:off x="4475163" y="221456"/>
            <a:ext cx="7273925" cy="775597"/>
          </a:xfrm>
        </p:spPr>
        <p:txBody>
          <a:bodyPr/>
          <a:lstStyle/>
          <a:p>
            <a:r>
              <a:rPr lang="en-GB" dirty="0"/>
              <a:t>LIPEX</a:t>
            </a:r>
            <a:r>
              <a:rPr lang="en-GB" baseline="30000" dirty="0"/>
              <a:t>®</a:t>
            </a:r>
            <a:r>
              <a:rPr lang="en-GB" dirty="0"/>
              <a:t> Shea</a:t>
            </a:r>
            <a:r>
              <a:rPr lang="en-SE" dirty="0"/>
              <a:t>Luxe</a:t>
            </a:r>
            <a:r>
              <a:rPr lang="sv-SE" dirty="0"/>
              <a:t> TR</a:t>
            </a:r>
            <a:r>
              <a:rPr lang="en-GB" baseline="30000" dirty="0"/>
              <a:t>™</a:t>
            </a:r>
            <a:endParaRPr lang="da-DK" baseline="30000" dirty="0"/>
          </a:p>
        </p:txBody>
      </p:sp>
      <p:grpSp>
        <p:nvGrpSpPr>
          <p:cNvPr id="12" name="Group 15">
            <a:extLst>
              <a:ext uri="{FF2B5EF4-FFF2-40B4-BE49-F238E27FC236}">
                <a16:creationId xmlns:a16="http://schemas.microsoft.com/office/drawing/2014/main" id="{2D7F4419-7E18-72D8-3D88-957CBFC2D279}"/>
              </a:ext>
            </a:extLst>
          </p:cNvPr>
          <p:cNvGrpSpPr>
            <a:grpSpLocks/>
          </p:cNvGrpSpPr>
          <p:nvPr/>
        </p:nvGrpSpPr>
        <p:grpSpPr>
          <a:xfrm>
            <a:off x="4567520" y="5038965"/>
            <a:ext cx="708242" cy="1177327"/>
            <a:chOff x="1267887" y="3238698"/>
            <a:chExt cx="572981" cy="952480"/>
          </a:xfrm>
        </p:grpSpPr>
        <p:pic>
          <p:nvPicPr>
            <p:cNvPr id="15" name="Picture 16" descr="Icon&#10;&#10;Description automatically generated">
              <a:extLst>
                <a:ext uri="{FF2B5EF4-FFF2-40B4-BE49-F238E27FC236}">
                  <a16:creationId xmlns:a16="http://schemas.microsoft.com/office/drawing/2014/main" id="{1F60EE86-7B4E-367B-6968-E20CD513A5A9}"/>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267891" y="3238698"/>
              <a:ext cx="572977" cy="566881"/>
            </a:xfrm>
            <a:prstGeom prst="rect">
              <a:avLst/>
            </a:prstGeom>
          </p:spPr>
        </p:pic>
        <p:sp>
          <p:nvSpPr>
            <p:cNvPr id="22" name="TextBox 123">
              <a:extLst>
                <a:ext uri="{FF2B5EF4-FFF2-40B4-BE49-F238E27FC236}">
                  <a16:creationId xmlns:a16="http://schemas.microsoft.com/office/drawing/2014/main" id="{BD6DBC4B-9430-174F-D6B2-D970074C382C}"/>
                </a:ext>
              </a:extLst>
            </p:cNvPr>
            <p:cNvSpPr txBox="1">
              <a:spLocks/>
            </p:cNvSpPr>
            <p:nvPr/>
          </p:nvSpPr>
          <p:spPr>
            <a:xfrm>
              <a:off x="1267887" y="3858779"/>
              <a:ext cx="572977" cy="332399"/>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dirty="0"/>
                <a:t>Legal compliance</a:t>
              </a:r>
            </a:p>
          </p:txBody>
        </p:sp>
      </p:grpSp>
      <p:pic>
        <p:nvPicPr>
          <p:cNvPr id="31" name="Picture 4">
            <a:extLst>
              <a:ext uri="{FF2B5EF4-FFF2-40B4-BE49-F238E27FC236}">
                <a16:creationId xmlns:a16="http://schemas.microsoft.com/office/drawing/2014/main" id="{791E6AEC-A8AA-3507-E7D6-2E2D8CC982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46268" y="5227390"/>
            <a:ext cx="571500" cy="57150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6">
            <a:extLst>
              <a:ext uri="{FF2B5EF4-FFF2-40B4-BE49-F238E27FC236}">
                <a16:creationId xmlns:a16="http://schemas.microsoft.com/office/drawing/2014/main" id="{05A70603-DCDE-91FA-456C-32BFE055697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77686" y="5227390"/>
            <a:ext cx="571500" cy="57150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8">
            <a:extLst>
              <a:ext uri="{FF2B5EF4-FFF2-40B4-BE49-F238E27FC236}">
                <a16:creationId xmlns:a16="http://schemas.microsoft.com/office/drawing/2014/main" id="{E0E0DA59-6911-C892-3DCD-1475F122786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43395" y="5227390"/>
            <a:ext cx="571500" cy="57150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6">
            <a:extLst>
              <a:ext uri="{FF2B5EF4-FFF2-40B4-BE49-F238E27FC236}">
                <a16:creationId xmlns:a16="http://schemas.microsoft.com/office/drawing/2014/main" id="{9C407042-3E48-D2AA-FADA-3301F5625F4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80559" y="5227390"/>
            <a:ext cx="571500" cy="571500"/>
          </a:xfrm>
          <a:prstGeom prst="rect">
            <a:avLst/>
          </a:prstGeom>
          <a:noFill/>
          <a:extLst>
            <a:ext uri="{909E8E84-426E-40DD-AFC4-6F175D3DCCD1}">
              <a14:hiddenFill xmlns:a14="http://schemas.microsoft.com/office/drawing/2010/main">
                <a:solidFill>
                  <a:srgbClr val="FFFFFF"/>
                </a:solidFill>
              </a14:hiddenFill>
            </a:ext>
          </a:extLst>
        </p:spPr>
      </p:pic>
      <p:grpSp>
        <p:nvGrpSpPr>
          <p:cNvPr id="39" name="Group 32">
            <a:extLst>
              <a:ext uri="{FF2B5EF4-FFF2-40B4-BE49-F238E27FC236}">
                <a16:creationId xmlns:a16="http://schemas.microsoft.com/office/drawing/2014/main" id="{7DB31846-EAC1-DFA7-06BA-CA8D18A3390D}"/>
              </a:ext>
            </a:extLst>
          </p:cNvPr>
          <p:cNvGrpSpPr>
            <a:grpSpLocks/>
          </p:cNvGrpSpPr>
          <p:nvPr/>
        </p:nvGrpSpPr>
        <p:grpSpPr>
          <a:xfrm>
            <a:off x="4552639" y="3272140"/>
            <a:ext cx="718754" cy="1180175"/>
            <a:chOff x="8692673" y="4192866"/>
            <a:chExt cx="581481" cy="954776"/>
          </a:xfrm>
        </p:grpSpPr>
        <p:pic>
          <p:nvPicPr>
            <p:cNvPr id="40" name="Picture 33" descr="Icon&#10;&#10;Description automatically generated">
              <a:extLst>
                <a:ext uri="{FF2B5EF4-FFF2-40B4-BE49-F238E27FC236}">
                  <a16:creationId xmlns:a16="http://schemas.microsoft.com/office/drawing/2014/main" id="{2A9B315A-33D2-3FE8-D1AA-42735A6301B0}"/>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701177" y="4192866"/>
              <a:ext cx="572977" cy="566881"/>
            </a:xfrm>
            <a:prstGeom prst="rect">
              <a:avLst/>
            </a:prstGeom>
          </p:spPr>
        </p:pic>
        <p:sp>
          <p:nvSpPr>
            <p:cNvPr id="41" name="TextBox 123">
              <a:extLst>
                <a:ext uri="{FF2B5EF4-FFF2-40B4-BE49-F238E27FC236}">
                  <a16:creationId xmlns:a16="http://schemas.microsoft.com/office/drawing/2014/main" id="{0370DD56-2AAC-7683-6FAF-1EF9346C3A09}"/>
                </a:ext>
              </a:extLst>
            </p:cNvPr>
            <p:cNvSpPr txBox="1">
              <a:spLocks/>
            </p:cNvSpPr>
            <p:nvPr/>
          </p:nvSpPr>
          <p:spPr>
            <a:xfrm>
              <a:off x="8692673" y="4815243"/>
              <a:ext cx="572977" cy="332399"/>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800"/>
                <a:t>Sustainability</a:t>
              </a:r>
            </a:p>
          </p:txBody>
        </p:sp>
      </p:grpSp>
      <p:pic>
        <p:nvPicPr>
          <p:cNvPr id="42" name="Picture 2">
            <a:extLst>
              <a:ext uri="{FF2B5EF4-FFF2-40B4-BE49-F238E27FC236}">
                <a16:creationId xmlns:a16="http://schemas.microsoft.com/office/drawing/2014/main" id="{AEDFF42E-9E52-1E79-B850-941A9695EE1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211977" y="5227390"/>
            <a:ext cx="571500" cy="57150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2" descr="A close up of a label&#10;&#10;Description automatically generated">
            <a:extLst>
              <a:ext uri="{FF2B5EF4-FFF2-40B4-BE49-F238E27FC236}">
                <a16:creationId xmlns:a16="http://schemas.microsoft.com/office/drawing/2014/main" id="{2C216383-BD97-AB96-6863-C5C6F5DD41E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414850" y="5198454"/>
            <a:ext cx="639018" cy="62937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4">
            <a:extLst>
              <a:ext uri="{FF2B5EF4-FFF2-40B4-BE49-F238E27FC236}">
                <a16:creationId xmlns:a16="http://schemas.microsoft.com/office/drawing/2014/main" id="{82799998-6768-31D9-6F0A-10AFD2310A8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216656" y="5227390"/>
            <a:ext cx="571500" cy="571500"/>
          </a:xfrm>
          <a:prstGeom prst="rect">
            <a:avLst/>
          </a:prstGeom>
          <a:noFill/>
          <a:extLst>
            <a:ext uri="{909E8E84-426E-40DD-AFC4-6F175D3DCCD1}">
              <a14:hiddenFill xmlns:a14="http://schemas.microsoft.com/office/drawing/2010/main">
                <a:solidFill>
                  <a:srgbClr val="FFFFFF"/>
                </a:solidFill>
              </a14:hiddenFill>
            </a:ext>
          </a:extLst>
        </p:spPr>
      </p:pic>
      <p:sp>
        <p:nvSpPr>
          <p:cNvPr id="3" name="Pladsholder til indhold 13">
            <a:extLst>
              <a:ext uri="{FF2B5EF4-FFF2-40B4-BE49-F238E27FC236}">
                <a16:creationId xmlns:a16="http://schemas.microsoft.com/office/drawing/2014/main" id="{55710E2A-3444-3651-F8FA-1F7585600221}"/>
              </a:ext>
            </a:extLst>
          </p:cNvPr>
          <p:cNvSpPr txBox="1">
            <a:spLocks/>
          </p:cNvSpPr>
          <p:nvPr/>
        </p:nvSpPr>
        <p:spPr>
          <a:xfrm>
            <a:off x="5693387" y="1387867"/>
            <a:ext cx="5683272" cy="1471172"/>
          </a:xfrm>
          <a:prstGeom prst="rect">
            <a:avLst/>
          </a:prstGeom>
        </p:spPr>
        <p:txBody>
          <a:bodyPr vert="horz" wrap="square" lIns="0" tIns="0" rIns="0" bIns="0" rtlCol="0" anchor="t">
            <a:sp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9070" indent="-179070">
              <a:defRPr/>
            </a:pPr>
            <a:r>
              <a:rPr kumimoji="0" lang="en-GB" sz="1400" b="1" u="none" strike="noStrike" kern="1200" cap="none" spc="-30" normalizeH="0" baseline="0" noProof="0" dirty="0">
                <a:ln>
                  <a:noFill/>
                </a:ln>
                <a:solidFill>
                  <a:srgbClr val="00264E"/>
                </a:solidFill>
                <a:effectLst/>
                <a:uLnTx/>
                <a:uFillTx/>
                <a:ea typeface="+mn-ea"/>
                <a:cs typeface="+mn-cs"/>
              </a:rPr>
              <a:t>INCI:  </a:t>
            </a:r>
            <a:r>
              <a:rPr lang="en-US" sz="1400" b="1" dirty="0">
                <a:solidFill>
                  <a:srgbClr val="00264E"/>
                </a:solidFill>
              </a:rPr>
              <a:t>Ethyl Oleate, Ethyl Stearate</a:t>
            </a:r>
            <a:endParaRPr lang="en-US" sz="1400" dirty="0">
              <a:ea typeface="+mn-ea"/>
              <a:cs typeface="+mn-cs"/>
            </a:endParaRPr>
          </a:p>
          <a:p>
            <a:pPr marL="179070" marR="0" lvl="0" indent="-179070" algn="l" defTabSz="914400" rtl="0" eaLnBrk="1" fontAlgn="auto" latinLnBrk="0" hangingPunct="1">
              <a:lnSpc>
                <a:spcPct val="90000"/>
              </a:lnSpc>
              <a:spcBef>
                <a:spcPts val="600"/>
              </a:spcBef>
              <a:spcAft>
                <a:spcPts val="0"/>
              </a:spcAft>
              <a:buClrTx/>
              <a:buSzTx/>
              <a:buFont typeface="Arial" pitchFamily="34" charset="0"/>
              <a:buChar char="•"/>
              <a:tabLst/>
              <a:defRPr/>
            </a:pPr>
            <a:r>
              <a:rPr kumimoji="0" lang="en-GB" sz="1400" b="0" i="0" u="none" strike="noStrike" kern="1200" cap="none" spc="-30" normalizeH="0" baseline="0" noProof="0" dirty="0">
                <a:ln>
                  <a:noFill/>
                </a:ln>
                <a:solidFill>
                  <a:srgbClr val="00264E"/>
                </a:solidFill>
                <a:effectLst/>
                <a:uLnTx/>
                <a:uFillTx/>
                <a:ea typeface="+mn-ea"/>
                <a:cs typeface="+mn-cs"/>
              </a:rPr>
              <a:t>Ester from natural Ethanol &amp; Shea Butter</a:t>
            </a:r>
            <a:endParaRPr lang="en-GB" sz="1400" b="0" i="0" u="none" strike="noStrike" kern="1200" cap="none" spc="-30" normalizeH="0" baseline="0" noProof="0" dirty="0">
              <a:ln>
                <a:noFill/>
              </a:ln>
              <a:solidFill>
                <a:srgbClr val="00264E"/>
              </a:solidFill>
              <a:effectLst/>
              <a:uLnTx/>
              <a:uFillTx/>
            </a:endParaRPr>
          </a:p>
          <a:p>
            <a:pPr marL="179070" indent="-179070">
              <a:defRPr/>
            </a:pPr>
            <a:r>
              <a:rPr lang="en-US" sz="1400" dirty="0"/>
              <a:t>Very similar sensory profile to low viscosity </a:t>
            </a:r>
            <a:r>
              <a:rPr lang="en-US" sz="1400" dirty="0" err="1"/>
              <a:t>dimethicones</a:t>
            </a:r>
            <a:r>
              <a:rPr lang="en-US" sz="1400" dirty="0"/>
              <a:t>, and commonly used plant-based esters and alkanes </a:t>
            </a:r>
          </a:p>
          <a:p>
            <a:pPr marL="179070" indent="-179070">
              <a:defRPr/>
            </a:pPr>
            <a:r>
              <a:rPr lang="en-US" sz="1400" b="1" dirty="0">
                <a:solidFill>
                  <a:srgbClr val="00264E"/>
                </a:solidFill>
              </a:rPr>
              <a:t>Skincare: </a:t>
            </a:r>
            <a:r>
              <a:rPr lang="en-US" sz="1400" dirty="0">
                <a:solidFill>
                  <a:srgbClr val="00264E"/>
                </a:solidFill>
              </a:rPr>
              <a:t>light texture, non-greasy finish, moisturizing, anti-soapy</a:t>
            </a:r>
          </a:p>
          <a:p>
            <a:pPr marL="179070" indent="-179070">
              <a:defRPr/>
            </a:pPr>
            <a:r>
              <a:rPr lang="en-US" sz="1400" b="1" dirty="0">
                <a:solidFill>
                  <a:srgbClr val="00264E"/>
                </a:solidFill>
              </a:rPr>
              <a:t>Haircare: </a:t>
            </a:r>
            <a:r>
              <a:rPr lang="en-US" sz="1400" dirty="0">
                <a:solidFill>
                  <a:srgbClr val="00264E"/>
                </a:solidFill>
              </a:rPr>
              <a:t>anti-frizz, shine and combing ease.</a:t>
            </a:r>
          </a:p>
        </p:txBody>
      </p:sp>
      <p:grpSp>
        <p:nvGrpSpPr>
          <p:cNvPr id="4" name="Group 19">
            <a:extLst>
              <a:ext uri="{FF2B5EF4-FFF2-40B4-BE49-F238E27FC236}">
                <a16:creationId xmlns:a16="http://schemas.microsoft.com/office/drawing/2014/main" id="{D624F292-061E-BFDF-F5E9-F5A1892EC221}"/>
              </a:ext>
            </a:extLst>
          </p:cNvPr>
          <p:cNvGrpSpPr>
            <a:grpSpLocks/>
          </p:cNvGrpSpPr>
          <p:nvPr/>
        </p:nvGrpSpPr>
        <p:grpSpPr>
          <a:xfrm>
            <a:off x="4574041" y="1387867"/>
            <a:ext cx="695200" cy="1104837"/>
            <a:chOff x="4567787" y="2228949"/>
            <a:chExt cx="572985" cy="936249"/>
          </a:xfrm>
        </p:grpSpPr>
        <p:pic>
          <p:nvPicPr>
            <p:cNvPr id="6" name="Picture 20" descr="Icon&#10;&#10;Description automatically generated">
              <a:extLst>
                <a:ext uri="{FF2B5EF4-FFF2-40B4-BE49-F238E27FC236}">
                  <a16:creationId xmlns:a16="http://schemas.microsoft.com/office/drawing/2014/main" id="{E4A5420D-54B1-C557-1CF7-DE1946CFFBBC}"/>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4567795" y="2228949"/>
              <a:ext cx="572977" cy="566881"/>
            </a:xfrm>
            <a:prstGeom prst="rect">
              <a:avLst/>
            </a:prstGeom>
          </p:spPr>
        </p:pic>
        <p:sp>
          <p:nvSpPr>
            <p:cNvPr id="8" name="TextBox 123">
              <a:extLst>
                <a:ext uri="{FF2B5EF4-FFF2-40B4-BE49-F238E27FC236}">
                  <a16:creationId xmlns:a16="http://schemas.microsoft.com/office/drawing/2014/main" id="{FE06B464-858F-DCA6-929A-C014ED26D65E}"/>
                </a:ext>
              </a:extLst>
            </p:cNvPr>
            <p:cNvSpPr txBox="1">
              <a:spLocks/>
            </p:cNvSpPr>
            <p:nvPr/>
          </p:nvSpPr>
          <p:spPr>
            <a:xfrm>
              <a:off x="4567787" y="2832799"/>
              <a:ext cx="572977" cy="332399"/>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dirty="0"/>
                <a:t>Functionality</a:t>
              </a:r>
            </a:p>
          </p:txBody>
        </p:sp>
      </p:grpSp>
    </p:spTree>
    <p:extLst>
      <p:ext uri="{BB962C8B-B14F-4D97-AF65-F5344CB8AC3E}">
        <p14:creationId xmlns:p14="http://schemas.microsoft.com/office/powerpoint/2010/main" val="34902319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87A0E40E-64D8-AF57-A695-A92920869601}"/>
            </a:ext>
          </a:extLst>
        </p:cNvPr>
        <p:cNvGrpSpPr/>
        <p:nvPr/>
      </p:nvGrpSpPr>
      <p:grpSpPr>
        <a:xfrm>
          <a:off x="0" y="0"/>
          <a:ext cx="0" cy="0"/>
          <a:chOff x="0" y="0"/>
          <a:chExt cx="0" cy="0"/>
        </a:xfrm>
      </p:grpSpPr>
      <p:sp>
        <p:nvSpPr>
          <p:cNvPr id="8" name="Rubrik 7">
            <a:extLst>
              <a:ext uri="{FF2B5EF4-FFF2-40B4-BE49-F238E27FC236}">
                <a16:creationId xmlns:a16="http://schemas.microsoft.com/office/drawing/2014/main" id="{AC62056C-457A-F7ED-6488-C4B694AAA8E6}"/>
              </a:ext>
            </a:extLst>
          </p:cNvPr>
          <p:cNvSpPr>
            <a:spLocks noGrp="1"/>
          </p:cNvSpPr>
          <p:nvPr>
            <p:ph type="title"/>
          </p:nvPr>
        </p:nvSpPr>
        <p:spPr>
          <a:xfrm>
            <a:off x="442913" y="221456"/>
            <a:ext cx="8624886" cy="775597"/>
          </a:xfrm>
        </p:spPr>
        <p:txBody>
          <a:bodyPr/>
          <a:lstStyle/>
          <a:p>
            <a:r>
              <a:rPr lang="en-US" dirty="0"/>
              <a:t>The benefits of LIPEX</a:t>
            </a:r>
            <a:r>
              <a:rPr lang="en-US" baseline="30000" dirty="0"/>
              <a:t>®</a:t>
            </a:r>
            <a:r>
              <a:rPr lang="en-US" dirty="0"/>
              <a:t> SheaLuxe TR</a:t>
            </a:r>
            <a:r>
              <a:rPr lang="en-GB" baseline="30000" dirty="0"/>
              <a:t>™</a:t>
            </a:r>
            <a:endParaRPr lang="en-US" dirty="0"/>
          </a:p>
        </p:txBody>
      </p:sp>
      <p:pic>
        <p:nvPicPr>
          <p:cNvPr id="17" name="Picture Placeholder 16">
            <a:extLst>
              <a:ext uri="{FF2B5EF4-FFF2-40B4-BE49-F238E27FC236}">
                <a16:creationId xmlns:a16="http://schemas.microsoft.com/office/drawing/2014/main" id="{DFBB4070-C447-47E3-0913-0D4860687890}"/>
              </a:ext>
            </a:extLst>
          </p:cNvPr>
          <p:cNvPicPr>
            <a:picLocks noGrp="1" noChangeAspect="1"/>
          </p:cNvPicPr>
          <p:nvPr>
            <p:ph type="pic" sz="quarter" idx="15"/>
          </p:nvPr>
        </p:nvPicPr>
        <p:blipFill>
          <a:blip r:embed="rId2"/>
          <a:srcRect l="10839" r="10839"/>
          <a:stretch/>
        </p:blipFill>
        <p:spPr>
          <a:xfrm>
            <a:off x="8611079" y="0"/>
            <a:ext cx="3580922" cy="6858000"/>
          </a:xfrm>
        </p:spPr>
      </p:pic>
      <p:sp>
        <p:nvSpPr>
          <p:cNvPr id="2" name="Platshållare för datum 1">
            <a:extLst>
              <a:ext uri="{FF2B5EF4-FFF2-40B4-BE49-F238E27FC236}">
                <a16:creationId xmlns:a16="http://schemas.microsoft.com/office/drawing/2014/main" id="{DE09BF85-AEAB-6FE6-ED32-479E9AC3262C}"/>
              </a:ext>
            </a:extLst>
          </p:cNvPr>
          <p:cNvSpPr>
            <a:spLocks noGrp="1"/>
          </p:cNvSpPr>
          <p:nvPr>
            <p:ph type="dt" sz="half" idx="2"/>
          </p:nvPr>
        </p:nvSpPr>
        <p:spPr>
          <a:xfrm>
            <a:off x="10727025" y="6461968"/>
            <a:ext cx="626774"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2DCDAF2-D32B-4959-9A14-0F980FBA07DD}" type="datetime1">
              <a:rPr lang="en-GB" sz="1000" smtClean="0">
                <a:solidFill>
                  <a:schemeClr val="bg1"/>
                </a:solidFill>
              </a:rPr>
              <a:pPr marL="0" marR="0" lvl="0" indent="0" algn="r" defTabSz="914400" rtl="0" eaLnBrk="1" fontAlgn="auto" latinLnBrk="0" hangingPunct="1">
                <a:lnSpc>
                  <a:spcPct val="100000"/>
                </a:lnSpc>
                <a:spcBef>
                  <a:spcPts val="0"/>
                </a:spcBef>
                <a:spcAft>
                  <a:spcPts val="0"/>
                </a:spcAft>
                <a:buClrTx/>
                <a:buSzTx/>
                <a:buFontTx/>
                <a:buNone/>
                <a:tabLst/>
                <a:defRPr/>
              </a:pPr>
              <a:t>18/06/2025</a:t>
            </a:fld>
            <a:endParaRPr kumimoji="0" lang="en-US" sz="1000" b="0" i="0" u="none" strike="noStrike" kern="1200" cap="none" spc="-30" normalizeH="0" baseline="0" noProof="0" dirty="0">
              <a:ln>
                <a:noFill/>
              </a:ln>
              <a:solidFill>
                <a:schemeClr val="bg1"/>
              </a:solidFill>
              <a:effectLst/>
              <a:uLnTx/>
              <a:uFillTx/>
              <a:latin typeface="Work Sans Light"/>
              <a:ea typeface="+mn-ea"/>
              <a:cs typeface="+mn-cs"/>
            </a:endParaRPr>
          </a:p>
        </p:txBody>
      </p:sp>
      <p:sp>
        <p:nvSpPr>
          <p:cNvPr id="4" name="Platshållare för bildnummer 3">
            <a:extLst>
              <a:ext uri="{FF2B5EF4-FFF2-40B4-BE49-F238E27FC236}">
                <a16:creationId xmlns:a16="http://schemas.microsoft.com/office/drawing/2014/main" id="{6EA89E9C-FBAB-32BC-5648-207388B7DE8B}"/>
              </a:ext>
            </a:extLst>
          </p:cNvPr>
          <p:cNvSpPr>
            <a:spLocks noGrp="1"/>
          </p:cNvSpPr>
          <p:nvPr>
            <p:ph type="sldNum" sz="quarter" idx="4"/>
          </p:nvPr>
        </p:nvSpPr>
        <p:spPr>
          <a:xfrm>
            <a:off x="11353800" y="6461968"/>
            <a:ext cx="395286" cy="153888"/>
          </a:xfrm>
          <a:prstGeom prst="rect">
            <a:avLst/>
          </a:prstGeom>
        </p:spPr>
        <p:txBody>
          <a:bodyPr vert="horz" wrap="squar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803DD7B-12C8-43B8-9F45-989336E79744}" type="slidenum">
              <a:rPr lang="en-US" sz="1000" smtClean="0">
                <a:solidFill>
                  <a:schemeClr val="bg1"/>
                </a:solidFill>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30" normalizeH="0" baseline="0" noProof="0">
              <a:ln>
                <a:noFill/>
              </a:ln>
              <a:solidFill>
                <a:schemeClr val="bg1"/>
              </a:solidFill>
              <a:effectLst/>
              <a:uLnTx/>
              <a:uFillTx/>
              <a:latin typeface="Work Sans Light"/>
              <a:ea typeface="+mn-ea"/>
              <a:cs typeface="+mn-cs"/>
            </a:endParaRPr>
          </a:p>
        </p:txBody>
      </p:sp>
      <p:sp>
        <p:nvSpPr>
          <p:cNvPr id="3" name="Platshållare för sidfot 2">
            <a:extLst>
              <a:ext uri="{FF2B5EF4-FFF2-40B4-BE49-F238E27FC236}">
                <a16:creationId xmlns:a16="http://schemas.microsoft.com/office/drawing/2014/main" id="{D60DC02C-94E5-01ED-E340-D9CC865EA98F}"/>
              </a:ext>
            </a:extLst>
          </p:cNvPr>
          <p:cNvSpPr>
            <a:spLocks noGrp="1"/>
          </p:cNvSpPr>
          <p:nvPr>
            <p:ph type="ftr" sz="quarter" idx="16"/>
          </p:nvPr>
        </p:nvSpPr>
        <p:spPr>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The Co-Development Company</a:t>
            </a:r>
            <a:endParaRPr kumimoji="0" lang="en-US" sz="1000" b="0" i="0" u="none" strike="noStrike" kern="1200" cap="none" spc="-30" normalizeH="0" baseline="0" noProof="0">
              <a:ln>
                <a:noFill/>
              </a:ln>
              <a:solidFill>
                <a:srgbClr val="2067CA"/>
              </a:solidFill>
              <a:effectLst/>
              <a:uLnTx/>
              <a:uFillTx/>
              <a:latin typeface="Work Sans Light"/>
              <a:ea typeface="+mn-ea"/>
              <a:cs typeface="+mn-cs"/>
            </a:endParaRPr>
          </a:p>
        </p:txBody>
      </p:sp>
      <p:pic>
        <p:nvPicPr>
          <p:cNvPr id="26" name="Picture 10" descr="A close-up of a white substance&#10;&#10;Description automatically generated with low confidence">
            <a:extLst>
              <a:ext uri="{FF2B5EF4-FFF2-40B4-BE49-F238E27FC236}">
                <a16:creationId xmlns:a16="http://schemas.microsoft.com/office/drawing/2014/main" id="{45B59525-9D2A-75AF-9858-956A101D221A}"/>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033333" y="2311501"/>
            <a:ext cx="2520000" cy="2520000"/>
          </a:xfrm>
          <a:prstGeom prst="ellipse">
            <a:avLst/>
          </a:prstGeom>
        </p:spPr>
      </p:pic>
      <p:sp>
        <p:nvSpPr>
          <p:cNvPr id="27" name="TextBox 34">
            <a:extLst>
              <a:ext uri="{FF2B5EF4-FFF2-40B4-BE49-F238E27FC236}">
                <a16:creationId xmlns:a16="http://schemas.microsoft.com/office/drawing/2014/main" id="{B2B6535A-E7FD-20B9-E2E6-7D40762A317B}"/>
              </a:ext>
            </a:extLst>
          </p:cNvPr>
          <p:cNvSpPr txBox="1">
            <a:spLocks noChangeAspect="1"/>
          </p:cNvSpPr>
          <p:nvPr/>
        </p:nvSpPr>
        <p:spPr>
          <a:xfrm>
            <a:off x="3189197" y="3085994"/>
            <a:ext cx="224434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067CA"/>
                </a:solidFill>
                <a:effectLst/>
                <a:uLnTx/>
                <a:uFillTx/>
                <a:latin typeface="Work Sans Regular Roman" pitchFamily="2" charset="77"/>
                <a:ea typeface="+mn-ea"/>
                <a:cs typeface="+mn-cs"/>
              </a:rPr>
              <a:t>LIPEX</a:t>
            </a:r>
            <a:r>
              <a:rPr kumimoji="0" lang="en-US" sz="2400" b="0" i="0" u="none" strike="noStrike" kern="1200" cap="none" spc="0" normalizeH="0" baseline="30000" noProof="0" dirty="0">
                <a:ln>
                  <a:noFill/>
                </a:ln>
                <a:solidFill>
                  <a:srgbClr val="2067CA"/>
                </a:solidFill>
                <a:effectLst/>
                <a:uLnTx/>
                <a:uFillTx/>
                <a:latin typeface="Work Sans Regular Roman" pitchFamily="2" charset="77"/>
                <a:ea typeface="+mn-ea"/>
                <a:cs typeface="+mn-cs"/>
              </a:rPr>
              <a:t>®</a:t>
            </a:r>
            <a:r>
              <a:rPr kumimoji="0" lang="en-US" sz="2400" b="0" i="0" u="none" strike="noStrike" kern="1200" cap="none" spc="0" normalizeH="0" baseline="0" noProof="0" dirty="0">
                <a:ln>
                  <a:noFill/>
                </a:ln>
                <a:solidFill>
                  <a:srgbClr val="2067CA"/>
                </a:solidFill>
                <a:effectLst/>
                <a:uLnTx/>
                <a:uFillTx/>
                <a:latin typeface="Work Sans Regular Roman" pitchFamily="2" charset="77"/>
                <a:ea typeface="+mn-ea"/>
                <a:cs typeface="+mn-cs"/>
              </a:rPr>
              <a:t> Shea</a:t>
            </a:r>
            <a:r>
              <a:rPr lang="en-US" sz="2400" dirty="0">
                <a:solidFill>
                  <a:srgbClr val="2067CA"/>
                </a:solidFill>
                <a:latin typeface="Work Sans Regular Roman" pitchFamily="2" charset="77"/>
              </a:rPr>
              <a:t>S</a:t>
            </a:r>
            <a:r>
              <a:rPr kumimoji="0" lang="en-US" sz="2400" b="0" i="0" u="none" strike="noStrike" kern="1200" cap="none" spc="0" normalizeH="0" baseline="0" noProof="0" dirty="0" err="1">
                <a:ln>
                  <a:noFill/>
                </a:ln>
                <a:solidFill>
                  <a:srgbClr val="2067CA"/>
                </a:solidFill>
                <a:effectLst/>
                <a:uLnTx/>
                <a:uFillTx/>
                <a:latin typeface="Work Sans Regular Roman" pitchFamily="2" charset="77"/>
                <a:ea typeface="+mn-ea"/>
                <a:cs typeface="+mn-cs"/>
              </a:rPr>
              <a:t>olve</a:t>
            </a:r>
            <a:endParaRPr kumimoji="0" lang="en-US" sz="2400" b="0" i="0" u="none" strike="noStrike" kern="1200" cap="none" spc="0" normalizeH="0" baseline="30000" noProof="0" dirty="0">
              <a:ln>
                <a:noFill/>
              </a:ln>
              <a:solidFill>
                <a:srgbClr val="2067CA"/>
              </a:solidFill>
              <a:effectLst/>
              <a:uLnTx/>
              <a:uFillTx/>
              <a:latin typeface="Work Sans Regular Roman" pitchFamily="2" charset="77"/>
              <a:ea typeface="Helvetica Neue" panose="02000503000000020004" pitchFamily="2" charset="0"/>
              <a:cs typeface="Helvetica Neue" panose="02000503000000020004" pitchFamily="2" charset="0"/>
            </a:endParaRPr>
          </a:p>
        </p:txBody>
      </p:sp>
      <p:grpSp>
        <p:nvGrpSpPr>
          <p:cNvPr id="32" name="Group 31">
            <a:extLst>
              <a:ext uri="{FF2B5EF4-FFF2-40B4-BE49-F238E27FC236}">
                <a16:creationId xmlns:a16="http://schemas.microsoft.com/office/drawing/2014/main" id="{02CA61E3-27A2-257A-BF2C-7259043088A7}"/>
              </a:ext>
            </a:extLst>
          </p:cNvPr>
          <p:cNvGrpSpPr/>
          <p:nvPr/>
        </p:nvGrpSpPr>
        <p:grpSpPr>
          <a:xfrm>
            <a:off x="4634986" y="1462757"/>
            <a:ext cx="1449975" cy="1440000"/>
            <a:chOff x="5128171" y="2179392"/>
            <a:chExt cx="1449975" cy="1440000"/>
          </a:xfrm>
        </p:grpSpPr>
        <p:sp>
          <p:nvSpPr>
            <p:cNvPr id="33" name="Oval 29">
              <a:extLst>
                <a:ext uri="{FF2B5EF4-FFF2-40B4-BE49-F238E27FC236}">
                  <a16:creationId xmlns:a16="http://schemas.microsoft.com/office/drawing/2014/main" id="{CD93603A-9083-058E-8454-9A138D0D423A}"/>
                </a:ext>
              </a:extLst>
            </p:cNvPr>
            <p:cNvSpPr>
              <a:spLocks noChangeAspect="1"/>
            </p:cNvSpPr>
            <p:nvPr/>
          </p:nvSpPr>
          <p:spPr>
            <a:xfrm>
              <a:off x="5128171" y="2179392"/>
              <a:ext cx="1440000" cy="1440000"/>
            </a:xfrm>
            <a:prstGeom prst="ellipse">
              <a:avLst/>
            </a:prstGeom>
            <a:solidFill>
              <a:schemeClr val="accent5"/>
            </a:solidFill>
            <a:ln w="31750">
              <a:noFill/>
            </a:ln>
          </p:spPr>
          <p:style>
            <a:lnRef idx="2">
              <a:schemeClr val="accent3">
                <a:shade val="50000"/>
              </a:schemeClr>
            </a:lnRef>
            <a:fillRef idx="1">
              <a:schemeClr val="accent3"/>
            </a:fillRef>
            <a:effectRef idx="0">
              <a:schemeClr val="accent3"/>
            </a:effectRef>
            <a:fontRef idx="minor">
              <a:schemeClr val="lt1"/>
            </a:fontRef>
          </p:style>
          <p:txBody>
            <a:bodyPr lIns="0" tIns="0" rIns="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Work Sans Medium Roman" pitchFamily="2" charset="0"/>
                <a:ea typeface="+mn-ea"/>
                <a:cs typeface="+mn-cs"/>
              </a:endParaRPr>
            </a:p>
          </p:txBody>
        </p:sp>
        <p:sp>
          <p:nvSpPr>
            <p:cNvPr id="42" name="TextBox 41">
              <a:extLst>
                <a:ext uri="{FF2B5EF4-FFF2-40B4-BE49-F238E27FC236}">
                  <a16:creationId xmlns:a16="http://schemas.microsoft.com/office/drawing/2014/main" id="{3A7ACC76-1425-64BC-4A0E-BA9578170D96}"/>
                </a:ext>
              </a:extLst>
            </p:cNvPr>
            <p:cNvSpPr txBox="1"/>
            <p:nvPr/>
          </p:nvSpPr>
          <p:spPr>
            <a:xfrm>
              <a:off x="5138146" y="2747845"/>
              <a:ext cx="1440000" cy="246221"/>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Work Sans Light"/>
                <a:ea typeface="Helvetica Neue" panose="02000503000000020004" pitchFamily="2" charset="0"/>
                <a:cs typeface="Helvetica Neue" panose="02000503000000020004" pitchFamily="2" charset="0"/>
              </a:endParaRPr>
            </a:p>
          </p:txBody>
        </p:sp>
      </p:grpSp>
      <p:grpSp>
        <p:nvGrpSpPr>
          <p:cNvPr id="49" name="Group 48">
            <a:extLst>
              <a:ext uri="{FF2B5EF4-FFF2-40B4-BE49-F238E27FC236}">
                <a16:creationId xmlns:a16="http://schemas.microsoft.com/office/drawing/2014/main" id="{8F6387AE-2C60-C0C4-316B-AA691A19C217}"/>
              </a:ext>
            </a:extLst>
          </p:cNvPr>
          <p:cNvGrpSpPr/>
          <p:nvPr/>
        </p:nvGrpSpPr>
        <p:grpSpPr>
          <a:xfrm>
            <a:off x="4639145" y="4100570"/>
            <a:ext cx="1450747" cy="1440000"/>
            <a:chOff x="5278859" y="4956585"/>
            <a:chExt cx="1450747" cy="1440000"/>
          </a:xfrm>
        </p:grpSpPr>
        <p:sp>
          <p:nvSpPr>
            <p:cNvPr id="50" name="Oval 32">
              <a:extLst>
                <a:ext uri="{FF2B5EF4-FFF2-40B4-BE49-F238E27FC236}">
                  <a16:creationId xmlns:a16="http://schemas.microsoft.com/office/drawing/2014/main" id="{005E7CC1-742B-E325-7BF5-37D35BB8C125}"/>
                </a:ext>
              </a:extLst>
            </p:cNvPr>
            <p:cNvSpPr>
              <a:spLocks/>
            </p:cNvSpPr>
            <p:nvPr/>
          </p:nvSpPr>
          <p:spPr>
            <a:xfrm>
              <a:off x="5289606" y="4956585"/>
              <a:ext cx="1440000" cy="1440000"/>
            </a:xfrm>
            <a:prstGeom prst="ellipse">
              <a:avLst/>
            </a:prstGeom>
            <a:solidFill>
              <a:schemeClr val="accent5"/>
            </a:solidFill>
            <a:ln w="31750">
              <a:noFill/>
            </a:ln>
          </p:spPr>
          <p:style>
            <a:lnRef idx="2">
              <a:schemeClr val="accent3">
                <a:shade val="50000"/>
              </a:schemeClr>
            </a:lnRef>
            <a:fillRef idx="1">
              <a:schemeClr val="accent3"/>
            </a:fillRef>
            <a:effectRef idx="0">
              <a:schemeClr val="accent3"/>
            </a:effectRef>
            <a:fontRef idx="minor">
              <a:schemeClr val="lt1"/>
            </a:fontRef>
          </p:style>
          <p:txBody>
            <a:bodyPr lIns="0" tIns="0" rIns="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Work Sans Medium Roman" pitchFamily="2" charset="0"/>
                <a:ea typeface="+mn-ea"/>
                <a:cs typeface="+mn-cs"/>
              </a:endParaRPr>
            </a:p>
          </p:txBody>
        </p:sp>
        <p:sp>
          <p:nvSpPr>
            <p:cNvPr id="51" name="TextBox 50">
              <a:extLst>
                <a:ext uri="{FF2B5EF4-FFF2-40B4-BE49-F238E27FC236}">
                  <a16:creationId xmlns:a16="http://schemas.microsoft.com/office/drawing/2014/main" id="{FAF620B9-FCA5-4C6A-A07A-3885D36BFD91}"/>
                </a:ext>
              </a:extLst>
            </p:cNvPr>
            <p:cNvSpPr txBox="1"/>
            <p:nvPr/>
          </p:nvSpPr>
          <p:spPr>
            <a:xfrm>
              <a:off x="5278859" y="5417221"/>
              <a:ext cx="1440000" cy="461665"/>
            </a:xfrm>
            <a:prstGeom prst="rect">
              <a:avLst/>
            </a:prstGeom>
            <a:noFill/>
            <a:ln>
              <a:noFill/>
            </a:ln>
          </p:spPr>
          <p:txBody>
            <a:bodyPr wrap="square" lIns="0" tIns="0" rIns="0" bIns="0" rtlCol="0">
              <a:spAutoFit/>
            </a:bodyPr>
            <a:lstStyle/>
            <a:p>
              <a:pPr algn="ctr">
                <a:buClr>
                  <a:schemeClr val="tx2"/>
                </a:buClr>
              </a:pPr>
              <a:r>
                <a:rPr lang="fr-FR" sz="1500" b="1" spc="-30" dirty="0">
                  <a:solidFill>
                    <a:schemeClr val="bg1"/>
                  </a:solidFill>
                </a:rPr>
                <a:t>Formulation </a:t>
              </a:r>
              <a:r>
                <a:rPr lang="fr-FR" sz="1500" b="1" spc="-30" dirty="0" err="1">
                  <a:solidFill>
                    <a:schemeClr val="bg1"/>
                  </a:solidFill>
                </a:rPr>
                <a:t>flexibility</a:t>
              </a:r>
              <a:endParaRPr lang="fr-FR" sz="1500" b="1" spc="-30" dirty="0">
                <a:solidFill>
                  <a:schemeClr val="bg1"/>
                </a:solidFill>
              </a:endParaRPr>
            </a:p>
          </p:txBody>
        </p:sp>
      </p:grpSp>
      <p:sp>
        <p:nvSpPr>
          <p:cNvPr id="52" name="TextBox 21">
            <a:extLst>
              <a:ext uri="{FF2B5EF4-FFF2-40B4-BE49-F238E27FC236}">
                <a16:creationId xmlns:a16="http://schemas.microsoft.com/office/drawing/2014/main" id="{EF297191-407F-9803-70E1-2BEE6C479860}"/>
              </a:ext>
            </a:extLst>
          </p:cNvPr>
          <p:cNvSpPr txBox="1"/>
          <p:nvPr/>
        </p:nvSpPr>
        <p:spPr>
          <a:xfrm>
            <a:off x="6518299" y="1678887"/>
            <a:ext cx="2545216" cy="969496"/>
          </a:xfrm>
          <a:prstGeom prst="rect">
            <a:avLst/>
          </a:prstGeom>
          <a:noFill/>
          <a:ln>
            <a:noFill/>
          </a:ln>
        </p:spPr>
        <p:txBody>
          <a:bodyPr wrap="square" lIns="0" tIns="0" rIns="0" bIns="0" rtlCol="0" anchor="t">
            <a:spAutoFit/>
          </a:bodyPr>
          <a:lstStyle>
            <a:defPPr>
              <a:defRPr lang="en-US"/>
            </a:defPPr>
            <a:lvl1pPr>
              <a:defRPr sz="1400"/>
            </a:lvl1pPr>
          </a:lstStyle>
          <a:p>
            <a:pPr marL="179705" marR="0" lvl="0" indent="-17970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64E"/>
                </a:solidFill>
                <a:effectLst/>
                <a:uLnTx/>
                <a:uFillTx/>
                <a:latin typeface="Work Sans Light"/>
                <a:ea typeface="+mn-ea"/>
                <a:cs typeface="+mn-cs"/>
              </a:rPr>
              <a:t>Anti-frizz</a:t>
            </a:r>
          </a:p>
          <a:p>
            <a:pPr marL="179705" indent="-179705">
              <a:spcAft>
                <a:spcPts val="600"/>
              </a:spcAft>
              <a:buFont typeface="Arial" panose="020B0604020202020204" pitchFamily="34" charset="0"/>
              <a:buChar char="•"/>
              <a:defRPr/>
            </a:pPr>
            <a:r>
              <a:rPr lang="en-US" sz="1200" dirty="0">
                <a:solidFill>
                  <a:srgbClr val="00264E"/>
                </a:solidFill>
                <a:latin typeface="Work Sans Light"/>
              </a:rPr>
              <a:t>Shine</a:t>
            </a:r>
            <a:endParaRPr kumimoji="0" lang="en-US" sz="1200" b="0" i="0" u="none" strike="noStrike" kern="1200" cap="none" spc="0" normalizeH="0" baseline="0" noProof="0" dirty="0">
              <a:ln>
                <a:noFill/>
              </a:ln>
              <a:solidFill>
                <a:srgbClr val="00264E"/>
              </a:solidFill>
              <a:effectLst/>
              <a:uLnTx/>
              <a:uFillTx/>
              <a:latin typeface="Work Sans Light"/>
              <a:ea typeface="+mn-ea"/>
              <a:cs typeface="+mn-cs"/>
            </a:endParaRPr>
          </a:p>
          <a:p>
            <a:pPr marL="179705" marR="0" lvl="0" indent="-17970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64E"/>
                </a:solidFill>
                <a:effectLst/>
                <a:uLnTx/>
                <a:uFillTx/>
                <a:latin typeface="Work Sans Light"/>
                <a:ea typeface="+mn-ea"/>
                <a:cs typeface="+mn-cs"/>
              </a:rPr>
              <a:t>Combing ease</a:t>
            </a:r>
          </a:p>
          <a:p>
            <a:pPr marL="179705" marR="0" lvl="0" indent="-17970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solidFill>
                  <a:srgbClr val="00264E"/>
                </a:solidFill>
                <a:latin typeface="Work Sans Light"/>
              </a:rPr>
              <a:t>Lightweight, non greasy textures</a:t>
            </a:r>
            <a:endParaRPr kumimoji="0" lang="en-US" sz="1200" b="0" i="0" u="none" strike="noStrike" kern="1200" cap="none" spc="0" normalizeH="0" baseline="0" noProof="0" dirty="0">
              <a:ln>
                <a:noFill/>
              </a:ln>
              <a:solidFill>
                <a:srgbClr val="00264E"/>
              </a:solidFill>
              <a:effectLst/>
              <a:uLnTx/>
              <a:uFillTx/>
              <a:latin typeface="Work Sans Light"/>
              <a:ea typeface="+mn-ea"/>
              <a:cs typeface="+mn-cs"/>
            </a:endParaRPr>
          </a:p>
        </p:txBody>
      </p:sp>
      <p:cxnSp>
        <p:nvCxnSpPr>
          <p:cNvPr id="59" name="Straight Connector 30">
            <a:extLst>
              <a:ext uri="{FF2B5EF4-FFF2-40B4-BE49-F238E27FC236}">
                <a16:creationId xmlns:a16="http://schemas.microsoft.com/office/drawing/2014/main" id="{28A14E26-1D2C-0A26-BA31-BC9F7DECAC45}"/>
              </a:ext>
            </a:extLst>
          </p:cNvPr>
          <p:cNvCxnSpPr>
            <a:cxnSpLocks/>
          </p:cNvCxnSpPr>
          <p:nvPr/>
        </p:nvCxnSpPr>
        <p:spPr>
          <a:xfrm flipH="1" flipV="1">
            <a:off x="2167057" y="4791462"/>
            <a:ext cx="360000" cy="0"/>
          </a:xfrm>
          <a:prstGeom prst="line">
            <a:avLst/>
          </a:prstGeom>
          <a:ln>
            <a:solidFill>
              <a:srgbClr val="FF8300"/>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29">
            <a:extLst>
              <a:ext uri="{FF2B5EF4-FFF2-40B4-BE49-F238E27FC236}">
                <a16:creationId xmlns:a16="http://schemas.microsoft.com/office/drawing/2014/main" id="{BBD0C189-BD46-4D52-2D08-7B37854C7B06}"/>
              </a:ext>
            </a:extLst>
          </p:cNvPr>
          <p:cNvCxnSpPr>
            <a:cxnSpLocks/>
          </p:cNvCxnSpPr>
          <p:nvPr/>
        </p:nvCxnSpPr>
        <p:spPr>
          <a:xfrm>
            <a:off x="6359680" y="3805372"/>
            <a:ext cx="0" cy="2124000"/>
          </a:xfrm>
          <a:prstGeom prst="line">
            <a:avLst/>
          </a:prstGeom>
          <a:ln>
            <a:solidFill>
              <a:srgbClr val="FF8300"/>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30">
            <a:extLst>
              <a:ext uri="{FF2B5EF4-FFF2-40B4-BE49-F238E27FC236}">
                <a16:creationId xmlns:a16="http://schemas.microsoft.com/office/drawing/2014/main" id="{04C3414D-2E61-0ADC-15B8-A51F8456BFC4}"/>
              </a:ext>
            </a:extLst>
          </p:cNvPr>
          <p:cNvCxnSpPr>
            <a:cxnSpLocks/>
          </p:cNvCxnSpPr>
          <p:nvPr/>
        </p:nvCxnSpPr>
        <p:spPr>
          <a:xfrm>
            <a:off x="5985760" y="4807897"/>
            <a:ext cx="380209" cy="0"/>
          </a:xfrm>
          <a:prstGeom prst="line">
            <a:avLst/>
          </a:prstGeom>
          <a:ln>
            <a:solidFill>
              <a:srgbClr val="FF8300"/>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29">
            <a:extLst>
              <a:ext uri="{FF2B5EF4-FFF2-40B4-BE49-F238E27FC236}">
                <a16:creationId xmlns:a16="http://schemas.microsoft.com/office/drawing/2014/main" id="{8BF6CF25-202E-83B8-9C13-8DFC0EAC0DE0}"/>
              </a:ext>
            </a:extLst>
          </p:cNvPr>
          <p:cNvCxnSpPr>
            <a:cxnSpLocks/>
          </p:cNvCxnSpPr>
          <p:nvPr/>
        </p:nvCxnSpPr>
        <p:spPr>
          <a:xfrm flipH="1" flipV="1">
            <a:off x="2173550" y="4059762"/>
            <a:ext cx="0" cy="1476000"/>
          </a:xfrm>
          <a:prstGeom prst="line">
            <a:avLst/>
          </a:prstGeom>
          <a:ln>
            <a:solidFill>
              <a:srgbClr val="FF8300"/>
            </a:solidFill>
            <a:miter lim="800000"/>
          </a:ln>
        </p:spPr>
        <p:style>
          <a:lnRef idx="1">
            <a:schemeClr val="accent1"/>
          </a:lnRef>
          <a:fillRef idx="0">
            <a:schemeClr val="accent1"/>
          </a:fillRef>
          <a:effectRef idx="0">
            <a:schemeClr val="accent1"/>
          </a:effectRef>
          <a:fontRef idx="minor">
            <a:schemeClr val="tx1"/>
          </a:fontRef>
        </p:style>
      </p:cxnSp>
      <p:sp>
        <p:nvSpPr>
          <p:cNvPr id="12" name="TextBox 20">
            <a:extLst>
              <a:ext uri="{FF2B5EF4-FFF2-40B4-BE49-F238E27FC236}">
                <a16:creationId xmlns:a16="http://schemas.microsoft.com/office/drawing/2014/main" id="{2A585664-8B41-409B-738F-262FBAC865ED}"/>
              </a:ext>
            </a:extLst>
          </p:cNvPr>
          <p:cNvSpPr txBox="1"/>
          <p:nvPr/>
        </p:nvSpPr>
        <p:spPr>
          <a:xfrm>
            <a:off x="316390" y="1650151"/>
            <a:ext cx="1915746" cy="1231106"/>
          </a:xfrm>
          <a:prstGeom prst="rect">
            <a:avLst/>
          </a:prstGeom>
          <a:noFill/>
          <a:ln>
            <a:noFill/>
          </a:ln>
        </p:spPr>
        <p:txBody>
          <a:bodyPr wrap="square" lIns="0" tIns="0" rIns="0" bIns="0" rtlCol="0">
            <a:spAutoFit/>
          </a:bodyPr>
          <a:lstStyle/>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64E"/>
                </a:solidFill>
                <a:effectLst/>
                <a:uLnTx/>
                <a:uFillTx/>
                <a:latin typeface="Work Sans Light"/>
                <a:ea typeface="+mn-ea"/>
                <a:cs typeface="+mn-cs"/>
              </a:rPr>
              <a:t>Lightweight textures</a:t>
            </a:r>
          </a:p>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solidFill>
                  <a:srgbClr val="00264E"/>
                </a:solidFill>
                <a:latin typeface="Work Sans Light"/>
              </a:rPr>
              <a:t>Evanescent after feel</a:t>
            </a:r>
          </a:p>
          <a:p>
            <a:pPr marL="179705" marR="0" lvl="0" indent="-17970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64E"/>
                </a:solidFill>
                <a:effectLst/>
                <a:uLnTx/>
                <a:uFillTx/>
                <a:latin typeface="Work Sans Light"/>
                <a:ea typeface="+mn-ea"/>
                <a:cs typeface="+mn-cs"/>
              </a:rPr>
              <a:t>Moisturization</a:t>
            </a:r>
          </a:p>
          <a:p>
            <a:pPr marL="179705" marR="0" lvl="0" indent="-17970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64E"/>
                </a:solidFill>
                <a:effectLst/>
                <a:uLnTx/>
                <a:uFillTx/>
                <a:latin typeface="Work Sans Light"/>
                <a:ea typeface="+mn-ea"/>
                <a:cs typeface="+mn-cs"/>
              </a:rPr>
              <a:t>Anti-soaping effect</a:t>
            </a:r>
            <a:endParaRPr lang="en-US" sz="1200" dirty="0">
              <a:solidFill>
                <a:srgbClr val="00264E"/>
              </a:solidFill>
              <a:latin typeface="Work Sans Light"/>
            </a:endParaRPr>
          </a:p>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264E"/>
              </a:solidFill>
              <a:effectLst/>
              <a:uLnTx/>
              <a:uFillTx/>
              <a:latin typeface="Work Sans Light"/>
              <a:ea typeface="+mn-ea"/>
              <a:cs typeface="+mn-cs"/>
            </a:endParaRPr>
          </a:p>
        </p:txBody>
      </p:sp>
      <p:cxnSp>
        <p:nvCxnSpPr>
          <p:cNvPr id="13" name="Straight Connector 29">
            <a:extLst>
              <a:ext uri="{FF2B5EF4-FFF2-40B4-BE49-F238E27FC236}">
                <a16:creationId xmlns:a16="http://schemas.microsoft.com/office/drawing/2014/main" id="{907016A1-2DF9-0626-48CA-04B2BE76E954}"/>
              </a:ext>
            </a:extLst>
          </p:cNvPr>
          <p:cNvCxnSpPr>
            <a:cxnSpLocks/>
          </p:cNvCxnSpPr>
          <p:nvPr/>
        </p:nvCxnSpPr>
        <p:spPr>
          <a:xfrm>
            <a:off x="6340288" y="1472065"/>
            <a:ext cx="0" cy="1296000"/>
          </a:xfrm>
          <a:prstGeom prst="line">
            <a:avLst/>
          </a:prstGeom>
          <a:ln>
            <a:solidFill>
              <a:srgbClr val="FF8300"/>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30">
            <a:extLst>
              <a:ext uri="{FF2B5EF4-FFF2-40B4-BE49-F238E27FC236}">
                <a16:creationId xmlns:a16="http://schemas.microsoft.com/office/drawing/2014/main" id="{C3281760-380B-7E1C-D472-AC8A67350F5A}"/>
              </a:ext>
            </a:extLst>
          </p:cNvPr>
          <p:cNvCxnSpPr>
            <a:cxnSpLocks/>
          </p:cNvCxnSpPr>
          <p:nvPr/>
        </p:nvCxnSpPr>
        <p:spPr>
          <a:xfrm>
            <a:off x="5950886" y="2130790"/>
            <a:ext cx="396000" cy="0"/>
          </a:xfrm>
          <a:prstGeom prst="line">
            <a:avLst/>
          </a:prstGeom>
          <a:ln>
            <a:solidFill>
              <a:srgbClr val="FF8300"/>
            </a:solidFill>
            <a:miter lim="800000"/>
          </a:ln>
        </p:spPr>
        <p:style>
          <a:lnRef idx="1">
            <a:schemeClr val="accent1"/>
          </a:lnRef>
          <a:fillRef idx="0">
            <a:schemeClr val="accent1"/>
          </a:fillRef>
          <a:effectRef idx="0">
            <a:schemeClr val="accent1"/>
          </a:effectRef>
          <a:fontRef idx="minor">
            <a:schemeClr val="tx1"/>
          </a:fontRef>
        </p:style>
      </p:cxnSp>
      <p:sp>
        <p:nvSpPr>
          <p:cNvPr id="15" name="Oval 29">
            <a:extLst>
              <a:ext uri="{FF2B5EF4-FFF2-40B4-BE49-F238E27FC236}">
                <a16:creationId xmlns:a16="http://schemas.microsoft.com/office/drawing/2014/main" id="{266EADF7-AB34-607B-CD0A-7D119343C5D5}"/>
              </a:ext>
            </a:extLst>
          </p:cNvPr>
          <p:cNvSpPr>
            <a:spLocks noChangeAspect="1"/>
          </p:cNvSpPr>
          <p:nvPr/>
        </p:nvSpPr>
        <p:spPr>
          <a:xfrm>
            <a:off x="2413601" y="4100570"/>
            <a:ext cx="1440000" cy="1440000"/>
          </a:xfrm>
          <a:prstGeom prst="ellipse">
            <a:avLst/>
          </a:prstGeom>
          <a:solidFill>
            <a:schemeClr val="accent5"/>
          </a:solidFill>
          <a:ln w="31750">
            <a:noFill/>
          </a:ln>
        </p:spPr>
        <p:style>
          <a:lnRef idx="2">
            <a:schemeClr val="accent3">
              <a:shade val="50000"/>
            </a:schemeClr>
          </a:lnRef>
          <a:fillRef idx="1">
            <a:schemeClr val="accent3"/>
          </a:fillRef>
          <a:effectRef idx="0">
            <a:schemeClr val="accent3"/>
          </a:effectRef>
          <a:fontRef idx="minor">
            <a:schemeClr val="lt1"/>
          </a:fontRef>
        </p:style>
        <p:txBody>
          <a:bodyPr lIns="0" tIns="0" rIns="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Work Sans Medium Roman" pitchFamily="2" charset="0"/>
              <a:ea typeface="+mn-ea"/>
              <a:cs typeface="+mn-cs"/>
            </a:endParaRPr>
          </a:p>
        </p:txBody>
      </p:sp>
      <p:sp>
        <p:nvSpPr>
          <p:cNvPr id="16" name="TextBox 15">
            <a:extLst>
              <a:ext uri="{FF2B5EF4-FFF2-40B4-BE49-F238E27FC236}">
                <a16:creationId xmlns:a16="http://schemas.microsoft.com/office/drawing/2014/main" id="{5A957AB4-423D-9577-9FF6-32FDF63C3071}"/>
              </a:ext>
            </a:extLst>
          </p:cNvPr>
          <p:cNvSpPr txBox="1"/>
          <p:nvPr/>
        </p:nvSpPr>
        <p:spPr>
          <a:xfrm>
            <a:off x="2371424" y="4675041"/>
            <a:ext cx="1440000" cy="215444"/>
          </a:xfrm>
          <a:prstGeom prst="rect">
            <a:avLst/>
          </a:prstGeom>
          <a:noFill/>
          <a:ln>
            <a:noFill/>
          </a:ln>
        </p:spPr>
        <p:txBody>
          <a:bodyPr wrap="square" lIns="0" tIns="0" rIns="0" bIns="0" rtlCol="0">
            <a:spAutoFit/>
          </a:bodyPr>
          <a:lstStyle/>
          <a:p>
            <a:pPr algn="ctr">
              <a:buClr>
                <a:schemeClr val="tx2"/>
              </a:buClr>
            </a:pPr>
            <a:r>
              <a:rPr lang="fr-FR" sz="1400" b="1" spc="-30" dirty="0" err="1">
                <a:solidFill>
                  <a:schemeClr val="bg1"/>
                </a:solidFill>
              </a:rPr>
              <a:t>Sustainability</a:t>
            </a:r>
            <a:endParaRPr lang="fr-FR" sz="1400" b="1" spc="-30" dirty="0">
              <a:solidFill>
                <a:schemeClr val="bg1"/>
              </a:solidFill>
            </a:endParaRPr>
          </a:p>
        </p:txBody>
      </p:sp>
      <p:grpSp>
        <p:nvGrpSpPr>
          <p:cNvPr id="5" name="Group 4">
            <a:extLst>
              <a:ext uri="{FF2B5EF4-FFF2-40B4-BE49-F238E27FC236}">
                <a16:creationId xmlns:a16="http://schemas.microsoft.com/office/drawing/2014/main" id="{5ADECB79-4D72-DED1-D16C-055EA1B1EEFE}"/>
              </a:ext>
            </a:extLst>
          </p:cNvPr>
          <p:cNvGrpSpPr/>
          <p:nvPr/>
        </p:nvGrpSpPr>
        <p:grpSpPr>
          <a:xfrm>
            <a:off x="2399089" y="1462757"/>
            <a:ext cx="1440450" cy="1440000"/>
            <a:chOff x="5128171" y="2179392"/>
            <a:chExt cx="1440450" cy="1440000"/>
          </a:xfrm>
        </p:grpSpPr>
        <p:sp>
          <p:nvSpPr>
            <p:cNvPr id="6" name="Oval 29">
              <a:extLst>
                <a:ext uri="{FF2B5EF4-FFF2-40B4-BE49-F238E27FC236}">
                  <a16:creationId xmlns:a16="http://schemas.microsoft.com/office/drawing/2014/main" id="{1A5395E4-68DA-CCB3-F3AC-A8931D0CC7A9}"/>
                </a:ext>
              </a:extLst>
            </p:cNvPr>
            <p:cNvSpPr>
              <a:spLocks noChangeAspect="1"/>
            </p:cNvSpPr>
            <p:nvPr/>
          </p:nvSpPr>
          <p:spPr>
            <a:xfrm>
              <a:off x="5128171" y="2179392"/>
              <a:ext cx="1440000" cy="1440000"/>
            </a:xfrm>
            <a:prstGeom prst="ellipse">
              <a:avLst/>
            </a:prstGeom>
            <a:solidFill>
              <a:schemeClr val="accent5"/>
            </a:solidFill>
            <a:ln w="31750">
              <a:noFill/>
            </a:ln>
          </p:spPr>
          <p:style>
            <a:lnRef idx="2">
              <a:schemeClr val="accent3">
                <a:shade val="50000"/>
              </a:schemeClr>
            </a:lnRef>
            <a:fillRef idx="1">
              <a:schemeClr val="accent3"/>
            </a:fillRef>
            <a:effectRef idx="0">
              <a:schemeClr val="accent3"/>
            </a:effectRef>
            <a:fontRef idx="minor">
              <a:schemeClr val="lt1"/>
            </a:fontRef>
          </p:style>
          <p:txBody>
            <a:bodyPr lIns="0" tIns="0" rIns="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Work Sans Medium Roman" pitchFamily="2" charset="0"/>
                <a:ea typeface="+mn-ea"/>
                <a:cs typeface="+mn-cs"/>
              </a:endParaRPr>
            </a:p>
          </p:txBody>
        </p:sp>
        <p:sp>
          <p:nvSpPr>
            <p:cNvPr id="7" name="TextBox 6">
              <a:extLst>
                <a:ext uri="{FF2B5EF4-FFF2-40B4-BE49-F238E27FC236}">
                  <a16:creationId xmlns:a16="http://schemas.microsoft.com/office/drawing/2014/main" id="{CDDDEF33-54AB-2B4E-9638-8C04C696D1BC}"/>
                </a:ext>
              </a:extLst>
            </p:cNvPr>
            <p:cNvSpPr txBox="1"/>
            <p:nvPr/>
          </p:nvSpPr>
          <p:spPr>
            <a:xfrm>
              <a:off x="5128621" y="2766895"/>
              <a:ext cx="1440000" cy="215444"/>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Work Sans Light"/>
                  <a:ea typeface="Helvetica Neue" panose="02000503000000020004" pitchFamily="2" charset="0"/>
                  <a:cs typeface="Helvetica Neue" panose="02000503000000020004" pitchFamily="2" charset="0"/>
                </a:rPr>
                <a:t>SKINCARE</a:t>
              </a:r>
            </a:p>
          </p:txBody>
        </p:sp>
      </p:grpSp>
      <p:cxnSp>
        <p:nvCxnSpPr>
          <p:cNvPr id="9" name="Straight Connector 30">
            <a:extLst>
              <a:ext uri="{FF2B5EF4-FFF2-40B4-BE49-F238E27FC236}">
                <a16:creationId xmlns:a16="http://schemas.microsoft.com/office/drawing/2014/main" id="{1ACA44E5-2279-4E5A-FDCD-F91A6D9E7A23}"/>
              </a:ext>
            </a:extLst>
          </p:cNvPr>
          <p:cNvCxnSpPr>
            <a:cxnSpLocks/>
          </p:cNvCxnSpPr>
          <p:nvPr/>
        </p:nvCxnSpPr>
        <p:spPr>
          <a:xfrm flipH="1" flipV="1">
            <a:off x="2200438" y="2165676"/>
            <a:ext cx="532471" cy="0"/>
          </a:xfrm>
          <a:prstGeom prst="line">
            <a:avLst/>
          </a:prstGeom>
          <a:ln>
            <a:solidFill>
              <a:srgbClr val="FF8300"/>
            </a:solidFill>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29">
            <a:extLst>
              <a:ext uri="{FF2B5EF4-FFF2-40B4-BE49-F238E27FC236}">
                <a16:creationId xmlns:a16="http://schemas.microsoft.com/office/drawing/2014/main" id="{9924FE43-DFCA-C544-B040-AB05FB9A0185}"/>
              </a:ext>
            </a:extLst>
          </p:cNvPr>
          <p:cNvCxnSpPr>
            <a:cxnSpLocks/>
          </p:cNvCxnSpPr>
          <p:nvPr/>
        </p:nvCxnSpPr>
        <p:spPr>
          <a:xfrm flipV="1">
            <a:off x="2197406" y="1525000"/>
            <a:ext cx="3032" cy="1260000"/>
          </a:xfrm>
          <a:prstGeom prst="line">
            <a:avLst/>
          </a:prstGeom>
          <a:ln>
            <a:solidFill>
              <a:srgbClr val="FF8300"/>
            </a:solidFill>
            <a:miter lim="800000"/>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8E03877E-B71F-2C3D-D4CD-0914810433D8}"/>
              </a:ext>
            </a:extLst>
          </p:cNvPr>
          <p:cNvSpPr txBox="1"/>
          <p:nvPr/>
        </p:nvSpPr>
        <p:spPr>
          <a:xfrm>
            <a:off x="4620620" y="2038904"/>
            <a:ext cx="1440000" cy="230832"/>
          </a:xfrm>
          <a:prstGeom prst="rect">
            <a:avLst/>
          </a:prstGeom>
          <a:noFill/>
          <a:ln>
            <a:noFill/>
          </a:ln>
        </p:spPr>
        <p:txBody>
          <a:bodyPr wrap="square" lIns="0" tIns="0" rIns="0" bIns="0" rtlCol="0">
            <a:spAutoFit/>
          </a:bodyPr>
          <a:lstStyle/>
          <a:p>
            <a:pPr algn="ctr">
              <a:buClr>
                <a:schemeClr val="tx2"/>
              </a:buClr>
            </a:pPr>
            <a:r>
              <a:rPr lang="fr-FR" sz="1500" b="1" spc="-30" dirty="0">
                <a:solidFill>
                  <a:schemeClr val="bg1"/>
                </a:solidFill>
              </a:rPr>
              <a:t>HAIRCARE</a:t>
            </a:r>
          </a:p>
        </p:txBody>
      </p:sp>
      <p:sp>
        <p:nvSpPr>
          <p:cNvPr id="23" name="TextBox 22">
            <a:extLst>
              <a:ext uri="{FF2B5EF4-FFF2-40B4-BE49-F238E27FC236}">
                <a16:creationId xmlns:a16="http://schemas.microsoft.com/office/drawing/2014/main" id="{CE51A4A2-1A65-583D-D643-953C42684B8A}"/>
              </a:ext>
            </a:extLst>
          </p:cNvPr>
          <p:cNvSpPr txBox="1"/>
          <p:nvPr/>
        </p:nvSpPr>
        <p:spPr>
          <a:xfrm>
            <a:off x="6510577" y="3916991"/>
            <a:ext cx="2072837" cy="1969770"/>
          </a:xfrm>
          <a:prstGeom prst="rect">
            <a:avLst/>
          </a:prstGeom>
          <a:noFill/>
          <a:ln>
            <a:noFill/>
          </a:ln>
        </p:spPr>
        <p:txBody>
          <a:bodyPr wrap="square" lIns="0" tIns="0" rIns="0" bIns="0" rtlCol="0">
            <a:spAutoFit/>
          </a:bodyPr>
          <a:lstStyle>
            <a:defPPr>
              <a:defRPr lang="en-US"/>
            </a:defPPr>
            <a:lvl1pPr>
              <a:defRPr sz="1400"/>
            </a:lvl1pPr>
          </a:lstStyle>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64E"/>
                </a:solidFill>
                <a:effectLst/>
                <a:uLnTx/>
                <a:uFillTx/>
                <a:latin typeface="Work Sans Light"/>
                <a:ea typeface="+mn-ea"/>
                <a:cs typeface="+mn-cs"/>
              </a:rPr>
              <a:t>Alternative to non-volatile silicones, alkanes &amp; other plant-based esters</a:t>
            </a:r>
          </a:p>
          <a:p>
            <a:pPr marL="179705" marR="0" lvl="0" indent="-17970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64E"/>
                </a:solidFill>
                <a:effectLst/>
                <a:uLnTx/>
                <a:uFillTx/>
                <a:latin typeface="Work Sans Light"/>
                <a:ea typeface="+mn-ea"/>
                <a:cs typeface="+mn-cs"/>
              </a:rPr>
              <a:t>Colorless</a:t>
            </a:r>
          </a:p>
          <a:p>
            <a:pPr marL="179705" marR="0" lvl="0" indent="-17970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64E"/>
                </a:solidFill>
                <a:effectLst/>
                <a:uLnTx/>
                <a:uFillTx/>
                <a:latin typeface="Work Sans Light"/>
                <a:ea typeface="+mn-ea"/>
                <a:cs typeface="+mn-cs"/>
              </a:rPr>
              <a:t>Low viscosity</a:t>
            </a:r>
          </a:p>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64E"/>
                </a:solidFill>
                <a:effectLst/>
                <a:uLnTx/>
                <a:uFillTx/>
                <a:latin typeface="Work Sans Light"/>
                <a:ea typeface="+mn-ea"/>
                <a:cs typeface="+mn-cs"/>
              </a:rPr>
              <a:t>Miscible with commonly used oils &amp; butters</a:t>
            </a:r>
          </a:p>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64E"/>
                </a:solidFill>
                <a:effectLst/>
                <a:uLnTx/>
                <a:uFillTx/>
                <a:latin typeface="Work Sans Light"/>
                <a:ea typeface="+mn-ea"/>
                <a:cs typeface="+mn-cs"/>
              </a:rPr>
              <a:t>Compatible and miscible with ethanol</a:t>
            </a:r>
          </a:p>
        </p:txBody>
      </p:sp>
      <p:sp>
        <p:nvSpPr>
          <p:cNvPr id="24" name="TextBox 20">
            <a:extLst>
              <a:ext uri="{FF2B5EF4-FFF2-40B4-BE49-F238E27FC236}">
                <a16:creationId xmlns:a16="http://schemas.microsoft.com/office/drawing/2014/main" id="{44AD5D3D-DAAF-773A-077E-21DECC8FACF2}"/>
              </a:ext>
            </a:extLst>
          </p:cNvPr>
          <p:cNvSpPr txBox="1"/>
          <p:nvPr/>
        </p:nvSpPr>
        <p:spPr>
          <a:xfrm>
            <a:off x="316390" y="4111313"/>
            <a:ext cx="1804008" cy="1338828"/>
          </a:xfrm>
          <a:prstGeom prst="rect">
            <a:avLst/>
          </a:prstGeom>
          <a:noFill/>
          <a:ln>
            <a:noFill/>
          </a:ln>
        </p:spPr>
        <p:txBody>
          <a:bodyPr wrap="square" lIns="0" tIns="0" rIns="0" bIns="0" rtlCol="0">
            <a:spAutoFit/>
          </a:bodyPr>
          <a:lstStyle/>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64E"/>
                </a:solidFill>
                <a:effectLst/>
                <a:uLnTx/>
                <a:uFillTx/>
                <a:latin typeface="Work Sans Light"/>
                <a:ea typeface="+mn-ea"/>
                <a:cs typeface="+mn-cs"/>
              </a:rPr>
              <a:t>Derived from 100% natural and renewable sources</a:t>
            </a:r>
          </a:p>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64E"/>
                </a:solidFill>
                <a:effectLst/>
                <a:uLnTx/>
                <a:uFillTx/>
                <a:latin typeface="Work Sans Light"/>
                <a:ea typeface="+mn-ea"/>
                <a:cs typeface="+mn-cs"/>
              </a:rPr>
              <a:t>100% traceable</a:t>
            </a:r>
          </a:p>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64E"/>
                </a:solidFill>
                <a:effectLst/>
                <a:uLnTx/>
                <a:uFillTx/>
                <a:latin typeface="Work Sans Light"/>
                <a:ea typeface="+mn-ea"/>
                <a:cs typeface="+mn-cs"/>
              </a:rPr>
              <a:t>Climate compensated</a:t>
            </a:r>
          </a:p>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64E"/>
                </a:solidFill>
                <a:effectLst/>
                <a:uLnTx/>
                <a:uFillTx/>
                <a:latin typeface="Work Sans Light"/>
                <a:ea typeface="+mn-ea"/>
                <a:cs typeface="+mn-cs"/>
              </a:rPr>
              <a:t>Biodegradable</a:t>
            </a:r>
          </a:p>
        </p:txBody>
      </p:sp>
    </p:spTree>
    <p:extLst>
      <p:ext uri="{BB962C8B-B14F-4D97-AF65-F5344CB8AC3E}">
        <p14:creationId xmlns:p14="http://schemas.microsoft.com/office/powerpoint/2010/main" val="635051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F39FD09-E744-343E-B750-1B37C1672F97}"/>
            </a:ext>
          </a:extLst>
        </p:cNvPr>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710E1DF0-A4DF-BBCE-7C54-D994F056DB2F}"/>
              </a:ext>
            </a:extLst>
          </p:cNvPr>
          <p:cNvSpPr>
            <a:spLocks noGrp="1"/>
          </p:cNvSpPr>
          <p:nvPr>
            <p:ph type="dt" sz="half" idx="10"/>
          </p:nvPr>
        </p:nvSpPr>
        <p:spPr>
          <a:xfrm>
            <a:off x="10403435" y="6456641"/>
            <a:ext cx="766236" cy="184666"/>
          </a:xfrm>
          <a:prstGeom prst="rect">
            <a:avLst/>
          </a:prstGeom>
        </p:spPr>
        <p:txBody>
          <a:bodyPr vert="horz" wrap="non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7A2787A-36F8-4876-BCE5-6CB155A624B2}" type="datetime1">
              <a:rPr lang="en-GB" smtClean="0"/>
              <a:pPr marL="0" marR="0" lvl="0" indent="0" algn="r" defTabSz="914400" rtl="0" eaLnBrk="1" fontAlgn="auto" latinLnBrk="0" hangingPunct="1">
                <a:lnSpc>
                  <a:spcPct val="100000"/>
                </a:lnSpc>
                <a:spcBef>
                  <a:spcPts val="0"/>
                </a:spcBef>
                <a:spcAft>
                  <a:spcPts val="0"/>
                </a:spcAft>
                <a:buClrTx/>
                <a:buSzTx/>
                <a:buFontTx/>
                <a:buNone/>
                <a:tabLst/>
                <a:defRPr/>
              </a:pPr>
              <a:t>18/06/2025</a:t>
            </a:fld>
            <a:endParaRPr kumimoji="0" lang="en-US" sz="1200" b="0" i="0" u="none" strike="noStrike" kern="1200" cap="none" spc="-30" normalizeH="0" baseline="0" noProof="0">
              <a:ln>
                <a:noFill/>
              </a:ln>
              <a:solidFill>
                <a:srgbClr val="2067CA"/>
              </a:solidFill>
              <a:effectLst/>
              <a:uLnTx/>
              <a:uFillTx/>
              <a:latin typeface="Work Sans Light"/>
              <a:ea typeface="+mn-ea"/>
              <a:cs typeface="+mn-cs"/>
            </a:endParaRPr>
          </a:p>
        </p:txBody>
      </p:sp>
      <p:sp>
        <p:nvSpPr>
          <p:cNvPr id="5" name="Platshållare för bildnummer 4">
            <a:extLst>
              <a:ext uri="{FF2B5EF4-FFF2-40B4-BE49-F238E27FC236}">
                <a16:creationId xmlns:a16="http://schemas.microsoft.com/office/drawing/2014/main" id="{110D6D8D-EAAB-0275-6FFB-D22EA37FA2E7}"/>
              </a:ext>
            </a:extLst>
          </p:cNvPr>
          <p:cNvSpPr>
            <a:spLocks noGrp="1"/>
          </p:cNvSpPr>
          <p:nvPr>
            <p:ph type="sldNum" sz="quarter" idx="12"/>
          </p:nvPr>
        </p:nvSpPr>
        <p:spPr>
          <a:xfrm>
            <a:off x="11376660" y="6456641"/>
            <a:ext cx="372428" cy="184666"/>
          </a:xfrm>
          <a:prstGeom prst="rect">
            <a:avLst/>
          </a:prstGeom>
        </p:spPr>
        <p:txBody>
          <a:bodyPr vert="horz" wrap="squar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803DD7B-12C8-43B8-9F45-989336E79744}"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30" normalizeH="0" baseline="0" noProof="0">
              <a:ln>
                <a:noFill/>
              </a:ln>
              <a:solidFill>
                <a:srgbClr val="2067CA"/>
              </a:solidFill>
              <a:effectLst/>
              <a:uLnTx/>
              <a:uFillTx/>
              <a:latin typeface="Work Sans Light"/>
              <a:ea typeface="+mn-ea"/>
              <a:cs typeface="+mn-cs"/>
            </a:endParaRPr>
          </a:p>
        </p:txBody>
      </p:sp>
      <p:pic>
        <p:nvPicPr>
          <p:cNvPr id="12" name="Platshållare för bild 11">
            <a:extLst>
              <a:ext uri="{FF2B5EF4-FFF2-40B4-BE49-F238E27FC236}">
                <a16:creationId xmlns:a16="http://schemas.microsoft.com/office/drawing/2014/main" id="{E14FDF7F-A040-7FA9-9646-8BF38C8CD7CE}"/>
              </a:ext>
            </a:extLst>
          </p:cNvPr>
          <p:cNvPicPr>
            <a:picLocks noGrp="1" noChangeAspect="1"/>
          </p:cNvPicPr>
          <p:nvPr>
            <p:ph type="pic" sz="quarter" idx="15"/>
          </p:nvPr>
        </p:nvPicPr>
        <p:blipFill>
          <a:blip r:embed="rId3"/>
          <a:srcRect l="6996" r="6996"/>
          <a:stretch/>
        </p:blipFill>
        <p:spPr>
          <a:xfrm>
            <a:off x="8213040" y="0"/>
            <a:ext cx="4065587" cy="6858000"/>
          </a:xfrm>
        </p:spPr>
      </p:pic>
      <p:sp>
        <p:nvSpPr>
          <p:cNvPr id="14" name="Platshållare för innehåll 7">
            <a:extLst>
              <a:ext uri="{FF2B5EF4-FFF2-40B4-BE49-F238E27FC236}">
                <a16:creationId xmlns:a16="http://schemas.microsoft.com/office/drawing/2014/main" id="{E06E1B98-29A7-9C91-8276-667473387C03}"/>
              </a:ext>
            </a:extLst>
          </p:cNvPr>
          <p:cNvSpPr>
            <a:spLocks noGrp="1"/>
          </p:cNvSpPr>
          <p:nvPr>
            <p:ph sz="quarter" idx="13"/>
          </p:nvPr>
        </p:nvSpPr>
        <p:spPr>
          <a:xfrm>
            <a:off x="428624" y="1553325"/>
            <a:ext cx="7273925" cy="4589417"/>
          </a:xfrm>
        </p:spPr>
        <p:txBody>
          <a:bodyPr/>
          <a:lstStyle/>
          <a:p>
            <a:pPr marL="0" indent="0">
              <a:buNone/>
            </a:pPr>
            <a:r>
              <a:rPr lang="en-US"/>
              <a:t>The viscosity of LIPEX</a:t>
            </a:r>
            <a:r>
              <a:rPr lang="en-US" baseline="30000"/>
              <a:t>®</a:t>
            </a:r>
            <a:r>
              <a:rPr lang="en-US"/>
              <a:t> </a:t>
            </a:r>
            <a:r>
              <a:rPr lang="en-US" err="1"/>
              <a:t>SheaLuxe</a:t>
            </a:r>
            <a:r>
              <a:rPr lang="en-US"/>
              <a:t> TR</a:t>
            </a:r>
            <a:r>
              <a:rPr lang="en-US" baseline="30000"/>
              <a:t>™</a:t>
            </a:r>
            <a:r>
              <a:rPr lang="en-US"/>
              <a:t> is at a similar level to coco-caprylate caprate, low molecular weight dimethicone or alkanes. </a:t>
            </a:r>
          </a:p>
          <a:p>
            <a:pPr marL="0" indent="0">
              <a:buNone/>
            </a:pPr>
            <a:endParaRPr lang="en-US"/>
          </a:p>
        </p:txBody>
      </p:sp>
      <p:sp>
        <p:nvSpPr>
          <p:cNvPr id="15" name="Rubrik 6">
            <a:extLst>
              <a:ext uri="{FF2B5EF4-FFF2-40B4-BE49-F238E27FC236}">
                <a16:creationId xmlns:a16="http://schemas.microsoft.com/office/drawing/2014/main" id="{F33C6980-3099-2815-25F4-010A9D4393A9}"/>
              </a:ext>
            </a:extLst>
          </p:cNvPr>
          <p:cNvSpPr>
            <a:spLocks noGrp="1"/>
          </p:cNvSpPr>
          <p:nvPr>
            <p:ph type="title"/>
          </p:nvPr>
        </p:nvSpPr>
        <p:spPr>
          <a:xfrm>
            <a:off x="428625" y="545325"/>
            <a:ext cx="7273925" cy="775597"/>
          </a:xfrm>
        </p:spPr>
        <p:txBody>
          <a:bodyPr/>
          <a:lstStyle/>
          <a:p>
            <a:r>
              <a:rPr lang="en-US" dirty="0"/>
              <a:t>LIPEX</a:t>
            </a:r>
            <a:r>
              <a:rPr lang="en-US" baseline="30000" dirty="0"/>
              <a:t>®</a:t>
            </a:r>
            <a:r>
              <a:rPr lang="en-US" dirty="0"/>
              <a:t> SheaLuxe TR</a:t>
            </a:r>
            <a:r>
              <a:rPr lang="en-US" baseline="30000" dirty="0"/>
              <a:t>™</a:t>
            </a:r>
            <a:r>
              <a:rPr lang="en-US" dirty="0"/>
              <a:t> </a:t>
            </a:r>
            <a:br>
              <a:rPr lang="en-US" dirty="0"/>
            </a:br>
            <a:r>
              <a:rPr lang="en-US" sz="2000" dirty="0"/>
              <a:t>Processed to have a low viscosity</a:t>
            </a:r>
          </a:p>
        </p:txBody>
      </p:sp>
      <p:pic>
        <p:nvPicPr>
          <p:cNvPr id="16" name="Bildobjekt 12">
            <a:extLst>
              <a:ext uri="{FF2B5EF4-FFF2-40B4-BE49-F238E27FC236}">
                <a16:creationId xmlns:a16="http://schemas.microsoft.com/office/drawing/2014/main" id="{E3E41A3E-DEE0-532A-920A-946BB475724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08086" y="2245476"/>
            <a:ext cx="5715000" cy="3205113"/>
          </a:xfrm>
          <a:prstGeom prst="rect">
            <a:avLst/>
          </a:prstGeom>
        </p:spPr>
      </p:pic>
      <p:sp>
        <p:nvSpPr>
          <p:cNvPr id="17" name="Platshållare för innehåll 7">
            <a:extLst>
              <a:ext uri="{FF2B5EF4-FFF2-40B4-BE49-F238E27FC236}">
                <a16:creationId xmlns:a16="http://schemas.microsoft.com/office/drawing/2014/main" id="{5272540B-DBD6-F243-2766-F7B03CB0CAE7}"/>
              </a:ext>
            </a:extLst>
          </p:cNvPr>
          <p:cNvSpPr txBox="1">
            <a:spLocks/>
          </p:cNvSpPr>
          <p:nvPr/>
        </p:nvSpPr>
        <p:spPr>
          <a:xfrm>
            <a:off x="428624" y="5625751"/>
            <a:ext cx="7697789" cy="469586"/>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600" b="0" i="0" u="none" strike="noStrike" kern="1200" cap="none" spc="-30" normalizeH="0" baseline="0" noProof="0" dirty="0">
                <a:ln>
                  <a:noFill/>
                </a:ln>
                <a:solidFill>
                  <a:srgbClr val="2067CA"/>
                </a:solidFill>
                <a:effectLst/>
                <a:uLnTx/>
                <a:uFillTx/>
                <a:latin typeface="Work Sans Light"/>
                <a:ea typeface="+mn-ea"/>
                <a:cs typeface="+mn-cs"/>
              </a:rPr>
              <a:t>The low viscosity makes it easy to spread and gives it a light feel during application. </a:t>
            </a:r>
          </a:p>
        </p:txBody>
      </p:sp>
      <p:sp>
        <p:nvSpPr>
          <p:cNvPr id="2" name="Platshållare för datum 1">
            <a:extLst>
              <a:ext uri="{FF2B5EF4-FFF2-40B4-BE49-F238E27FC236}">
                <a16:creationId xmlns:a16="http://schemas.microsoft.com/office/drawing/2014/main" id="{975981E3-4E4F-FD13-E706-99FC1F04AEA8}"/>
              </a:ext>
            </a:extLst>
          </p:cNvPr>
          <p:cNvSpPr>
            <a:spLocks noGrp="1"/>
          </p:cNvSpPr>
          <p:nvPr>
            <p:ph type="dt" sz="half" idx="2"/>
          </p:nvPr>
        </p:nvSpPr>
        <p:spPr>
          <a:xfrm>
            <a:off x="10727025" y="6461968"/>
            <a:ext cx="626774"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2DCDAF2-D32B-4959-9A14-0F980FBA07DD}" type="datetime1">
              <a:rPr lang="en-GB" sz="1000" smtClean="0">
                <a:solidFill>
                  <a:schemeClr val="bg1"/>
                </a:solidFill>
              </a:rPr>
              <a:pPr marL="0" marR="0" lvl="0" indent="0" algn="r" defTabSz="914400" rtl="0" eaLnBrk="1" fontAlgn="auto" latinLnBrk="0" hangingPunct="1">
                <a:lnSpc>
                  <a:spcPct val="100000"/>
                </a:lnSpc>
                <a:spcBef>
                  <a:spcPts val="0"/>
                </a:spcBef>
                <a:spcAft>
                  <a:spcPts val="0"/>
                </a:spcAft>
                <a:buClrTx/>
                <a:buSzTx/>
                <a:buFontTx/>
                <a:buNone/>
                <a:tabLst/>
                <a:defRPr/>
              </a:pPr>
              <a:t>18/06/2025</a:t>
            </a:fld>
            <a:endParaRPr kumimoji="0" lang="en-US" sz="1000" b="0" i="0" u="none" strike="noStrike" kern="1200" cap="none" spc="-30" normalizeH="0" baseline="0" noProof="0" dirty="0">
              <a:ln>
                <a:noFill/>
              </a:ln>
              <a:solidFill>
                <a:schemeClr val="bg1"/>
              </a:solidFill>
              <a:effectLst/>
              <a:uLnTx/>
              <a:uFillTx/>
              <a:latin typeface="Work Sans Light"/>
              <a:ea typeface="+mn-ea"/>
              <a:cs typeface="+mn-cs"/>
            </a:endParaRPr>
          </a:p>
        </p:txBody>
      </p:sp>
      <p:sp>
        <p:nvSpPr>
          <p:cNvPr id="4" name="Platshållare för bildnummer 3">
            <a:extLst>
              <a:ext uri="{FF2B5EF4-FFF2-40B4-BE49-F238E27FC236}">
                <a16:creationId xmlns:a16="http://schemas.microsoft.com/office/drawing/2014/main" id="{2B1B2B8C-3D3D-0394-A658-EF2F811CC1B1}"/>
              </a:ext>
            </a:extLst>
          </p:cNvPr>
          <p:cNvSpPr>
            <a:spLocks noGrp="1"/>
          </p:cNvSpPr>
          <p:nvPr>
            <p:ph type="sldNum" sz="quarter" idx="4"/>
          </p:nvPr>
        </p:nvSpPr>
        <p:spPr>
          <a:xfrm>
            <a:off x="11353800" y="6461968"/>
            <a:ext cx="395286" cy="153888"/>
          </a:xfrm>
          <a:prstGeom prst="rect">
            <a:avLst/>
          </a:prstGeom>
        </p:spPr>
        <p:txBody>
          <a:bodyPr vert="horz" wrap="squar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803DD7B-12C8-43B8-9F45-989336E79744}" type="slidenum">
              <a:rPr lang="en-US" sz="1000" smtClean="0">
                <a:solidFill>
                  <a:schemeClr val="bg1"/>
                </a:solidFill>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30" normalizeH="0" baseline="0" noProof="0">
              <a:ln>
                <a:noFill/>
              </a:ln>
              <a:solidFill>
                <a:schemeClr val="bg1"/>
              </a:solidFill>
              <a:effectLst/>
              <a:uLnTx/>
              <a:uFillTx/>
              <a:latin typeface="Work Sans Light"/>
              <a:ea typeface="+mn-ea"/>
              <a:cs typeface="+mn-cs"/>
            </a:endParaRPr>
          </a:p>
        </p:txBody>
      </p:sp>
      <p:sp>
        <p:nvSpPr>
          <p:cNvPr id="6" name="Platshållare för sidfot 2">
            <a:extLst>
              <a:ext uri="{FF2B5EF4-FFF2-40B4-BE49-F238E27FC236}">
                <a16:creationId xmlns:a16="http://schemas.microsoft.com/office/drawing/2014/main" id="{082EA645-7653-363B-FE30-013F75A7FE61}"/>
              </a:ext>
            </a:extLst>
          </p:cNvPr>
          <p:cNvSpPr>
            <a:spLocks noGrp="1"/>
          </p:cNvSpPr>
          <p:nvPr>
            <p:ph type="ftr" sz="quarter" idx="16"/>
          </p:nvPr>
        </p:nvSpPr>
        <p:spPr>
          <a:xfrm>
            <a:off x="4038600" y="6356350"/>
            <a:ext cx="4114800" cy="365125"/>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The Co-Development Company</a:t>
            </a:r>
            <a:endParaRPr kumimoji="0" lang="en-US" sz="1000" b="0" i="0" u="none" strike="noStrike" kern="1200" cap="none" spc="-30" normalizeH="0" baseline="0" noProof="0">
              <a:ln>
                <a:noFill/>
              </a:ln>
              <a:solidFill>
                <a:srgbClr val="2067CA"/>
              </a:solidFill>
              <a:effectLst/>
              <a:uLnTx/>
              <a:uFillTx/>
              <a:latin typeface="Work Sans Light"/>
              <a:ea typeface="+mn-ea"/>
              <a:cs typeface="+mn-cs"/>
            </a:endParaRPr>
          </a:p>
        </p:txBody>
      </p:sp>
    </p:spTree>
    <p:extLst>
      <p:ext uri="{BB962C8B-B14F-4D97-AF65-F5344CB8AC3E}">
        <p14:creationId xmlns:p14="http://schemas.microsoft.com/office/powerpoint/2010/main" val="42455628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9E52C206-ABA8-B752-840C-25FD323D4563}"/>
            </a:ext>
          </a:extLst>
        </p:cNvPr>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DD894DD1-63F1-4041-0F7F-E2D3479284A9}"/>
              </a:ext>
            </a:extLst>
          </p:cNvPr>
          <p:cNvPicPr>
            <a:picLocks noGrp="1" noChangeAspect="1"/>
          </p:cNvPicPr>
          <p:nvPr>
            <p:ph type="pic" sz="quarter" idx="16"/>
          </p:nvPr>
        </p:nvPicPr>
        <p:blipFill>
          <a:blip r:embed="rId2"/>
          <a:srcRect l="12445" r="12445"/>
          <a:stretch/>
        </p:blipFill>
        <p:spPr/>
      </p:pic>
      <p:sp>
        <p:nvSpPr>
          <p:cNvPr id="8" name="Title 7">
            <a:extLst>
              <a:ext uri="{FF2B5EF4-FFF2-40B4-BE49-F238E27FC236}">
                <a16:creationId xmlns:a16="http://schemas.microsoft.com/office/drawing/2014/main" id="{4CDFEEF2-6F69-127C-68BB-C7BDD005E609}"/>
              </a:ext>
            </a:extLst>
          </p:cNvPr>
          <p:cNvSpPr>
            <a:spLocks noGrp="1"/>
          </p:cNvSpPr>
          <p:nvPr>
            <p:ph type="title"/>
          </p:nvPr>
        </p:nvSpPr>
        <p:spPr>
          <a:xfrm>
            <a:off x="430212" y="2653403"/>
            <a:ext cx="4484687" cy="775597"/>
          </a:xfrm>
        </p:spPr>
        <p:txBody>
          <a:bodyPr/>
          <a:lstStyle/>
          <a:p>
            <a:r>
              <a:rPr lang="en-US" sz="3200" dirty="0"/>
              <a:t>LIPEX</a:t>
            </a:r>
            <a:r>
              <a:rPr lang="en-US" sz="3200" baseline="30000" dirty="0"/>
              <a:t>®</a:t>
            </a:r>
            <a:r>
              <a:rPr lang="en-US" sz="3200" dirty="0"/>
              <a:t> SheaLuxe TR</a:t>
            </a:r>
            <a:r>
              <a:rPr lang="en-GB" sz="3200" baseline="30000" dirty="0"/>
              <a:t>™</a:t>
            </a:r>
            <a:br>
              <a:rPr lang="en-GB" baseline="30000" dirty="0"/>
            </a:br>
            <a:r>
              <a:rPr lang="en-GB" sz="2400" dirty="0"/>
              <a:t>in Skin care</a:t>
            </a:r>
          </a:p>
        </p:txBody>
      </p:sp>
      <p:sp>
        <p:nvSpPr>
          <p:cNvPr id="5" name="Date Placeholder 4">
            <a:extLst>
              <a:ext uri="{FF2B5EF4-FFF2-40B4-BE49-F238E27FC236}">
                <a16:creationId xmlns:a16="http://schemas.microsoft.com/office/drawing/2014/main" id="{C8495F60-C942-2F66-BEBD-5AA813E17220}"/>
              </a:ext>
            </a:extLst>
          </p:cNvPr>
          <p:cNvSpPr>
            <a:spLocks noGrp="1"/>
          </p:cNvSpPr>
          <p:nvPr>
            <p:ph type="dt" sz="half" idx="2"/>
          </p:nvPr>
        </p:nvSpPr>
        <p:spPr/>
        <p:txBody>
          <a:bodyPr/>
          <a:lstStyle/>
          <a:p>
            <a:fld id="{1B64ED2E-4F5A-4C13-A00E-18C21BE19A85}" type="datetime1">
              <a:rPr lang="en-GB" sz="1000" smtClean="0"/>
              <a:t>18/06/2025</a:t>
            </a:fld>
            <a:endParaRPr lang="en-GB" sz="1000" dirty="0"/>
          </a:p>
        </p:txBody>
      </p:sp>
      <p:sp>
        <p:nvSpPr>
          <p:cNvPr id="6" name="Slide Number Placeholder 5">
            <a:extLst>
              <a:ext uri="{FF2B5EF4-FFF2-40B4-BE49-F238E27FC236}">
                <a16:creationId xmlns:a16="http://schemas.microsoft.com/office/drawing/2014/main" id="{135DEE3F-A420-FA5B-867A-DE16E7BA7BC6}"/>
              </a:ext>
            </a:extLst>
          </p:cNvPr>
          <p:cNvSpPr>
            <a:spLocks noGrp="1"/>
          </p:cNvSpPr>
          <p:nvPr>
            <p:ph type="sldNum" sz="quarter" idx="4"/>
          </p:nvPr>
        </p:nvSpPr>
        <p:spPr/>
        <p:txBody>
          <a:bodyPr/>
          <a:lstStyle/>
          <a:p>
            <a:pPr algn="r"/>
            <a:fld id="{EDF3706E-DB9C-4B59-A485-1194C2A6AD28}" type="slidenum">
              <a:rPr lang="en-GB" sz="1000" smtClean="0"/>
              <a:pPr algn="r"/>
              <a:t>24</a:t>
            </a:fld>
            <a:endParaRPr lang="en-GB" sz="1000"/>
          </a:p>
        </p:txBody>
      </p:sp>
      <p:sp>
        <p:nvSpPr>
          <p:cNvPr id="2" name="Footer Placeholder 3">
            <a:extLst>
              <a:ext uri="{FF2B5EF4-FFF2-40B4-BE49-F238E27FC236}">
                <a16:creationId xmlns:a16="http://schemas.microsoft.com/office/drawing/2014/main" id="{5CC26A67-9E4D-E7B4-3F1B-770DB77C8C9E}"/>
              </a:ext>
            </a:extLst>
          </p:cNvPr>
          <p:cNvSpPr txBox="1">
            <a:spLocks/>
          </p:cNvSpPr>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t>The Co-Development Company</a:t>
            </a:r>
            <a:endParaRPr lang="en-US" sz="1000" dirty="0"/>
          </a:p>
        </p:txBody>
      </p:sp>
    </p:spTree>
    <p:extLst>
      <p:ext uri="{BB962C8B-B14F-4D97-AF65-F5344CB8AC3E}">
        <p14:creationId xmlns:p14="http://schemas.microsoft.com/office/powerpoint/2010/main" val="15941428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ubrik 7">
            <a:extLst>
              <a:ext uri="{FF2B5EF4-FFF2-40B4-BE49-F238E27FC236}">
                <a16:creationId xmlns:a16="http://schemas.microsoft.com/office/drawing/2014/main" id="{25CF11BB-AC31-133F-29A9-9E7B8EEA8679}"/>
              </a:ext>
            </a:extLst>
          </p:cNvPr>
          <p:cNvSpPr>
            <a:spLocks noGrp="1"/>
          </p:cNvSpPr>
          <p:nvPr>
            <p:ph type="title"/>
          </p:nvPr>
        </p:nvSpPr>
        <p:spPr>
          <a:xfrm>
            <a:off x="442800" y="344632"/>
            <a:ext cx="10878230" cy="775597"/>
          </a:xfrm>
        </p:spPr>
        <p:txBody>
          <a:bodyPr/>
          <a:lstStyle/>
          <a:p>
            <a:r>
              <a:rPr lang="en-US" dirty="0"/>
              <a:t>LIPEX</a:t>
            </a:r>
            <a:r>
              <a:rPr lang="en-US" baseline="30000" dirty="0"/>
              <a:t>®</a:t>
            </a:r>
            <a:r>
              <a:rPr lang="en-US" dirty="0"/>
              <a:t> SheaLuxe TR</a:t>
            </a:r>
            <a:r>
              <a:rPr lang="en-US" baseline="30000" dirty="0"/>
              <a:t>™</a:t>
            </a:r>
            <a:r>
              <a:rPr lang="en-US" dirty="0"/>
              <a:t> in skincare</a:t>
            </a:r>
            <a:br>
              <a:rPr lang="en-US" dirty="0"/>
            </a:br>
            <a:r>
              <a:rPr lang="en-US" sz="2000" dirty="0"/>
              <a:t>Similar sensory profile in application and after-feel to a low viscosity dimethicone</a:t>
            </a:r>
          </a:p>
        </p:txBody>
      </p:sp>
      <p:sp>
        <p:nvSpPr>
          <p:cNvPr id="5" name="Platshållare för datum 4">
            <a:extLst>
              <a:ext uri="{FF2B5EF4-FFF2-40B4-BE49-F238E27FC236}">
                <a16:creationId xmlns:a16="http://schemas.microsoft.com/office/drawing/2014/main" id="{13DA5B91-AC26-6CCA-7C9C-CC1125970B09}"/>
              </a:ext>
            </a:extLst>
          </p:cNvPr>
          <p:cNvSpPr>
            <a:spLocks noGrp="1"/>
          </p:cNvSpPr>
          <p:nvPr>
            <p:ph type="dt" sz="half" idx="10"/>
          </p:nvPr>
        </p:nvSpPr>
        <p:spPr>
          <a:xfrm>
            <a:off x="10542897" y="6472030"/>
            <a:ext cx="626774"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2DCDAF2-D32B-4959-9A14-0F980FBA07DD}" type="datetime1">
              <a:rPr lang="en-GB" sz="1000" smtClean="0"/>
              <a:pPr marL="0" marR="0" lvl="0" indent="0" algn="r" defTabSz="914400" rtl="0" eaLnBrk="1" fontAlgn="auto" latinLnBrk="0" hangingPunct="1">
                <a:lnSpc>
                  <a:spcPct val="100000"/>
                </a:lnSpc>
                <a:spcBef>
                  <a:spcPts val="0"/>
                </a:spcBef>
                <a:spcAft>
                  <a:spcPts val="0"/>
                </a:spcAft>
                <a:buClrTx/>
                <a:buSzTx/>
                <a:buFontTx/>
                <a:buNone/>
                <a:tabLst/>
                <a:defRPr/>
              </a:pPr>
              <a:t>18/06/2025</a:t>
            </a:fld>
            <a:endParaRPr kumimoji="0" lang="en-US" sz="1000" b="0" i="0" u="none" strike="noStrike" kern="1200" cap="none" spc="-30" normalizeH="0" baseline="0" noProof="0">
              <a:ln>
                <a:noFill/>
              </a:ln>
              <a:solidFill>
                <a:srgbClr val="2067CA"/>
              </a:solidFill>
              <a:effectLst/>
              <a:uLnTx/>
              <a:uFillTx/>
              <a:latin typeface="Work Sans Light"/>
              <a:ea typeface="+mn-ea"/>
              <a:cs typeface="+mn-cs"/>
            </a:endParaRPr>
          </a:p>
        </p:txBody>
      </p:sp>
      <p:sp>
        <p:nvSpPr>
          <p:cNvPr id="6" name="Platshållare för sidfot 5">
            <a:extLst>
              <a:ext uri="{FF2B5EF4-FFF2-40B4-BE49-F238E27FC236}">
                <a16:creationId xmlns:a16="http://schemas.microsoft.com/office/drawing/2014/main" id="{5833DFE6-7B9A-71EE-56E0-83E206251DA7}"/>
              </a:ext>
            </a:extLst>
          </p:cNvPr>
          <p:cNvSpPr>
            <a:spLocks noGrp="1"/>
          </p:cNvSpPr>
          <p:nvPr>
            <p:ph type="ftr" sz="quarter" idx="11"/>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The Co-Development Company</a:t>
            </a:r>
            <a:endParaRPr kumimoji="0" lang="en-US" sz="1000" b="0" i="0" u="none" strike="noStrike" kern="1200" cap="none" spc="-30" normalizeH="0" baseline="0" noProof="0">
              <a:ln>
                <a:noFill/>
              </a:ln>
              <a:solidFill>
                <a:srgbClr val="2067CA"/>
              </a:solidFill>
              <a:effectLst/>
              <a:uLnTx/>
              <a:uFillTx/>
              <a:latin typeface="Work Sans Light"/>
              <a:ea typeface="+mn-ea"/>
              <a:cs typeface="+mn-cs"/>
            </a:endParaRPr>
          </a:p>
        </p:txBody>
      </p:sp>
      <p:sp>
        <p:nvSpPr>
          <p:cNvPr id="7" name="Platshållare för bildnummer 6">
            <a:extLst>
              <a:ext uri="{FF2B5EF4-FFF2-40B4-BE49-F238E27FC236}">
                <a16:creationId xmlns:a16="http://schemas.microsoft.com/office/drawing/2014/main" id="{1D86EEE9-DDC3-AEF4-875C-857827AC6428}"/>
              </a:ext>
            </a:extLst>
          </p:cNvPr>
          <p:cNvSpPr>
            <a:spLocks noGrp="1"/>
          </p:cNvSpPr>
          <p:nvPr>
            <p:ph type="sldNum" sz="quarter" idx="12"/>
          </p:nvPr>
        </p:nvSpPr>
        <p:spPr>
          <a:xfrm>
            <a:off x="11376660" y="6472030"/>
            <a:ext cx="372428" cy="153888"/>
          </a:xfrm>
          <a:prstGeom prst="rect">
            <a:avLst/>
          </a:prstGeom>
        </p:spPr>
        <p:txBody>
          <a:bodyPr vert="horz" wrap="squar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803DD7B-12C8-43B8-9F45-989336E79744}" type="slidenum">
              <a:rPr lang="en-US" sz="1000" smtClean="0"/>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000" b="0" i="0" u="none" strike="noStrike" kern="1200" cap="none" spc="-30" normalizeH="0" baseline="0" noProof="0">
              <a:ln>
                <a:noFill/>
              </a:ln>
              <a:solidFill>
                <a:srgbClr val="2067CA"/>
              </a:solidFill>
              <a:effectLst/>
              <a:uLnTx/>
              <a:uFillTx/>
              <a:latin typeface="Work Sans Light"/>
              <a:ea typeface="+mn-ea"/>
              <a:cs typeface="+mn-cs"/>
            </a:endParaRPr>
          </a:p>
        </p:txBody>
      </p:sp>
      <p:sp>
        <p:nvSpPr>
          <p:cNvPr id="10" name="TextBox 8">
            <a:extLst>
              <a:ext uri="{FF2B5EF4-FFF2-40B4-BE49-F238E27FC236}">
                <a16:creationId xmlns:a16="http://schemas.microsoft.com/office/drawing/2014/main" id="{83CD7059-5517-C031-2AD8-C70544770E50}"/>
              </a:ext>
            </a:extLst>
          </p:cNvPr>
          <p:cNvSpPr txBox="1"/>
          <p:nvPr/>
        </p:nvSpPr>
        <p:spPr>
          <a:xfrm>
            <a:off x="435317" y="1626861"/>
            <a:ext cx="3672000" cy="612000"/>
          </a:xfrm>
          <a:prstGeom prst="rect">
            <a:avLst/>
          </a:prstGeom>
          <a:solidFill>
            <a:srgbClr val="00264E"/>
          </a:solidFill>
          <a:ln>
            <a:noFill/>
          </a:ln>
        </p:spPr>
        <p:txBody>
          <a:bodyPr wrap="square" lIns="72000" tIns="72000" rIns="72000" bIns="10800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264E"/>
              </a:buClr>
              <a:buSzTx/>
              <a:buFontTx/>
              <a:buNone/>
              <a:tabLst/>
              <a:defRPr/>
            </a:pPr>
            <a:r>
              <a:rPr kumimoji="0" lang="sv-SE" sz="1400" b="1" i="0" u="none" strike="noStrike" kern="1200" cap="none" spc="-30" normalizeH="0" baseline="0" noProof="0" err="1">
                <a:ln>
                  <a:noFill/>
                </a:ln>
                <a:solidFill>
                  <a:prstClr val="white"/>
                </a:solidFill>
                <a:effectLst/>
                <a:uLnTx/>
                <a:uFillTx/>
                <a:latin typeface="Work Sans Light"/>
                <a:ea typeface="+mn-ea"/>
                <a:cs typeface="+mn-cs"/>
              </a:rPr>
              <a:t>Light</a:t>
            </a:r>
            <a:r>
              <a:rPr kumimoji="0" lang="sv-SE" sz="1400" b="1" i="0" u="none" strike="noStrike" kern="1200" cap="none" spc="-30" normalizeH="0" baseline="0" noProof="0">
                <a:ln>
                  <a:noFill/>
                </a:ln>
                <a:solidFill>
                  <a:prstClr val="white"/>
                </a:solidFill>
                <a:effectLst/>
                <a:uLnTx/>
                <a:uFillTx/>
                <a:latin typeface="Work Sans Light"/>
                <a:ea typeface="+mn-ea"/>
                <a:cs typeface="+mn-cs"/>
              </a:rPr>
              <a:t>, </a:t>
            </a:r>
            <a:r>
              <a:rPr kumimoji="0" lang="sv-SE" sz="1400" b="1" i="0" u="none" strike="noStrike" kern="1200" cap="none" spc="-30" normalizeH="0" baseline="0" noProof="0" err="1">
                <a:ln>
                  <a:noFill/>
                </a:ln>
                <a:solidFill>
                  <a:prstClr val="white"/>
                </a:solidFill>
                <a:effectLst/>
                <a:uLnTx/>
                <a:uFillTx/>
                <a:latin typeface="Work Sans Light"/>
                <a:ea typeface="+mn-ea"/>
                <a:cs typeface="+mn-cs"/>
              </a:rPr>
              <a:t>oil</a:t>
            </a:r>
            <a:r>
              <a:rPr kumimoji="0" lang="sv-SE" sz="1400" b="1" i="0" u="none" strike="noStrike" kern="1200" cap="none" spc="-30" normalizeH="0" baseline="0" noProof="0">
                <a:ln>
                  <a:noFill/>
                </a:ln>
                <a:solidFill>
                  <a:prstClr val="white"/>
                </a:solidFill>
                <a:effectLst/>
                <a:uLnTx/>
                <a:uFillTx/>
                <a:latin typeface="Work Sans Light"/>
                <a:ea typeface="+mn-ea"/>
                <a:cs typeface="+mn-cs"/>
              </a:rPr>
              <a:t>-like, </a:t>
            </a:r>
            <a:r>
              <a:rPr kumimoji="0" lang="sv-SE" sz="1400" b="1" i="0" u="none" strike="noStrike" kern="1200" cap="none" spc="-30" normalizeH="0" baseline="0" noProof="0" err="1">
                <a:ln>
                  <a:noFill/>
                </a:ln>
                <a:solidFill>
                  <a:prstClr val="white"/>
                </a:solidFill>
                <a:effectLst/>
                <a:uLnTx/>
                <a:uFillTx/>
                <a:latin typeface="Work Sans Light"/>
                <a:ea typeface="+mn-ea"/>
                <a:cs typeface="+mn-cs"/>
              </a:rPr>
              <a:t>dry</a:t>
            </a:r>
            <a:r>
              <a:rPr kumimoji="0" lang="sv-SE" sz="1400" b="1" i="0" u="none" strike="noStrike" kern="1200" cap="none" spc="-30" normalizeH="0" baseline="0" noProof="0">
                <a:ln>
                  <a:noFill/>
                </a:ln>
                <a:solidFill>
                  <a:prstClr val="white"/>
                </a:solidFill>
                <a:effectLst/>
                <a:uLnTx/>
                <a:uFillTx/>
                <a:latin typeface="Work Sans Light"/>
                <a:ea typeface="+mn-ea"/>
                <a:cs typeface="+mn-cs"/>
              </a:rPr>
              <a:t>, non </a:t>
            </a:r>
            <a:r>
              <a:rPr kumimoji="0" lang="sv-SE" sz="1400" b="1" i="0" u="none" strike="noStrike" kern="1200" cap="none" spc="-30" normalizeH="0" baseline="0" noProof="0" err="1">
                <a:ln>
                  <a:noFill/>
                </a:ln>
                <a:solidFill>
                  <a:prstClr val="white"/>
                </a:solidFill>
                <a:effectLst/>
                <a:uLnTx/>
                <a:uFillTx/>
                <a:latin typeface="Work Sans Light"/>
                <a:ea typeface="+mn-ea"/>
                <a:cs typeface="+mn-cs"/>
              </a:rPr>
              <a:t>greasy</a:t>
            </a:r>
            <a:r>
              <a:rPr kumimoji="0" lang="sv-SE" sz="1400" b="1" i="0" u="none" strike="noStrike" kern="1200" cap="none" spc="-30" normalizeH="0" baseline="0" noProof="0">
                <a:ln>
                  <a:noFill/>
                </a:ln>
                <a:solidFill>
                  <a:prstClr val="white"/>
                </a:solidFill>
                <a:effectLst/>
                <a:uLnTx/>
                <a:uFillTx/>
                <a:latin typeface="Work Sans Light"/>
                <a:ea typeface="+mn-ea"/>
                <a:cs typeface="+mn-cs"/>
              </a:rPr>
              <a:t>, </a:t>
            </a:r>
            <a:br>
              <a:rPr kumimoji="0" lang="sv-SE" sz="1400" b="1" i="0" u="none" strike="noStrike" kern="1200" cap="none" spc="-30" normalizeH="0" baseline="0" noProof="0">
                <a:ln>
                  <a:noFill/>
                </a:ln>
                <a:solidFill>
                  <a:prstClr val="white"/>
                </a:solidFill>
                <a:effectLst/>
                <a:uLnTx/>
                <a:uFillTx/>
                <a:latin typeface="Work Sans Light"/>
                <a:ea typeface="+mn-ea"/>
                <a:cs typeface="+mn-cs"/>
              </a:rPr>
            </a:br>
            <a:r>
              <a:rPr kumimoji="0" lang="sv-SE" sz="1400" b="1" i="0" u="none" strike="noStrike" kern="1200" cap="none" spc="-30" normalizeH="0" baseline="0" noProof="0" err="1">
                <a:ln>
                  <a:noFill/>
                </a:ln>
                <a:solidFill>
                  <a:prstClr val="white"/>
                </a:solidFill>
                <a:effectLst/>
                <a:uLnTx/>
                <a:uFillTx/>
                <a:latin typeface="Work Sans Light"/>
                <a:ea typeface="+mn-ea"/>
                <a:cs typeface="+mn-cs"/>
              </a:rPr>
              <a:t>high</a:t>
            </a:r>
            <a:r>
              <a:rPr kumimoji="0" lang="sv-SE" sz="1400" b="1" i="0" u="none" strike="noStrike" kern="1200" cap="none" spc="-30" normalizeH="0" baseline="0" noProof="0">
                <a:ln>
                  <a:noFill/>
                </a:ln>
                <a:solidFill>
                  <a:prstClr val="white"/>
                </a:solidFill>
                <a:effectLst/>
                <a:uLnTx/>
                <a:uFillTx/>
                <a:latin typeface="Work Sans Light"/>
                <a:ea typeface="+mn-ea"/>
                <a:cs typeface="+mn-cs"/>
              </a:rPr>
              <a:t> </a:t>
            </a:r>
            <a:r>
              <a:rPr kumimoji="0" lang="sv-SE" sz="1400" b="1" i="0" u="none" strike="noStrike" kern="1200" cap="none" spc="-30" normalizeH="0" baseline="0" noProof="0" err="1">
                <a:ln>
                  <a:noFill/>
                </a:ln>
                <a:solidFill>
                  <a:prstClr val="white"/>
                </a:solidFill>
                <a:effectLst/>
                <a:uLnTx/>
                <a:uFillTx/>
                <a:latin typeface="Work Sans Light"/>
                <a:ea typeface="+mn-ea"/>
                <a:cs typeface="+mn-cs"/>
              </a:rPr>
              <a:t>spreadable</a:t>
            </a:r>
            <a:endParaRPr kumimoji="0" lang="sv-SE" sz="1400" b="1" i="0" u="none" strike="noStrike" kern="1200" cap="none" spc="-30" normalizeH="0" baseline="0" noProof="0">
              <a:ln>
                <a:noFill/>
              </a:ln>
              <a:solidFill>
                <a:prstClr val="white"/>
              </a:solidFill>
              <a:effectLst/>
              <a:uLnTx/>
              <a:uFillTx/>
              <a:latin typeface="Work Sans Light"/>
              <a:ea typeface="+mn-ea"/>
              <a:cs typeface="+mn-cs"/>
            </a:endParaRPr>
          </a:p>
        </p:txBody>
      </p:sp>
      <p:sp>
        <p:nvSpPr>
          <p:cNvPr id="11" name="TextBox 17">
            <a:extLst>
              <a:ext uri="{FF2B5EF4-FFF2-40B4-BE49-F238E27FC236}">
                <a16:creationId xmlns:a16="http://schemas.microsoft.com/office/drawing/2014/main" id="{7C011EBB-CD4F-F93A-ABA5-FAC321E99B8D}"/>
              </a:ext>
            </a:extLst>
          </p:cNvPr>
          <p:cNvSpPr txBox="1"/>
          <p:nvPr/>
        </p:nvSpPr>
        <p:spPr>
          <a:xfrm>
            <a:off x="4252461" y="1626861"/>
            <a:ext cx="3672000" cy="612000"/>
          </a:xfrm>
          <a:prstGeom prst="rect">
            <a:avLst/>
          </a:prstGeom>
          <a:solidFill>
            <a:srgbClr val="00264E"/>
          </a:solidFill>
          <a:ln>
            <a:noFill/>
          </a:ln>
        </p:spPr>
        <p:txBody>
          <a:bodyPr wrap="square" lIns="72000" tIns="72000" rIns="72000" bIns="10800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264E"/>
              </a:buClr>
              <a:buSzTx/>
              <a:buFontTx/>
              <a:buNone/>
              <a:tabLst/>
              <a:defRPr/>
            </a:pPr>
            <a:r>
              <a:rPr kumimoji="0" lang="en-US" sz="1400" b="1" i="0" u="none" strike="noStrike" kern="1200" cap="none" spc="-30" normalizeH="0" baseline="0" noProof="0">
                <a:ln>
                  <a:noFill/>
                </a:ln>
                <a:solidFill>
                  <a:prstClr val="white"/>
                </a:solidFill>
                <a:effectLst/>
                <a:uLnTx/>
                <a:uFillTx/>
                <a:latin typeface="Work Sans Light"/>
                <a:ea typeface="+mn-ea"/>
                <a:cs typeface="+mn-cs"/>
              </a:rPr>
              <a:t>Leave a light, oil-like, non greasy feel </a:t>
            </a:r>
            <a:br>
              <a:rPr kumimoji="0" lang="en-US" sz="1400" b="1" i="0" u="none" strike="noStrike" kern="1200" cap="none" spc="-30" normalizeH="0" baseline="0" noProof="0">
                <a:ln>
                  <a:noFill/>
                </a:ln>
                <a:solidFill>
                  <a:prstClr val="white"/>
                </a:solidFill>
                <a:effectLst/>
                <a:uLnTx/>
                <a:uFillTx/>
                <a:latin typeface="Work Sans Light"/>
                <a:ea typeface="+mn-ea"/>
                <a:cs typeface="+mn-cs"/>
              </a:rPr>
            </a:br>
            <a:r>
              <a:rPr kumimoji="0" lang="en-US" sz="1400" b="1" i="0" u="none" strike="noStrike" kern="1200" cap="none" spc="-30" normalizeH="0" baseline="0" noProof="0">
                <a:ln>
                  <a:noFill/>
                </a:ln>
                <a:solidFill>
                  <a:prstClr val="white"/>
                </a:solidFill>
                <a:effectLst/>
                <a:uLnTx/>
                <a:uFillTx/>
                <a:latin typeface="Work Sans Light"/>
                <a:ea typeface="+mn-ea"/>
                <a:cs typeface="+mn-cs"/>
              </a:rPr>
              <a:t>with some silky character</a:t>
            </a:r>
          </a:p>
        </p:txBody>
      </p:sp>
      <p:sp>
        <p:nvSpPr>
          <p:cNvPr id="12" name="TextBox 18">
            <a:extLst>
              <a:ext uri="{FF2B5EF4-FFF2-40B4-BE49-F238E27FC236}">
                <a16:creationId xmlns:a16="http://schemas.microsoft.com/office/drawing/2014/main" id="{72954597-2597-988A-BBD1-7798E6D5526C}"/>
              </a:ext>
            </a:extLst>
          </p:cNvPr>
          <p:cNvSpPr txBox="1"/>
          <p:nvPr/>
        </p:nvSpPr>
        <p:spPr>
          <a:xfrm>
            <a:off x="8069605" y="1626861"/>
            <a:ext cx="3672000" cy="612645"/>
          </a:xfrm>
          <a:prstGeom prst="rect">
            <a:avLst/>
          </a:prstGeom>
          <a:solidFill>
            <a:srgbClr val="00264E"/>
          </a:solidFill>
          <a:ln>
            <a:noFill/>
          </a:ln>
        </p:spPr>
        <p:txBody>
          <a:bodyPr wrap="square" lIns="72000" tIns="72000" rIns="72000" bIns="10800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264E"/>
              </a:buClr>
              <a:buSzTx/>
              <a:buFontTx/>
              <a:buNone/>
              <a:tabLst/>
              <a:defRPr/>
            </a:pPr>
            <a:r>
              <a:rPr kumimoji="0" lang="en-US" sz="1400" b="1" i="0" u="none" strike="noStrike" kern="1200" cap="none" spc="-30" normalizeH="0" baseline="0" noProof="0">
                <a:ln>
                  <a:noFill/>
                </a:ln>
                <a:solidFill>
                  <a:prstClr val="white"/>
                </a:solidFill>
                <a:effectLst/>
                <a:uLnTx/>
                <a:uFillTx/>
                <a:latin typeface="Work Sans Light"/>
                <a:ea typeface="+mn-ea"/>
                <a:cs typeface="+mn-cs"/>
              </a:rPr>
              <a:t>Leave a light, non greasy, silky residue</a:t>
            </a:r>
          </a:p>
        </p:txBody>
      </p:sp>
      <p:sp>
        <p:nvSpPr>
          <p:cNvPr id="13" name="TextBox 42">
            <a:extLst>
              <a:ext uri="{FF2B5EF4-FFF2-40B4-BE49-F238E27FC236}">
                <a16:creationId xmlns:a16="http://schemas.microsoft.com/office/drawing/2014/main" id="{276243D6-F3C7-00C4-4005-4668E0CAE09D}"/>
              </a:ext>
            </a:extLst>
          </p:cNvPr>
          <p:cNvSpPr txBox="1"/>
          <p:nvPr/>
        </p:nvSpPr>
        <p:spPr>
          <a:xfrm>
            <a:off x="436655" y="1238469"/>
            <a:ext cx="3666308" cy="338554"/>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i="0" u="none" strike="noStrike" kern="1200" cap="none" spc="0" normalizeH="0" baseline="0" noProof="0" dirty="0">
                <a:ln>
                  <a:noFill/>
                </a:ln>
                <a:solidFill>
                  <a:srgbClr val="2067CA"/>
                </a:solidFill>
                <a:effectLst/>
                <a:uLnTx/>
                <a:uFillTx/>
                <a:latin typeface="Work Sans Light"/>
                <a:ea typeface="+mn-ea"/>
                <a:cs typeface="+mn-cs"/>
              </a:rPr>
              <a:t>Initial </a:t>
            </a:r>
            <a:r>
              <a:rPr kumimoji="0" lang="sv-SE" sz="1600" i="0" u="none" strike="noStrike" kern="1200" cap="none" spc="0" normalizeH="0" baseline="0" noProof="0" dirty="0" err="1">
                <a:ln>
                  <a:noFill/>
                </a:ln>
                <a:solidFill>
                  <a:srgbClr val="2067CA"/>
                </a:solidFill>
                <a:effectLst/>
                <a:uLnTx/>
                <a:uFillTx/>
                <a:latin typeface="Work Sans Light"/>
                <a:ea typeface="+mn-ea"/>
                <a:cs typeface="+mn-cs"/>
              </a:rPr>
              <a:t>rub</a:t>
            </a:r>
            <a:r>
              <a:rPr kumimoji="0" lang="sv-SE" sz="1600" i="0" u="none" strike="noStrike" kern="1200" cap="none" spc="0" normalizeH="0" baseline="0" noProof="0" dirty="0">
                <a:ln>
                  <a:noFill/>
                </a:ln>
                <a:solidFill>
                  <a:srgbClr val="2067CA"/>
                </a:solidFill>
                <a:effectLst/>
                <a:uLnTx/>
                <a:uFillTx/>
                <a:latin typeface="Work Sans Light"/>
                <a:ea typeface="+mn-ea"/>
                <a:cs typeface="+mn-cs"/>
              </a:rPr>
              <a:t> </a:t>
            </a:r>
          </a:p>
        </p:txBody>
      </p:sp>
      <p:sp>
        <p:nvSpPr>
          <p:cNvPr id="14" name="TextBox 44">
            <a:extLst>
              <a:ext uri="{FF2B5EF4-FFF2-40B4-BE49-F238E27FC236}">
                <a16:creationId xmlns:a16="http://schemas.microsoft.com/office/drawing/2014/main" id="{04EE16F8-4889-31F7-034B-7FD7A1E4C2E0}"/>
              </a:ext>
            </a:extLst>
          </p:cNvPr>
          <p:cNvSpPr txBox="1"/>
          <p:nvPr/>
        </p:nvSpPr>
        <p:spPr>
          <a:xfrm>
            <a:off x="4279772" y="1231545"/>
            <a:ext cx="3646254" cy="338554"/>
          </a:xfrm>
          <a:prstGeom prst="rect">
            <a:avLst/>
          </a:prstGeom>
          <a:noFill/>
          <a:ln>
            <a:noFill/>
          </a:ln>
        </p:spPr>
        <p:txBody>
          <a:bodyPr wrap="square" lIns="91440" tIns="45720" rIns="91440" bIns="45720" anchor="t">
            <a:spAutoFit/>
          </a:bodyPr>
          <a:lstStyle>
            <a:defPPr>
              <a:defRPr lang="en-US"/>
            </a:defPPr>
            <a:lvl1pPr>
              <a:defRPr sz="1600">
                <a:solidFill>
                  <a:schemeClr val="accent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a:ln>
                  <a:noFill/>
                </a:ln>
                <a:solidFill>
                  <a:srgbClr val="2067CA"/>
                </a:solidFill>
                <a:effectLst/>
                <a:uLnTx/>
                <a:uFillTx/>
                <a:latin typeface="Work Sans Light"/>
                <a:ea typeface="+mn-ea"/>
                <a:cs typeface="+mn-cs"/>
              </a:rPr>
              <a:t>In immediate after-feel </a:t>
            </a:r>
            <a:endParaRPr kumimoji="0" lang="sv-SE" sz="1600" i="0" u="none" strike="noStrike" kern="1200" cap="none" spc="0" normalizeH="0" baseline="0" noProof="0">
              <a:ln>
                <a:noFill/>
              </a:ln>
              <a:solidFill>
                <a:srgbClr val="2067CA"/>
              </a:solidFill>
              <a:effectLst/>
              <a:uLnTx/>
              <a:uFillTx/>
              <a:latin typeface="Work Sans Light"/>
              <a:ea typeface="+mn-ea"/>
              <a:cs typeface="+mn-cs"/>
            </a:endParaRPr>
          </a:p>
        </p:txBody>
      </p:sp>
      <p:sp>
        <p:nvSpPr>
          <p:cNvPr id="15" name="TextBox 45">
            <a:extLst>
              <a:ext uri="{FF2B5EF4-FFF2-40B4-BE49-F238E27FC236}">
                <a16:creationId xmlns:a16="http://schemas.microsoft.com/office/drawing/2014/main" id="{C0D656B2-5FB4-BB78-5410-B14D327DAC25}"/>
              </a:ext>
            </a:extLst>
          </p:cNvPr>
          <p:cNvSpPr txBox="1"/>
          <p:nvPr/>
        </p:nvSpPr>
        <p:spPr>
          <a:xfrm>
            <a:off x="8074072" y="1238469"/>
            <a:ext cx="3675016" cy="338554"/>
          </a:xfrm>
          <a:prstGeom prst="rect">
            <a:avLst/>
          </a:prstGeom>
          <a:noFill/>
          <a:ln>
            <a:noFill/>
          </a:ln>
        </p:spPr>
        <p:txBody>
          <a:bodyPr wrap="square" lIns="91440" tIns="45720" rIns="91440" bIns="45720" anchor="t">
            <a:spAutoFit/>
          </a:bodyPr>
          <a:lstStyle>
            <a:defPPr>
              <a:defRPr lang="en-US"/>
            </a:defPPr>
            <a:lvl1pPr>
              <a:defRPr sz="1600">
                <a:solidFill>
                  <a:schemeClr val="accent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a:ln>
                  <a:noFill/>
                </a:ln>
                <a:solidFill>
                  <a:srgbClr val="2067CA"/>
                </a:solidFill>
                <a:effectLst/>
                <a:uLnTx/>
                <a:uFillTx/>
                <a:latin typeface="Work Sans Light"/>
                <a:ea typeface="+mn-ea"/>
                <a:cs typeface="+mn-cs"/>
              </a:rPr>
              <a:t>In after-feel after 20 min</a:t>
            </a:r>
            <a:endParaRPr kumimoji="0" lang="sv-SE" sz="1600" i="0" u="none" strike="noStrike" kern="1200" cap="none" spc="0" normalizeH="0" baseline="0" noProof="0">
              <a:ln>
                <a:noFill/>
              </a:ln>
              <a:solidFill>
                <a:srgbClr val="2067CA"/>
              </a:solidFill>
              <a:effectLst/>
              <a:uLnTx/>
              <a:uFillTx/>
              <a:latin typeface="Work Sans Light"/>
              <a:ea typeface="+mn-ea"/>
              <a:cs typeface="+mn-cs"/>
            </a:endParaRPr>
          </a:p>
        </p:txBody>
      </p:sp>
      <p:pic>
        <p:nvPicPr>
          <p:cNvPr id="21" name="Bildobjekt 20" descr="En bild som visar text, diagram, linje, skärmbild&#10;&#10;Automatiskt genererad beskrivning">
            <a:extLst>
              <a:ext uri="{FF2B5EF4-FFF2-40B4-BE49-F238E27FC236}">
                <a16:creationId xmlns:a16="http://schemas.microsoft.com/office/drawing/2014/main" id="{925DDEDD-8699-FBA1-2F04-9021F16AE25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35317" y="2401716"/>
            <a:ext cx="3672840" cy="3252651"/>
          </a:xfrm>
          <a:prstGeom prst="rect">
            <a:avLst/>
          </a:prstGeom>
        </p:spPr>
      </p:pic>
      <p:pic>
        <p:nvPicPr>
          <p:cNvPr id="22" name="Bildobjekt 21">
            <a:extLst>
              <a:ext uri="{FF2B5EF4-FFF2-40B4-BE49-F238E27FC236}">
                <a16:creationId xmlns:a16="http://schemas.microsoft.com/office/drawing/2014/main" id="{70CCB79C-A079-5D37-162B-C2102265A9A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252461" y="2401716"/>
            <a:ext cx="3672840" cy="3252651"/>
          </a:xfrm>
          <a:prstGeom prst="rect">
            <a:avLst/>
          </a:prstGeom>
        </p:spPr>
      </p:pic>
      <p:pic>
        <p:nvPicPr>
          <p:cNvPr id="23" name="Bildobjekt 22">
            <a:extLst>
              <a:ext uri="{FF2B5EF4-FFF2-40B4-BE49-F238E27FC236}">
                <a16:creationId xmlns:a16="http://schemas.microsoft.com/office/drawing/2014/main" id="{199524CC-0C68-19E4-2859-7E7375365D3D}"/>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069605" y="2410426"/>
            <a:ext cx="3672840" cy="3243942"/>
          </a:xfrm>
          <a:prstGeom prst="rect">
            <a:avLst/>
          </a:prstGeom>
        </p:spPr>
      </p:pic>
      <p:sp>
        <p:nvSpPr>
          <p:cNvPr id="3" name="TextBox 2">
            <a:extLst>
              <a:ext uri="{FF2B5EF4-FFF2-40B4-BE49-F238E27FC236}">
                <a16:creationId xmlns:a16="http://schemas.microsoft.com/office/drawing/2014/main" id="{CDCAD630-2A47-CE08-9765-ACF6E6239B7D}"/>
              </a:ext>
            </a:extLst>
          </p:cNvPr>
          <p:cNvSpPr txBox="1"/>
          <p:nvPr/>
        </p:nvSpPr>
        <p:spPr>
          <a:xfrm>
            <a:off x="291312" y="5769014"/>
            <a:ext cx="11623174" cy="461665"/>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Work Sans Light"/>
                <a:ea typeface="+mn-ea"/>
                <a:cs typeface="+mn-cs"/>
              </a:rPr>
              <a:t>Emollients are evaluated by the Sensory Spectrum </a:t>
            </a:r>
            <a:r>
              <a:rPr kumimoji="0" lang="en-US" sz="1200" b="0" i="0" u="none" strike="noStrike" kern="1200" cap="none" spc="0" normalizeH="0" baseline="0" noProof="0" err="1">
                <a:ln>
                  <a:noFill/>
                </a:ln>
                <a:solidFill>
                  <a:srgbClr val="000000"/>
                </a:solidFill>
                <a:effectLst/>
                <a:uLnTx/>
                <a:uFillTx/>
                <a:latin typeface="Work Sans Light"/>
                <a:ea typeface="+mn-ea"/>
                <a:cs typeface="+mn-cs"/>
              </a:rPr>
              <a:t>Skinfeel</a:t>
            </a:r>
            <a:r>
              <a:rPr kumimoji="0" lang="en-US" sz="1200" b="0" i="0" u="none" strike="noStrike" kern="1200" cap="none" spc="0" normalizeH="0" baseline="0" noProof="0">
                <a:ln>
                  <a:noFill/>
                </a:ln>
                <a:solidFill>
                  <a:srgbClr val="000000"/>
                </a:solidFill>
                <a:effectLst/>
                <a:uLnTx/>
                <a:uFillTx/>
                <a:latin typeface="Work Sans Light"/>
                <a:ea typeface="+mn-ea"/>
                <a:cs typeface="+mn-cs"/>
              </a:rPr>
              <a:t> Descriptive Panel for sensory attributes. 10 panelists, trained in Spectrum </a:t>
            </a:r>
            <a:r>
              <a:rPr kumimoji="0" lang="en-US" sz="1200" b="0" i="0" u="none" strike="noStrike" kern="1200" cap="none" spc="0" normalizeH="0" baseline="0" noProof="0" err="1">
                <a:ln>
                  <a:noFill/>
                </a:ln>
                <a:solidFill>
                  <a:srgbClr val="000000"/>
                </a:solidFill>
                <a:effectLst/>
                <a:uLnTx/>
                <a:uFillTx/>
                <a:latin typeface="Work Sans Light"/>
                <a:ea typeface="+mn-ea"/>
                <a:cs typeface="+mn-cs"/>
              </a:rPr>
              <a:t>Skinfeel</a:t>
            </a:r>
            <a:r>
              <a:rPr kumimoji="0" lang="en-US" sz="1200" b="0" i="0" u="none" strike="noStrike" kern="1200" cap="none" spc="0" normalizeH="0" baseline="0" noProof="0">
                <a:ln>
                  <a:noFill/>
                </a:ln>
                <a:solidFill>
                  <a:srgbClr val="000000"/>
                </a:solidFill>
                <a:effectLst/>
                <a:uLnTx/>
                <a:uFillTx/>
                <a:latin typeface="Work Sans Light"/>
                <a:ea typeface="+mn-ea"/>
                <a:cs typeface="+mn-cs"/>
              </a:rPr>
              <a:t> Descriptive Analysis method and oriented to the study protocol. Randomized Complete Block Design.</a:t>
            </a:r>
          </a:p>
        </p:txBody>
      </p:sp>
    </p:spTree>
    <p:extLst>
      <p:ext uri="{BB962C8B-B14F-4D97-AF65-F5344CB8AC3E}">
        <p14:creationId xmlns:p14="http://schemas.microsoft.com/office/powerpoint/2010/main" val="3902885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168633-61B0-499C-9600-671A15F9F132}"/>
              </a:ext>
            </a:extLst>
          </p:cNvPr>
          <p:cNvSpPr>
            <a:spLocks noGrp="1"/>
          </p:cNvSpPr>
          <p:nvPr>
            <p:ph type="title"/>
          </p:nvPr>
        </p:nvSpPr>
        <p:spPr>
          <a:xfrm>
            <a:off x="442911" y="446737"/>
            <a:ext cx="11306175" cy="775597"/>
          </a:xfrm>
        </p:spPr>
        <p:txBody>
          <a:bodyPr/>
          <a:lstStyle/>
          <a:p>
            <a:r>
              <a:rPr lang="en-US" dirty="0"/>
              <a:t>LIPEX® SheaLuxe TR</a:t>
            </a:r>
            <a:r>
              <a:rPr lang="en-US" baseline="30000" dirty="0"/>
              <a:t> ™</a:t>
            </a:r>
            <a:r>
              <a:rPr lang="en-US" dirty="0"/>
              <a:t> in skincare</a:t>
            </a:r>
            <a:br>
              <a:rPr lang="en-US" dirty="0"/>
            </a:br>
            <a:r>
              <a:rPr lang="en-US" sz="2000" dirty="0"/>
              <a:t>Show a similar short and long-term effect in reducing TEWL than dimethicone</a:t>
            </a:r>
          </a:p>
        </p:txBody>
      </p:sp>
      <p:sp>
        <p:nvSpPr>
          <p:cNvPr id="3" name="Date Placeholder 2">
            <a:extLst>
              <a:ext uri="{FF2B5EF4-FFF2-40B4-BE49-F238E27FC236}">
                <a16:creationId xmlns:a16="http://schemas.microsoft.com/office/drawing/2014/main" id="{937D1597-A2D8-4F0D-99E5-3F91E2AB20F8}"/>
              </a:ext>
            </a:extLst>
          </p:cNvPr>
          <p:cNvSpPr>
            <a:spLocks noGrp="1"/>
          </p:cNvSpPr>
          <p:nvPr>
            <p:ph type="dt" sz="half" idx="10"/>
          </p:nvPr>
        </p:nvSpPr>
        <p:spPr>
          <a:xfrm>
            <a:off x="10542897" y="6472030"/>
            <a:ext cx="626774"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2DCDAF2-D32B-4959-9A14-0F980FBA07DD}" type="datetime1">
              <a:rPr lang="en-GB" sz="1000" smtClean="0"/>
              <a:pPr marL="0" marR="0" lvl="0" indent="0" algn="r" defTabSz="914400" rtl="0" eaLnBrk="1" fontAlgn="auto" latinLnBrk="0" hangingPunct="1">
                <a:lnSpc>
                  <a:spcPct val="100000"/>
                </a:lnSpc>
                <a:spcBef>
                  <a:spcPts val="0"/>
                </a:spcBef>
                <a:spcAft>
                  <a:spcPts val="0"/>
                </a:spcAft>
                <a:buClrTx/>
                <a:buSzTx/>
                <a:buFontTx/>
                <a:buNone/>
                <a:tabLst/>
                <a:defRPr/>
              </a:pPr>
              <a:t>18/06/2025</a:t>
            </a:fld>
            <a:endParaRPr kumimoji="0" lang="en-US" sz="1000" b="0" i="0" u="none" strike="noStrike" kern="1200" cap="none" spc="-30" normalizeH="0" baseline="0" noProof="0">
              <a:ln>
                <a:noFill/>
              </a:ln>
              <a:solidFill>
                <a:srgbClr val="2067CA"/>
              </a:solidFill>
              <a:effectLst/>
              <a:uLnTx/>
              <a:uFillTx/>
              <a:latin typeface="Work Sans Light"/>
              <a:ea typeface="+mn-ea"/>
              <a:cs typeface="+mn-cs"/>
            </a:endParaRPr>
          </a:p>
        </p:txBody>
      </p:sp>
      <p:sp>
        <p:nvSpPr>
          <p:cNvPr id="4" name="Footer Placeholder 3">
            <a:extLst>
              <a:ext uri="{FF2B5EF4-FFF2-40B4-BE49-F238E27FC236}">
                <a16:creationId xmlns:a16="http://schemas.microsoft.com/office/drawing/2014/main" id="{1AA18CC5-B97A-46D1-97B2-3CD54F0DDD58}"/>
              </a:ext>
            </a:extLst>
          </p:cNvPr>
          <p:cNvSpPr>
            <a:spLocks noGrp="1"/>
          </p:cNvSpPr>
          <p:nvPr>
            <p:ph type="ftr" sz="quarter" idx="11"/>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The Co-Development Company</a:t>
            </a:r>
            <a:endParaRPr kumimoji="0" lang="en-US" sz="1000" b="0" i="0" u="none" strike="noStrike" kern="1200" cap="none" spc="-30" normalizeH="0" baseline="0" noProof="0">
              <a:ln>
                <a:noFill/>
              </a:ln>
              <a:solidFill>
                <a:srgbClr val="2067CA"/>
              </a:solidFill>
              <a:effectLst/>
              <a:uLnTx/>
              <a:uFillTx/>
              <a:latin typeface="Work Sans Light"/>
              <a:ea typeface="+mn-ea"/>
              <a:cs typeface="+mn-cs"/>
            </a:endParaRPr>
          </a:p>
        </p:txBody>
      </p:sp>
      <p:sp>
        <p:nvSpPr>
          <p:cNvPr id="5" name="Slide Number Placeholder 4">
            <a:extLst>
              <a:ext uri="{FF2B5EF4-FFF2-40B4-BE49-F238E27FC236}">
                <a16:creationId xmlns:a16="http://schemas.microsoft.com/office/drawing/2014/main" id="{4F81821A-40BB-4311-B77A-C672FABB0B68}"/>
              </a:ext>
            </a:extLst>
          </p:cNvPr>
          <p:cNvSpPr>
            <a:spLocks noGrp="1"/>
          </p:cNvSpPr>
          <p:nvPr>
            <p:ph type="sldNum" sz="quarter" idx="12"/>
          </p:nvPr>
        </p:nvSpPr>
        <p:spPr>
          <a:xfrm>
            <a:off x="11376660" y="6472030"/>
            <a:ext cx="372428" cy="153888"/>
          </a:xfrm>
          <a:prstGeom prst="rect">
            <a:avLst/>
          </a:prstGeom>
        </p:spPr>
        <p:txBody>
          <a:bodyPr vert="horz" wrap="squar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803DD7B-12C8-43B8-9F45-989336E79744}" type="slidenum">
              <a:rPr lang="en-US" sz="1000" smtClean="0"/>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000" b="0" i="0" u="none" strike="noStrike" kern="1200" cap="none" spc="-30" normalizeH="0" baseline="0" noProof="0">
              <a:ln>
                <a:noFill/>
              </a:ln>
              <a:solidFill>
                <a:srgbClr val="2067CA"/>
              </a:solidFill>
              <a:effectLst/>
              <a:uLnTx/>
              <a:uFillTx/>
              <a:latin typeface="Work Sans Light"/>
              <a:ea typeface="+mn-ea"/>
              <a:cs typeface="+mn-cs"/>
            </a:endParaRPr>
          </a:p>
        </p:txBody>
      </p:sp>
      <p:sp>
        <p:nvSpPr>
          <p:cNvPr id="6" name="Content Placeholder 5">
            <a:extLst>
              <a:ext uri="{FF2B5EF4-FFF2-40B4-BE49-F238E27FC236}">
                <a16:creationId xmlns:a16="http://schemas.microsoft.com/office/drawing/2014/main" id="{D8B5C438-17C7-4B4F-931A-D3D7464E1661}"/>
              </a:ext>
            </a:extLst>
          </p:cNvPr>
          <p:cNvSpPr>
            <a:spLocks noGrp="1"/>
          </p:cNvSpPr>
          <p:nvPr>
            <p:ph sz="quarter" idx="13"/>
          </p:nvPr>
        </p:nvSpPr>
        <p:spPr>
          <a:xfrm>
            <a:off x="7098348" y="1793017"/>
            <a:ext cx="4650740" cy="3387164"/>
          </a:xfrm>
        </p:spPr>
        <p:txBody>
          <a:bodyPr/>
          <a:lstStyle/>
          <a:p>
            <a:pPr marR="0" lvl="0" fontAlgn="auto">
              <a:lnSpc>
                <a:spcPct val="107000"/>
              </a:lnSpc>
              <a:spcAft>
                <a:spcPts val="800"/>
              </a:spcAft>
              <a:buClrTx/>
              <a:buSzTx/>
              <a:tabLst>
                <a:tab pos="57150" algn="l"/>
              </a:tabLst>
              <a:defRPr/>
            </a:pPr>
            <a:r>
              <a:rPr lang="en-US" kern="0" err="1">
                <a:solidFill>
                  <a:srgbClr val="404040"/>
                </a:solidFill>
                <a:cs typeface="Calibri" panose="020F0502020204030204" pitchFamily="34" charset="0"/>
              </a:rPr>
              <a:t>Lipex</a:t>
            </a:r>
            <a:r>
              <a:rPr lang="en-US" kern="0">
                <a:solidFill>
                  <a:srgbClr val="404040"/>
                </a:solidFill>
                <a:cs typeface="Calibri" panose="020F0502020204030204" pitchFamily="34" charset="0"/>
              </a:rPr>
              <a:t>© </a:t>
            </a:r>
            <a:r>
              <a:rPr lang="en-US" kern="0" err="1">
                <a:solidFill>
                  <a:srgbClr val="404040"/>
                </a:solidFill>
                <a:cs typeface="Calibri" panose="020F0502020204030204" pitchFamily="34" charset="0"/>
              </a:rPr>
              <a:t>SheaLuxe</a:t>
            </a:r>
            <a:r>
              <a:rPr lang="en-US" kern="0">
                <a:solidFill>
                  <a:srgbClr val="404040"/>
                </a:solidFill>
                <a:cs typeface="Calibri" panose="020F0502020204030204" pitchFamily="34" charset="0"/>
              </a:rPr>
              <a:t> TR™ and dimethicone are equal in their ability to reduce the TEWL 3,6 and 24 hours after application. </a:t>
            </a:r>
          </a:p>
          <a:p>
            <a:pPr>
              <a:lnSpc>
                <a:spcPct val="107000"/>
              </a:lnSpc>
              <a:spcAft>
                <a:spcPts val="800"/>
              </a:spcAft>
              <a:tabLst>
                <a:tab pos="57150" algn="l"/>
              </a:tabLst>
            </a:pPr>
            <a:r>
              <a:rPr lang="en-US" kern="0">
                <a:solidFill>
                  <a:srgbClr val="404040"/>
                </a:solidFill>
                <a:effectLst/>
                <a:ea typeface="Times New Roman" panose="02020603050405020304" pitchFamily="18" charset="0"/>
                <a:cs typeface="Calibri" panose="020F0502020204030204" pitchFamily="34" charset="0"/>
              </a:rPr>
              <a:t>It can be concluded that </a:t>
            </a:r>
            <a:r>
              <a:rPr lang="en-US" kern="0" err="1">
                <a:solidFill>
                  <a:srgbClr val="404040"/>
                </a:solidFill>
                <a:effectLst/>
                <a:ea typeface="Times New Roman" panose="02020603050405020304" pitchFamily="18" charset="0"/>
                <a:cs typeface="Calibri" panose="020F0502020204030204" pitchFamily="34" charset="0"/>
              </a:rPr>
              <a:t>Lipex</a:t>
            </a:r>
            <a:r>
              <a:rPr lang="en-US" kern="0">
                <a:solidFill>
                  <a:srgbClr val="404040"/>
                </a:solidFill>
                <a:effectLst/>
                <a:ea typeface="Times New Roman" panose="02020603050405020304" pitchFamily="18" charset="0"/>
                <a:cs typeface="Calibri" panose="020F0502020204030204" pitchFamily="34" charset="0"/>
              </a:rPr>
              <a:t> </a:t>
            </a:r>
            <a:r>
              <a:rPr lang="en-US" kern="0" err="1">
                <a:solidFill>
                  <a:srgbClr val="404040"/>
                </a:solidFill>
                <a:effectLst/>
                <a:ea typeface="Times New Roman" panose="02020603050405020304" pitchFamily="18" charset="0"/>
                <a:cs typeface="Calibri" panose="020F0502020204030204" pitchFamily="34" charset="0"/>
              </a:rPr>
              <a:t>SheaLuxe</a:t>
            </a:r>
            <a:r>
              <a:rPr lang="en-US" kern="0">
                <a:solidFill>
                  <a:srgbClr val="404040"/>
                </a:solidFill>
                <a:effectLst/>
                <a:ea typeface="Times New Roman" panose="02020603050405020304" pitchFamily="18" charset="0"/>
                <a:cs typeface="Calibri" panose="020F0502020204030204" pitchFamily="34" charset="0"/>
              </a:rPr>
              <a:t> TR  and dimethicone have</a:t>
            </a:r>
          </a:p>
          <a:p>
            <a:pPr lvl="1">
              <a:lnSpc>
                <a:spcPct val="107000"/>
              </a:lnSpc>
              <a:spcAft>
                <a:spcPts val="800"/>
              </a:spcAft>
              <a:tabLst>
                <a:tab pos="57150" algn="l"/>
              </a:tabLst>
            </a:pPr>
            <a:r>
              <a:rPr lang="en-US" kern="0">
                <a:solidFill>
                  <a:srgbClr val="404040"/>
                </a:solidFill>
                <a:ea typeface="Times New Roman" panose="02020603050405020304" pitchFamily="18" charset="0"/>
                <a:cs typeface="Calibri" panose="020F0502020204030204" pitchFamily="34" charset="0"/>
              </a:rPr>
              <a:t>M</a:t>
            </a:r>
            <a:r>
              <a:rPr lang="en-US" kern="0">
                <a:solidFill>
                  <a:srgbClr val="404040"/>
                </a:solidFill>
                <a:effectLst/>
                <a:ea typeface="Times New Roman" panose="02020603050405020304" pitchFamily="18" charset="0"/>
                <a:cs typeface="Calibri" panose="020F0502020204030204" pitchFamily="34" charset="0"/>
              </a:rPr>
              <a:t>oderate short-term effect on the skin barrier</a:t>
            </a:r>
            <a:endParaRPr lang="en-US" spc="0">
              <a:solidFill>
                <a:prstClr val="black"/>
              </a:solidFill>
            </a:endParaRPr>
          </a:p>
          <a:p>
            <a:pPr lvl="1">
              <a:lnSpc>
                <a:spcPct val="107000"/>
              </a:lnSpc>
              <a:spcAft>
                <a:spcPts val="800"/>
              </a:spcAft>
              <a:tabLst>
                <a:tab pos="57150" algn="l"/>
              </a:tabLst>
            </a:pPr>
            <a:r>
              <a:rPr kumimoji="0" lang="en-US" b="0" i="0" u="none" strike="noStrike" kern="1200" cap="none" spc="0" normalizeH="0" baseline="0" noProof="0">
                <a:ln>
                  <a:noFill/>
                </a:ln>
                <a:solidFill>
                  <a:prstClr val="black"/>
                </a:solidFill>
                <a:effectLst/>
                <a:uLnTx/>
                <a:uFillTx/>
                <a:ea typeface="+mn-ea"/>
                <a:cs typeface="+mn-cs"/>
              </a:rPr>
              <a:t>A slight residual effect after 24 hours, indicating a long-lasting effect.  </a:t>
            </a:r>
          </a:p>
          <a:p>
            <a:pPr marL="0" indent="0">
              <a:buNone/>
            </a:pPr>
            <a:endParaRPr lang="en-US"/>
          </a:p>
        </p:txBody>
      </p:sp>
      <p:sp>
        <p:nvSpPr>
          <p:cNvPr id="10" name="TextBox 9">
            <a:extLst>
              <a:ext uri="{FF2B5EF4-FFF2-40B4-BE49-F238E27FC236}">
                <a16:creationId xmlns:a16="http://schemas.microsoft.com/office/drawing/2014/main" id="{E629967B-D3F8-B6A4-FC31-C54A4996CBAE}"/>
              </a:ext>
            </a:extLst>
          </p:cNvPr>
          <p:cNvSpPr txBox="1"/>
          <p:nvPr/>
        </p:nvSpPr>
        <p:spPr>
          <a:xfrm>
            <a:off x="360436" y="5398453"/>
            <a:ext cx="11306175" cy="784830"/>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Work Sans Light"/>
                <a:ea typeface="+mn-ea"/>
                <a:cs typeface="+mn-cs"/>
              </a:rPr>
              <a:t>Emulsions with 20% emollients were prepared according to a standard recipe that has been used previously in moisturization studies with dimethicone 50 </a:t>
            </a:r>
            <a:r>
              <a:rPr kumimoji="0" lang="en-US" sz="900" b="0" i="0" u="none" strike="noStrike" kern="1200" cap="none" spc="0" normalizeH="0" baseline="0" noProof="0" dirty="0" err="1">
                <a:ln>
                  <a:noFill/>
                </a:ln>
                <a:solidFill>
                  <a:srgbClr val="000000"/>
                </a:solidFill>
                <a:effectLst/>
                <a:uLnTx/>
                <a:uFillTx/>
                <a:latin typeface="Work Sans Light"/>
                <a:ea typeface="+mn-ea"/>
                <a:cs typeface="+mn-cs"/>
              </a:rPr>
              <a:t>cSt</a:t>
            </a:r>
            <a:r>
              <a:rPr kumimoji="0" lang="en-US" sz="900" b="0" i="0" u="none" strike="noStrike" kern="1200" cap="none" spc="0" normalizeH="0" baseline="0" noProof="0" dirty="0">
                <a:ln>
                  <a:noFill/>
                </a:ln>
                <a:solidFill>
                  <a:srgbClr val="000000"/>
                </a:solidFill>
                <a:effectLst/>
                <a:uLnTx/>
                <a:uFillTx/>
                <a:latin typeface="Work Sans Light"/>
                <a:ea typeface="+mn-ea"/>
                <a:cs typeface="+mn-cs"/>
              </a:rPr>
              <a:t> or Lipex</a:t>
            </a:r>
            <a:r>
              <a:rPr kumimoji="0" lang="en-US" sz="900" b="0" i="0" u="none" strike="noStrike" kern="1200" cap="none" spc="0" normalizeH="0" baseline="30000" noProof="0" dirty="0">
                <a:ln>
                  <a:noFill/>
                </a:ln>
                <a:solidFill>
                  <a:srgbClr val="000000"/>
                </a:solidFill>
                <a:effectLst/>
                <a:uLnTx/>
                <a:uFillTx/>
                <a:latin typeface="Work Sans Light"/>
                <a:ea typeface="+mn-ea"/>
                <a:cs typeface="+mn-cs"/>
              </a:rPr>
              <a:t>©</a:t>
            </a:r>
            <a:r>
              <a:rPr kumimoji="0" lang="en-US" sz="900" b="0" i="0" u="none" strike="noStrike" kern="1200" cap="none" spc="0" normalizeH="0" baseline="0" noProof="0" dirty="0">
                <a:ln>
                  <a:noFill/>
                </a:ln>
                <a:solidFill>
                  <a:srgbClr val="000000"/>
                </a:solidFill>
                <a:effectLst/>
                <a:uLnTx/>
                <a:uFillTx/>
                <a:latin typeface="Work Sans Light"/>
                <a:ea typeface="+mn-ea"/>
                <a:cs typeface="+mn-cs"/>
              </a:rPr>
              <a:t> SheaLuxe TR™. The emulsions were evaluated for their barrier enhancing properties using TEWL measurements. All tests were made by ITA-Test, Warsaw, Poland, in September-October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Work Sans Light"/>
                <a:ea typeface="+mn-ea"/>
                <a:cs typeface="+mn-cs"/>
              </a:rPr>
              <a:t>A test panel of 13 persons aged 25-43 were used in the test to provide a total of 20 </a:t>
            </a:r>
            <a:r>
              <a:rPr kumimoji="0" lang="en-US" sz="900" b="0" i="0" u="none" strike="noStrike" kern="1200" cap="none" spc="0" normalizeH="0" baseline="0" noProof="0" dirty="0" err="1">
                <a:ln>
                  <a:noFill/>
                </a:ln>
                <a:solidFill>
                  <a:srgbClr val="000000"/>
                </a:solidFill>
                <a:effectLst/>
                <a:uLnTx/>
                <a:uFillTx/>
                <a:latin typeface="Work Sans Light"/>
                <a:ea typeface="+mn-ea"/>
                <a:cs typeface="+mn-cs"/>
              </a:rPr>
              <a:t>testpoints</a:t>
            </a:r>
            <a:r>
              <a:rPr kumimoji="0" lang="en-US" sz="900" b="0" i="0" u="none" strike="noStrike" kern="1200" cap="none" spc="0" normalizeH="0" baseline="0" noProof="0" dirty="0">
                <a:ln>
                  <a:noFill/>
                </a:ln>
                <a:solidFill>
                  <a:srgbClr val="000000"/>
                </a:solidFill>
                <a:effectLst/>
                <a:uLnTx/>
                <a:uFillTx/>
                <a:latin typeface="Work Sans Light"/>
                <a:ea typeface="+mn-ea"/>
                <a:cs typeface="+mn-cs"/>
              </a:rPr>
              <a:t> for each emuls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Work Sans Light"/>
                <a:ea typeface="+mn-ea"/>
                <a:cs typeface="+mn-cs"/>
              </a:rPr>
              <a:t>Background value of TEWL was measured before the application and 4 mg/cm</a:t>
            </a:r>
            <a:r>
              <a:rPr kumimoji="0" lang="en-US" sz="900" b="0" i="0" u="none" strike="noStrike" kern="1200" cap="none" spc="0" normalizeH="0" baseline="30000" noProof="0" dirty="0">
                <a:ln>
                  <a:noFill/>
                </a:ln>
                <a:solidFill>
                  <a:srgbClr val="000000"/>
                </a:solidFill>
                <a:effectLst/>
                <a:uLnTx/>
                <a:uFillTx/>
                <a:latin typeface="Work Sans Light"/>
                <a:ea typeface="+mn-ea"/>
                <a:cs typeface="+mn-cs"/>
              </a:rPr>
              <a:t>2 </a:t>
            </a:r>
            <a:r>
              <a:rPr kumimoji="0" lang="en-US" sz="900" b="0" i="0" u="none" strike="noStrike" kern="1200" cap="none" spc="0" normalizeH="0" baseline="0" noProof="0" dirty="0">
                <a:ln>
                  <a:noFill/>
                </a:ln>
                <a:solidFill>
                  <a:srgbClr val="000000"/>
                </a:solidFill>
                <a:effectLst/>
                <a:uLnTx/>
                <a:uFillTx/>
                <a:latin typeface="Work Sans Light"/>
                <a:ea typeface="+mn-ea"/>
                <a:cs typeface="+mn-cs"/>
              </a:rPr>
              <a:t>of the emulsion was applied. TEWL measurements were made at 3, 6 and 24 hours after the application, using a TEWAMETER 625 (Courage &amp; </a:t>
            </a:r>
            <a:r>
              <a:rPr kumimoji="0" lang="en-US" sz="900" b="0" i="0" u="none" strike="noStrike" kern="1200" cap="none" spc="0" normalizeH="0" baseline="0" noProof="0" dirty="0" err="1">
                <a:ln>
                  <a:noFill/>
                </a:ln>
                <a:solidFill>
                  <a:srgbClr val="000000"/>
                </a:solidFill>
                <a:effectLst/>
                <a:uLnTx/>
                <a:uFillTx/>
                <a:latin typeface="Work Sans Light"/>
                <a:ea typeface="+mn-ea"/>
                <a:cs typeface="+mn-cs"/>
              </a:rPr>
              <a:t>Khazaka</a:t>
            </a:r>
            <a:r>
              <a:rPr kumimoji="0" lang="en-US" sz="900" b="0" i="0" u="none" strike="noStrike" kern="1200" cap="none" spc="0" normalizeH="0" baseline="0" noProof="0" dirty="0">
                <a:ln>
                  <a:noFill/>
                </a:ln>
                <a:solidFill>
                  <a:srgbClr val="000000"/>
                </a:solidFill>
                <a:effectLst/>
                <a:uLnTx/>
                <a:uFillTx/>
                <a:latin typeface="Work Sans Light"/>
                <a:ea typeface="+mn-ea"/>
                <a:cs typeface="+mn-cs"/>
              </a:rPr>
              <a:t> GmbH). </a:t>
            </a:r>
          </a:p>
        </p:txBody>
      </p:sp>
      <p:graphicFrame>
        <p:nvGraphicFramePr>
          <p:cNvPr id="7" name="Chart 6">
            <a:extLst>
              <a:ext uri="{FF2B5EF4-FFF2-40B4-BE49-F238E27FC236}">
                <a16:creationId xmlns:a16="http://schemas.microsoft.com/office/drawing/2014/main" id="{9BA12B89-D8B0-56D9-D4CE-8A145ED3B3CE}"/>
              </a:ext>
            </a:extLst>
          </p:cNvPr>
          <p:cNvGraphicFramePr>
            <a:graphicFrameLocks/>
          </p:cNvGraphicFramePr>
          <p:nvPr/>
        </p:nvGraphicFramePr>
        <p:xfrm>
          <a:off x="360436" y="1645520"/>
          <a:ext cx="6235573" cy="338716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653299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8AF4D30-9DE0-3B13-23AB-AD994B7E32FD}"/>
              </a:ext>
            </a:extLst>
          </p:cNvPr>
          <p:cNvSpPr>
            <a:spLocks noGrp="1"/>
          </p:cNvSpPr>
          <p:nvPr>
            <p:ph type="dt" sz="half" idx="10"/>
          </p:nvPr>
        </p:nvSpPr>
        <p:spPr>
          <a:xfrm>
            <a:off x="10542897" y="6472030"/>
            <a:ext cx="626774"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2DCDAF2-D32B-4959-9A14-0F980FBA07DD}" type="datetime1">
              <a:rPr lang="en-GB" sz="1000" smtClean="0"/>
              <a:pPr marL="0" marR="0" lvl="0" indent="0" algn="r" defTabSz="914400" rtl="0" eaLnBrk="1" fontAlgn="auto" latinLnBrk="0" hangingPunct="1">
                <a:lnSpc>
                  <a:spcPct val="100000"/>
                </a:lnSpc>
                <a:spcBef>
                  <a:spcPts val="0"/>
                </a:spcBef>
                <a:spcAft>
                  <a:spcPts val="0"/>
                </a:spcAft>
                <a:buClrTx/>
                <a:buSzTx/>
                <a:buFontTx/>
                <a:buNone/>
                <a:tabLst/>
                <a:defRPr/>
              </a:pPr>
              <a:t>18/06/2025</a:t>
            </a:fld>
            <a:endParaRPr kumimoji="0" lang="en-US" sz="1000" b="0" i="0" u="none" strike="noStrike" kern="1200" cap="none" spc="-30" normalizeH="0" baseline="0" noProof="0">
              <a:ln>
                <a:noFill/>
              </a:ln>
              <a:solidFill>
                <a:srgbClr val="2067CA"/>
              </a:solidFill>
              <a:effectLst/>
              <a:uLnTx/>
              <a:uFillTx/>
              <a:latin typeface="Work Sans Light"/>
              <a:ea typeface="+mn-ea"/>
              <a:cs typeface="+mn-cs"/>
            </a:endParaRPr>
          </a:p>
        </p:txBody>
      </p:sp>
      <p:sp>
        <p:nvSpPr>
          <p:cNvPr id="4" name="Footer Placeholder 3">
            <a:extLst>
              <a:ext uri="{FF2B5EF4-FFF2-40B4-BE49-F238E27FC236}">
                <a16:creationId xmlns:a16="http://schemas.microsoft.com/office/drawing/2014/main" id="{124CDE5B-9C15-2C39-2A95-8250CCCE7C2C}"/>
              </a:ext>
            </a:extLst>
          </p:cNvPr>
          <p:cNvSpPr>
            <a:spLocks noGrp="1"/>
          </p:cNvSpPr>
          <p:nvPr>
            <p:ph type="ftr" sz="quarter" idx="11"/>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The Co-Development Company</a:t>
            </a:r>
            <a:endParaRPr kumimoji="0" lang="en-US" sz="1000" b="0" i="0" u="none" strike="noStrike" kern="1200" cap="none" spc="-30" normalizeH="0" baseline="0" noProof="0">
              <a:ln>
                <a:noFill/>
              </a:ln>
              <a:solidFill>
                <a:srgbClr val="2067CA"/>
              </a:solidFill>
              <a:effectLst/>
              <a:uLnTx/>
              <a:uFillTx/>
              <a:latin typeface="Work Sans Light"/>
              <a:ea typeface="+mn-ea"/>
              <a:cs typeface="+mn-cs"/>
            </a:endParaRPr>
          </a:p>
        </p:txBody>
      </p:sp>
      <p:sp>
        <p:nvSpPr>
          <p:cNvPr id="5" name="Slide Number Placeholder 4">
            <a:extLst>
              <a:ext uri="{FF2B5EF4-FFF2-40B4-BE49-F238E27FC236}">
                <a16:creationId xmlns:a16="http://schemas.microsoft.com/office/drawing/2014/main" id="{DC903025-863F-727F-E55C-38BC1A4E5D50}"/>
              </a:ext>
            </a:extLst>
          </p:cNvPr>
          <p:cNvSpPr>
            <a:spLocks noGrp="1"/>
          </p:cNvSpPr>
          <p:nvPr>
            <p:ph type="sldNum" sz="quarter" idx="12"/>
          </p:nvPr>
        </p:nvSpPr>
        <p:spPr>
          <a:xfrm>
            <a:off x="11376660" y="6472030"/>
            <a:ext cx="372428" cy="153888"/>
          </a:xfrm>
          <a:prstGeom prst="rect">
            <a:avLst/>
          </a:prstGeom>
        </p:spPr>
        <p:txBody>
          <a:bodyPr vert="horz" wrap="squar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803DD7B-12C8-43B8-9F45-989336E79744}" type="slidenum">
              <a:rPr lang="en-US" sz="1000" smtClean="0"/>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30" normalizeH="0" baseline="0" noProof="0">
              <a:ln>
                <a:noFill/>
              </a:ln>
              <a:solidFill>
                <a:srgbClr val="2067CA"/>
              </a:solidFill>
              <a:effectLst/>
              <a:uLnTx/>
              <a:uFillTx/>
              <a:latin typeface="Work Sans Light"/>
              <a:ea typeface="+mn-ea"/>
              <a:cs typeface="+mn-cs"/>
            </a:endParaRPr>
          </a:p>
        </p:txBody>
      </p:sp>
      <p:sp>
        <p:nvSpPr>
          <p:cNvPr id="6" name="Content Placeholder 5">
            <a:extLst>
              <a:ext uri="{FF2B5EF4-FFF2-40B4-BE49-F238E27FC236}">
                <a16:creationId xmlns:a16="http://schemas.microsoft.com/office/drawing/2014/main" id="{940B6B14-94E7-6E45-8B7B-13067A46DC4D}"/>
              </a:ext>
            </a:extLst>
          </p:cNvPr>
          <p:cNvSpPr>
            <a:spLocks noGrp="1"/>
          </p:cNvSpPr>
          <p:nvPr>
            <p:ph sz="quarter" idx="13"/>
          </p:nvPr>
        </p:nvSpPr>
        <p:spPr/>
        <p:txBody>
          <a:bodyPr/>
          <a:lstStyle/>
          <a:p>
            <a:pPr marL="0" indent="0">
              <a:buNone/>
            </a:pPr>
            <a:endParaRPr lang="fr-FR" noProof="0" dirty="0"/>
          </a:p>
          <a:p>
            <a:pPr marL="0" indent="0">
              <a:buNone/>
            </a:pPr>
            <a:endParaRPr lang="fr-FR" noProof="0" dirty="0"/>
          </a:p>
        </p:txBody>
      </p:sp>
      <p:pic>
        <p:nvPicPr>
          <p:cNvPr id="14" name="Picture 13">
            <a:extLst>
              <a:ext uri="{FF2B5EF4-FFF2-40B4-BE49-F238E27FC236}">
                <a16:creationId xmlns:a16="http://schemas.microsoft.com/office/drawing/2014/main" id="{78097594-33E5-E47D-A58D-4522F08A238E}"/>
              </a:ext>
            </a:extLst>
          </p:cNvPr>
          <p:cNvPicPr>
            <a:picLocks noChangeAspect="1"/>
          </p:cNvPicPr>
          <p:nvPr/>
        </p:nvPicPr>
        <p:blipFill>
          <a:blip r:embed="rId3"/>
          <a:stretch>
            <a:fillRect/>
          </a:stretch>
        </p:blipFill>
        <p:spPr>
          <a:xfrm>
            <a:off x="2687962" y="2217028"/>
            <a:ext cx="932400" cy="898699"/>
          </a:xfrm>
          <a:prstGeom prst="rect">
            <a:avLst/>
          </a:prstGeom>
        </p:spPr>
      </p:pic>
      <p:pic>
        <p:nvPicPr>
          <p:cNvPr id="16" name="Picture 15">
            <a:extLst>
              <a:ext uri="{FF2B5EF4-FFF2-40B4-BE49-F238E27FC236}">
                <a16:creationId xmlns:a16="http://schemas.microsoft.com/office/drawing/2014/main" id="{FB8EB60C-C6A3-FE56-1774-D8C8251471CD}"/>
              </a:ext>
            </a:extLst>
          </p:cNvPr>
          <p:cNvPicPr>
            <a:picLocks noChangeAspect="1"/>
          </p:cNvPicPr>
          <p:nvPr/>
        </p:nvPicPr>
        <p:blipFill>
          <a:blip r:embed="rId4"/>
          <a:stretch>
            <a:fillRect/>
          </a:stretch>
        </p:blipFill>
        <p:spPr>
          <a:xfrm>
            <a:off x="2687962" y="3138923"/>
            <a:ext cx="932400" cy="917170"/>
          </a:xfrm>
          <a:prstGeom prst="rect">
            <a:avLst/>
          </a:prstGeom>
        </p:spPr>
      </p:pic>
      <p:pic>
        <p:nvPicPr>
          <p:cNvPr id="20" name="Picture 19">
            <a:extLst>
              <a:ext uri="{FF2B5EF4-FFF2-40B4-BE49-F238E27FC236}">
                <a16:creationId xmlns:a16="http://schemas.microsoft.com/office/drawing/2014/main" id="{096CA134-A76D-BBCA-C19D-0B65ADF458EF}"/>
              </a:ext>
            </a:extLst>
          </p:cNvPr>
          <p:cNvPicPr>
            <a:picLocks noChangeAspect="1"/>
          </p:cNvPicPr>
          <p:nvPr/>
        </p:nvPicPr>
        <p:blipFill>
          <a:blip r:embed="rId5"/>
          <a:stretch>
            <a:fillRect/>
          </a:stretch>
        </p:blipFill>
        <p:spPr>
          <a:xfrm>
            <a:off x="2678511" y="4112922"/>
            <a:ext cx="932400" cy="917170"/>
          </a:xfrm>
          <a:prstGeom prst="rect">
            <a:avLst/>
          </a:prstGeom>
        </p:spPr>
      </p:pic>
      <p:pic>
        <p:nvPicPr>
          <p:cNvPr id="24" name="Picture 23">
            <a:extLst>
              <a:ext uri="{FF2B5EF4-FFF2-40B4-BE49-F238E27FC236}">
                <a16:creationId xmlns:a16="http://schemas.microsoft.com/office/drawing/2014/main" id="{0E808D47-FA24-E501-5A0D-C918677B5D1C}"/>
              </a:ext>
            </a:extLst>
          </p:cNvPr>
          <p:cNvPicPr>
            <a:picLocks noChangeAspect="1"/>
          </p:cNvPicPr>
          <p:nvPr/>
        </p:nvPicPr>
        <p:blipFill>
          <a:blip r:embed="rId6"/>
          <a:stretch>
            <a:fillRect/>
          </a:stretch>
        </p:blipFill>
        <p:spPr>
          <a:xfrm>
            <a:off x="2671965" y="5088499"/>
            <a:ext cx="932400" cy="901408"/>
          </a:xfrm>
          <a:prstGeom prst="rect">
            <a:avLst/>
          </a:prstGeom>
        </p:spPr>
      </p:pic>
      <p:pic>
        <p:nvPicPr>
          <p:cNvPr id="34" name="Picture 33">
            <a:extLst>
              <a:ext uri="{FF2B5EF4-FFF2-40B4-BE49-F238E27FC236}">
                <a16:creationId xmlns:a16="http://schemas.microsoft.com/office/drawing/2014/main" id="{225A04FA-3AB9-2434-769B-0F438BEC589D}"/>
              </a:ext>
            </a:extLst>
          </p:cNvPr>
          <p:cNvPicPr>
            <a:picLocks noChangeAspect="1"/>
          </p:cNvPicPr>
          <p:nvPr/>
        </p:nvPicPr>
        <p:blipFill rotWithShape="1">
          <a:blip r:embed="rId7"/>
          <a:srcRect r="7071"/>
          <a:stretch/>
        </p:blipFill>
        <p:spPr>
          <a:xfrm>
            <a:off x="4076191" y="2205696"/>
            <a:ext cx="925200" cy="928335"/>
          </a:xfrm>
          <a:prstGeom prst="rect">
            <a:avLst/>
          </a:prstGeom>
        </p:spPr>
      </p:pic>
      <p:pic>
        <p:nvPicPr>
          <p:cNvPr id="36" name="Picture 35">
            <a:extLst>
              <a:ext uri="{FF2B5EF4-FFF2-40B4-BE49-F238E27FC236}">
                <a16:creationId xmlns:a16="http://schemas.microsoft.com/office/drawing/2014/main" id="{FCCFA7C2-BC81-2B8C-7CC1-BDE2B591A6C0}"/>
              </a:ext>
            </a:extLst>
          </p:cNvPr>
          <p:cNvPicPr>
            <a:picLocks noChangeAspect="1"/>
          </p:cNvPicPr>
          <p:nvPr/>
        </p:nvPicPr>
        <p:blipFill rotWithShape="1">
          <a:blip r:embed="rId8"/>
          <a:srcRect r="2336"/>
          <a:stretch/>
        </p:blipFill>
        <p:spPr>
          <a:xfrm>
            <a:off x="4076191" y="3166424"/>
            <a:ext cx="925200" cy="910087"/>
          </a:xfrm>
          <a:prstGeom prst="rect">
            <a:avLst/>
          </a:prstGeom>
        </p:spPr>
      </p:pic>
      <p:pic>
        <p:nvPicPr>
          <p:cNvPr id="38" name="Picture 37">
            <a:extLst>
              <a:ext uri="{FF2B5EF4-FFF2-40B4-BE49-F238E27FC236}">
                <a16:creationId xmlns:a16="http://schemas.microsoft.com/office/drawing/2014/main" id="{2AC4F3E7-E792-8F48-C43B-8D8125A67314}"/>
              </a:ext>
            </a:extLst>
          </p:cNvPr>
          <p:cNvPicPr>
            <a:picLocks noChangeAspect="1"/>
          </p:cNvPicPr>
          <p:nvPr/>
        </p:nvPicPr>
        <p:blipFill>
          <a:blip r:embed="rId9"/>
          <a:stretch>
            <a:fillRect/>
          </a:stretch>
        </p:blipFill>
        <p:spPr>
          <a:xfrm>
            <a:off x="4069276" y="4118291"/>
            <a:ext cx="925200" cy="901227"/>
          </a:xfrm>
          <a:prstGeom prst="rect">
            <a:avLst/>
          </a:prstGeom>
        </p:spPr>
      </p:pic>
      <p:pic>
        <p:nvPicPr>
          <p:cNvPr id="40" name="Picture 39">
            <a:extLst>
              <a:ext uri="{FF2B5EF4-FFF2-40B4-BE49-F238E27FC236}">
                <a16:creationId xmlns:a16="http://schemas.microsoft.com/office/drawing/2014/main" id="{30875A9C-8A42-0C24-A714-47794ADF2C27}"/>
              </a:ext>
            </a:extLst>
          </p:cNvPr>
          <p:cNvPicPr>
            <a:picLocks noChangeAspect="1"/>
          </p:cNvPicPr>
          <p:nvPr/>
        </p:nvPicPr>
        <p:blipFill>
          <a:blip r:embed="rId10"/>
          <a:stretch>
            <a:fillRect/>
          </a:stretch>
        </p:blipFill>
        <p:spPr>
          <a:xfrm>
            <a:off x="4076191" y="5084003"/>
            <a:ext cx="925200" cy="912149"/>
          </a:xfrm>
          <a:prstGeom prst="rect">
            <a:avLst/>
          </a:prstGeom>
        </p:spPr>
      </p:pic>
      <p:pic>
        <p:nvPicPr>
          <p:cNvPr id="41" name="Picture 40">
            <a:extLst>
              <a:ext uri="{FF2B5EF4-FFF2-40B4-BE49-F238E27FC236}">
                <a16:creationId xmlns:a16="http://schemas.microsoft.com/office/drawing/2014/main" id="{5FE7592D-68A9-8AB0-CBAA-77ECCFAE0311}"/>
              </a:ext>
            </a:extLst>
          </p:cNvPr>
          <p:cNvPicPr>
            <a:picLocks noChangeAspect="1"/>
          </p:cNvPicPr>
          <p:nvPr/>
        </p:nvPicPr>
        <p:blipFill>
          <a:blip r:embed="rId11"/>
          <a:stretch>
            <a:fillRect/>
          </a:stretch>
        </p:blipFill>
        <p:spPr>
          <a:xfrm>
            <a:off x="5609584" y="2205696"/>
            <a:ext cx="932400" cy="935559"/>
          </a:xfrm>
          <a:prstGeom prst="rect">
            <a:avLst/>
          </a:prstGeom>
        </p:spPr>
      </p:pic>
      <p:pic>
        <p:nvPicPr>
          <p:cNvPr id="43" name="Picture 42">
            <a:extLst>
              <a:ext uri="{FF2B5EF4-FFF2-40B4-BE49-F238E27FC236}">
                <a16:creationId xmlns:a16="http://schemas.microsoft.com/office/drawing/2014/main" id="{E7020E29-0D1B-1404-7856-20F1B48AB684}"/>
              </a:ext>
            </a:extLst>
          </p:cNvPr>
          <p:cNvPicPr>
            <a:picLocks noChangeAspect="1"/>
          </p:cNvPicPr>
          <p:nvPr/>
        </p:nvPicPr>
        <p:blipFill>
          <a:blip r:embed="rId12"/>
          <a:stretch>
            <a:fillRect/>
          </a:stretch>
        </p:blipFill>
        <p:spPr>
          <a:xfrm>
            <a:off x="5609584" y="3159341"/>
            <a:ext cx="932400" cy="917170"/>
          </a:xfrm>
          <a:prstGeom prst="rect">
            <a:avLst/>
          </a:prstGeom>
        </p:spPr>
      </p:pic>
      <p:pic>
        <p:nvPicPr>
          <p:cNvPr id="45" name="Picture 44">
            <a:extLst>
              <a:ext uri="{FF2B5EF4-FFF2-40B4-BE49-F238E27FC236}">
                <a16:creationId xmlns:a16="http://schemas.microsoft.com/office/drawing/2014/main" id="{9687597A-3C72-D2A4-48B6-A25D5A22BC53}"/>
              </a:ext>
            </a:extLst>
          </p:cNvPr>
          <p:cNvPicPr>
            <a:picLocks noChangeAspect="1"/>
          </p:cNvPicPr>
          <p:nvPr/>
        </p:nvPicPr>
        <p:blipFill>
          <a:blip r:embed="rId13"/>
          <a:stretch>
            <a:fillRect/>
          </a:stretch>
        </p:blipFill>
        <p:spPr>
          <a:xfrm>
            <a:off x="5600590" y="4119347"/>
            <a:ext cx="932400" cy="908241"/>
          </a:xfrm>
          <a:prstGeom prst="rect">
            <a:avLst/>
          </a:prstGeom>
        </p:spPr>
      </p:pic>
      <p:pic>
        <p:nvPicPr>
          <p:cNvPr id="47" name="Picture 46">
            <a:extLst>
              <a:ext uri="{FF2B5EF4-FFF2-40B4-BE49-F238E27FC236}">
                <a16:creationId xmlns:a16="http://schemas.microsoft.com/office/drawing/2014/main" id="{F85A316A-C072-46A8-ED19-C891F76A2AF4}"/>
              </a:ext>
            </a:extLst>
          </p:cNvPr>
          <p:cNvPicPr>
            <a:picLocks noChangeAspect="1"/>
          </p:cNvPicPr>
          <p:nvPr/>
        </p:nvPicPr>
        <p:blipFill>
          <a:blip r:embed="rId14"/>
          <a:stretch>
            <a:fillRect/>
          </a:stretch>
        </p:blipFill>
        <p:spPr>
          <a:xfrm>
            <a:off x="5600590" y="5078684"/>
            <a:ext cx="932400" cy="901408"/>
          </a:xfrm>
          <a:prstGeom prst="rect">
            <a:avLst/>
          </a:prstGeom>
        </p:spPr>
      </p:pic>
      <p:sp>
        <p:nvSpPr>
          <p:cNvPr id="9" name="TextBox 8">
            <a:extLst>
              <a:ext uri="{FF2B5EF4-FFF2-40B4-BE49-F238E27FC236}">
                <a16:creationId xmlns:a16="http://schemas.microsoft.com/office/drawing/2014/main" id="{C6EC8B62-021F-1F6A-CF60-5B98A39C1F5D}"/>
              </a:ext>
            </a:extLst>
          </p:cNvPr>
          <p:cNvSpPr txBox="1"/>
          <p:nvPr/>
        </p:nvSpPr>
        <p:spPr>
          <a:xfrm>
            <a:off x="6967794" y="5034350"/>
            <a:ext cx="4765596" cy="1354217"/>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264E"/>
              </a:buClr>
              <a:buSzTx/>
              <a:buFontTx/>
              <a:buNone/>
              <a:tabLst/>
              <a:defRPr/>
            </a:pPr>
            <a:endParaRPr kumimoji="0" lang="en-GB" sz="1100" b="0" i="0" u="none" strike="noStrike" kern="1200" cap="none" spc="-30" normalizeH="0" baseline="0" noProof="0" dirty="0">
              <a:ln>
                <a:noFill/>
              </a:ln>
              <a:solidFill>
                <a:srgbClr val="00264E"/>
              </a:solidFill>
              <a:effectLst/>
              <a:uLnTx/>
              <a:uFillTx/>
              <a:latin typeface="Work Sans Light"/>
              <a:ea typeface="+mn-ea"/>
              <a:cs typeface="+mn-cs"/>
            </a:endParaRPr>
          </a:p>
          <a:p>
            <a:pPr marL="0" marR="0" lvl="0" indent="0" algn="l" defTabSz="914400" rtl="0" eaLnBrk="1" fontAlgn="auto" latinLnBrk="0" hangingPunct="1">
              <a:lnSpc>
                <a:spcPct val="100000"/>
              </a:lnSpc>
              <a:spcBef>
                <a:spcPts val="0"/>
              </a:spcBef>
              <a:spcAft>
                <a:spcPts val="0"/>
              </a:spcAft>
              <a:buClr>
                <a:srgbClr val="00264E"/>
              </a:buClr>
              <a:buSzTx/>
              <a:buFontTx/>
              <a:buNone/>
              <a:tabLst/>
              <a:defRPr/>
            </a:pPr>
            <a:r>
              <a:rPr kumimoji="0" lang="en-US" sz="1100" b="0" i="1" u="none" strike="noStrike" kern="1200" cap="none" spc="-30" normalizeH="0" baseline="0" noProof="0" dirty="0">
                <a:ln>
                  <a:noFill/>
                </a:ln>
                <a:solidFill>
                  <a:schemeClr val="tx1">
                    <a:lumMod val="50000"/>
                    <a:lumOff val="50000"/>
                  </a:schemeClr>
                </a:solidFill>
                <a:effectLst/>
                <a:uLnTx/>
                <a:uFillTx/>
                <a:latin typeface="Work Sans Light"/>
                <a:ea typeface="+mn-ea"/>
                <a:cs typeface="+mn-cs"/>
              </a:rPr>
              <a:t>Emulsion including 10% of the tested ingredient.</a:t>
            </a:r>
          </a:p>
          <a:p>
            <a:pPr marL="0" marR="0" lvl="0" indent="0" algn="l" defTabSz="914400" rtl="0" eaLnBrk="1" fontAlgn="auto" latinLnBrk="0" hangingPunct="1">
              <a:lnSpc>
                <a:spcPct val="100000"/>
              </a:lnSpc>
              <a:spcBef>
                <a:spcPts val="0"/>
              </a:spcBef>
              <a:spcAft>
                <a:spcPts val="0"/>
              </a:spcAft>
              <a:buClr>
                <a:srgbClr val="00264E"/>
              </a:buClr>
              <a:buSzTx/>
              <a:buFontTx/>
              <a:buNone/>
              <a:tabLst/>
              <a:defRPr/>
            </a:pPr>
            <a:r>
              <a:rPr kumimoji="0" lang="en-US" sz="1100" b="0" i="1" u="none" strike="noStrike" kern="1200" cap="none" spc="-30" normalizeH="0" baseline="0" noProof="0" dirty="0">
                <a:ln>
                  <a:noFill/>
                </a:ln>
                <a:solidFill>
                  <a:schemeClr val="tx1">
                    <a:lumMod val="50000"/>
                    <a:lumOff val="50000"/>
                  </a:schemeClr>
                </a:solidFill>
                <a:effectLst/>
                <a:uLnTx/>
                <a:uFillTx/>
                <a:latin typeface="Work Sans Light"/>
                <a:ea typeface="+mn-ea"/>
                <a:cs typeface="+mn-cs"/>
              </a:rPr>
              <a:t>0,045g of emulsion were applied  in a surface of 5cm*3cm on the forearm and rubbed </a:t>
            </a:r>
            <a:r>
              <a:rPr kumimoji="0" lang="en-GB" sz="1100" b="0" i="1" u="none" strike="noStrike" kern="1200" cap="none" spc="-30" normalizeH="0" baseline="0" noProof="0" dirty="0">
                <a:ln>
                  <a:noFill/>
                </a:ln>
                <a:solidFill>
                  <a:schemeClr val="tx1">
                    <a:lumMod val="50000"/>
                    <a:lumOff val="50000"/>
                  </a:schemeClr>
                </a:solidFill>
                <a:effectLst/>
                <a:uLnTx/>
                <a:uFillTx/>
                <a:latin typeface="Work Sans Light"/>
                <a:ea typeface="+mn-ea"/>
                <a:cs typeface="+mn-cs"/>
              </a:rPr>
              <a:t>2, 5, 10 and 20 times. A picture was taken at the different moments in time and evaluated for soaping.</a:t>
            </a:r>
          </a:p>
          <a:p>
            <a:pPr marL="0" marR="0" lvl="0" indent="0" algn="l" defTabSz="914400" rtl="0" eaLnBrk="1" fontAlgn="auto" latinLnBrk="0" hangingPunct="1">
              <a:lnSpc>
                <a:spcPct val="100000"/>
              </a:lnSpc>
              <a:spcBef>
                <a:spcPts val="0"/>
              </a:spcBef>
              <a:spcAft>
                <a:spcPts val="600"/>
              </a:spcAft>
              <a:buClr>
                <a:srgbClr val="00264E"/>
              </a:buClr>
              <a:buSzTx/>
              <a:buFontTx/>
              <a:buNone/>
              <a:tabLst/>
              <a:defRPr/>
            </a:pPr>
            <a:endParaRPr kumimoji="0" lang="en-GB" sz="1100" b="0" i="0" u="none" strike="noStrike" kern="1200" cap="none" spc="-30" normalizeH="0" baseline="0" noProof="0" dirty="0">
              <a:ln>
                <a:noFill/>
              </a:ln>
              <a:solidFill>
                <a:srgbClr val="00264E"/>
              </a:solidFill>
              <a:effectLst/>
              <a:uLnTx/>
              <a:uFillTx/>
              <a:latin typeface="Work Sans Light"/>
              <a:ea typeface="+mn-ea"/>
              <a:cs typeface="+mn-cs"/>
            </a:endParaRPr>
          </a:p>
          <a:p>
            <a:pPr marL="0" marR="0" lvl="0" indent="0" algn="l" defTabSz="914400" rtl="0" eaLnBrk="1" fontAlgn="auto" latinLnBrk="0" hangingPunct="1">
              <a:lnSpc>
                <a:spcPct val="100000"/>
              </a:lnSpc>
              <a:spcBef>
                <a:spcPts val="0"/>
              </a:spcBef>
              <a:spcAft>
                <a:spcPts val="600"/>
              </a:spcAft>
              <a:buClr>
                <a:srgbClr val="00264E"/>
              </a:buClr>
              <a:buSzTx/>
              <a:buFontTx/>
              <a:buNone/>
              <a:tabLst/>
              <a:defRPr/>
            </a:pPr>
            <a:r>
              <a:rPr kumimoji="0" lang="en-GB" sz="1100" b="0" i="0" u="none" strike="noStrike" kern="1200" cap="none" spc="-30" normalizeH="0" baseline="0" noProof="0" dirty="0">
                <a:ln>
                  <a:noFill/>
                </a:ln>
                <a:solidFill>
                  <a:srgbClr val="00264E"/>
                </a:solidFill>
                <a:effectLst/>
                <a:uLnTx/>
                <a:uFillTx/>
                <a:latin typeface="Work Sans Light"/>
                <a:ea typeface="+mn-ea"/>
                <a:cs typeface="+mn-cs"/>
              </a:rPr>
              <a:t>(*) Almond oil used as </a:t>
            </a:r>
            <a:r>
              <a:rPr lang="en-GB" sz="1100" spc="-30" dirty="0">
                <a:solidFill>
                  <a:srgbClr val="00264E"/>
                </a:solidFill>
                <a:latin typeface="Work Sans Light"/>
              </a:rPr>
              <a:t>a n</a:t>
            </a:r>
            <a:r>
              <a:rPr kumimoji="0" lang="en-GB" sz="1100" b="0" i="0" u="none" strike="noStrike" kern="1200" cap="none" spc="-30" normalizeH="0" baseline="0" noProof="0" dirty="0" err="1">
                <a:ln>
                  <a:noFill/>
                </a:ln>
                <a:solidFill>
                  <a:srgbClr val="00264E"/>
                </a:solidFill>
                <a:effectLst/>
                <a:uLnTx/>
                <a:uFillTx/>
                <a:latin typeface="Work Sans Light"/>
                <a:ea typeface="+mn-ea"/>
                <a:cs typeface="+mn-cs"/>
              </a:rPr>
              <a:t>egative</a:t>
            </a:r>
            <a:r>
              <a:rPr kumimoji="0" lang="en-GB" sz="1100" b="0" i="0" u="none" strike="noStrike" kern="1200" cap="none" spc="-30" normalizeH="0" baseline="0" noProof="0" dirty="0">
                <a:ln>
                  <a:noFill/>
                </a:ln>
                <a:solidFill>
                  <a:srgbClr val="00264E"/>
                </a:solidFill>
                <a:effectLst/>
                <a:uLnTx/>
                <a:uFillTx/>
                <a:latin typeface="Work Sans Light"/>
                <a:ea typeface="+mn-ea"/>
                <a:cs typeface="+mn-cs"/>
              </a:rPr>
              <a:t> control </a:t>
            </a:r>
          </a:p>
        </p:txBody>
      </p:sp>
      <p:graphicFrame>
        <p:nvGraphicFramePr>
          <p:cNvPr id="12" name="Table 11">
            <a:extLst>
              <a:ext uri="{FF2B5EF4-FFF2-40B4-BE49-F238E27FC236}">
                <a16:creationId xmlns:a16="http://schemas.microsoft.com/office/drawing/2014/main" id="{119A8E30-09DA-BF89-3DD6-DCF50F438BBE}"/>
              </a:ext>
            </a:extLst>
          </p:cNvPr>
          <p:cNvGraphicFramePr>
            <a:graphicFrameLocks noGrp="1"/>
          </p:cNvGraphicFramePr>
          <p:nvPr>
            <p:extLst>
              <p:ext uri="{D42A27DB-BD31-4B8C-83A1-F6EECF244321}">
                <p14:modId xmlns:p14="http://schemas.microsoft.com/office/powerpoint/2010/main" val="3026427004"/>
              </p:ext>
            </p:extLst>
          </p:nvPr>
        </p:nvGraphicFramePr>
        <p:xfrm>
          <a:off x="1061625" y="1466426"/>
          <a:ext cx="5740050" cy="4525096"/>
        </p:xfrm>
        <a:graphic>
          <a:graphicData uri="http://schemas.openxmlformats.org/drawingml/2006/table">
            <a:tbl>
              <a:tblPr firstRow="1" bandRow="1">
                <a:tableStyleId>{69012ECD-51FC-41F1-AA8D-1B2483CD663E}</a:tableStyleId>
              </a:tblPr>
              <a:tblGrid>
                <a:gridCol w="1330078">
                  <a:extLst>
                    <a:ext uri="{9D8B030D-6E8A-4147-A177-3AD203B41FA5}">
                      <a16:colId xmlns:a16="http://schemas.microsoft.com/office/drawing/2014/main" val="2672956053"/>
                    </a:ext>
                  </a:extLst>
                </a:gridCol>
                <a:gridCol w="1449906">
                  <a:extLst>
                    <a:ext uri="{9D8B030D-6E8A-4147-A177-3AD203B41FA5}">
                      <a16:colId xmlns:a16="http://schemas.microsoft.com/office/drawing/2014/main" val="614504467"/>
                    </a:ext>
                  </a:extLst>
                </a:gridCol>
                <a:gridCol w="1521802">
                  <a:extLst>
                    <a:ext uri="{9D8B030D-6E8A-4147-A177-3AD203B41FA5}">
                      <a16:colId xmlns:a16="http://schemas.microsoft.com/office/drawing/2014/main" val="2594047853"/>
                    </a:ext>
                  </a:extLst>
                </a:gridCol>
                <a:gridCol w="1438264">
                  <a:extLst>
                    <a:ext uri="{9D8B030D-6E8A-4147-A177-3AD203B41FA5}">
                      <a16:colId xmlns:a16="http://schemas.microsoft.com/office/drawing/2014/main" val="1896425172"/>
                    </a:ext>
                  </a:extLst>
                </a:gridCol>
              </a:tblGrid>
              <a:tr h="729264">
                <a:tc>
                  <a:txBody>
                    <a:bodyPr/>
                    <a:lstStyle/>
                    <a:p>
                      <a:endParaRPr lang="sv-SE"/>
                    </a:p>
                  </a:txBody>
                  <a:tcPr>
                    <a:lnL w="12700" cap="flat" cmpd="sng" algn="ctr">
                      <a:solidFill>
                        <a:srgbClr val="C7D9F2"/>
                      </a:solidFill>
                      <a:prstDash val="solid"/>
                      <a:round/>
                      <a:headEnd type="none" w="med" len="med"/>
                      <a:tailEnd type="none" w="med" len="med"/>
                    </a:lnL>
                    <a:lnR w="12700" cap="flat" cmpd="sng" algn="ctr">
                      <a:solidFill>
                        <a:srgbClr val="C7D9F2"/>
                      </a:solidFill>
                      <a:prstDash val="solid"/>
                      <a:round/>
                      <a:headEnd type="none" w="med" len="med"/>
                      <a:tailEnd type="none" w="med" len="med"/>
                    </a:lnR>
                    <a:lnT w="12700" cap="flat" cmpd="sng" algn="ctr">
                      <a:solidFill>
                        <a:srgbClr val="C7D9F2"/>
                      </a:solidFill>
                      <a:prstDash val="solid"/>
                      <a:round/>
                      <a:headEnd type="none" w="med" len="med"/>
                      <a:tailEnd type="none" w="med" len="med"/>
                    </a:lnT>
                    <a:lnB w="12700" cap="flat" cmpd="sng" algn="ctr">
                      <a:solidFill>
                        <a:srgbClr val="C7D9F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sv-SE" sz="1600" b="1" dirty="0"/>
                        <a:t>Negative </a:t>
                      </a:r>
                      <a:r>
                        <a:rPr lang="sv-SE" sz="1600" b="1" dirty="0" err="1"/>
                        <a:t>control</a:t>
                      </a:r>
                      <a:r>
                        <a:rPr lang="sv-SE" sz="1600" b="1" dirty="0"/>
                        <a:t>(*)</a:t>
                      </a:r>
                    </a:p>
                  </a:txBody>
                  <a:tcPr anchor="ctr">
                    <a:lnL w="12700" cap="flat" cmpd="sng" algn="ctr">
                      <a:solidFill>
                        <a:srgbClr val="C7D9F2"/>
                      </a:solidFill>
                      <a:prstDash val="solid"/>
                      <a:round/>
                      <a:headEnd type="none" w="med" len="med"/>
                      <a:tailEnd type="none" w="med" len="med"/>
                    </a:lnL>
                    <a:lnR w="12700" cap="flat" cmpd="sng" algn="ctr">
                      <a:solidFill>
                        <a:srgbClr val="C7D9F2"/>
                      </a:solidFill>
                      <a:prstDash val="solid"/>
                      <a:round/>
                      <a:headEnd type="none" w="med" len="med"/>
                      <a:tailEnd type="none" w="med" len="med"/>
                    </a:lnR>
                    <a:lnT w="12700" cap="flat" cmpd="sng" algn="ctr">
                      <a:solidFill>
                        <a:srgbClr val="C7D9F2"/>
                      </a:solidFill>
                      <a:prstDash val="solid"/>
                      <a:round/>
                      <a:headEnd type="none" w="med" len="med"/>
                      <a:tailEnd type="none" w="med" len="med"/>
                    </a:lnT>
                    <a:lnB w="12700" cap="flat" cmpd="sng" algn="ctr">
                      <a:solidFill>
                        <a:srgbClr val="C7D9F2"/>
                      </a:solidFill>
                      <a:prstDash val="solid"/>
                      <a:round/>
                      <a:headEnd type="none" w="med" len="med"/>
                      <a:tailEnd type="none" w="med" len="med"/>
                    </a:lnB>
                    <a:lnTlToBr w="12700" cmpd="sng">
                      <a:noFill/>
                      <a:prstDash val="solid"/>
                    </a:lnTlToBr>
                    <a:lnBlToTr w="12700" cmpd="sng">
                      <a:noFill/>
                      <a:prstDash val="solid"/>
                    </a:lnBlToTr>
                    <a:solidFill>
                      <a:srgbClr val="588DD7"/>
                    </a:solidFill>
                  </a:tcPr>
                </a:tc>
                <a:tc>
                  <a:txBody>
                    <a:bodyPr/>
                    <a:lstStyle/>
                    <a:p>
                      <a:r>
                        <a:rPr lang="sv-SE" sz="1600" b="1" dirty="0"/>
                        <a:t>LIPEX® </a:t>
                      </a:r>
                    </a:p>
                    <a:p>
                      <a:r>
                        <a:rPr lang="sv-SE" sz="1600" b="1" dirty="0" err="1"/>
                        <a:t>Shealuxe</a:t>
                      </a:r>
                      <a:r>
                        <a:rPr lang="sv-SE" sz="1600" b="1" dirty="0"/>
                        <a:t> TR</a:t>
                      </a:r>
                      <a:r>
                        <a:rPr lang="sv-SE" sz="1600" b="1" baseline="30000" dirty="0"/>
                        <a:t>TM</a:t>
                      </a:r>
                    </a:p>
                  </a:txBody>
                  <a:tcPr anchor="ctr">
                    <a:lnL w="12700" cap="flat" cmpd="sng" algn="ctr">
                      <a:solidFill>
                        <a:srgbClr val="C7D9F2"/>
                      </a:solidFill>
                      <a:prstDash val="solid"/>
                      <a:round/>
                      <a:headEnd type="none" w="med" len="med"/>
                      <a:tailEnd type="none" w="med" len="med"/>
                    </a:lnL>
                    <a:lnR w="12700" cap="flat" cmpd="sng" algn="ctr">
                      <a:solidFill>
                        <a:srgbClr val="C7D9F2"/>
                      </a:solidFill>
                      <a:prstDash val="solid"/>
                      <a:round/>
                      <a:headEnd type="none" w="med" len="med"/>
                      <a:tailEnd type="none" w="med" len="med"/>
                    </a:lnR>
                    <a:lnT w="12700" cap="flat" cmpd="sng" algn="ctr">
                      <a:solidFill>
                        <a:srgbClr val="C7D9F2"/>
                      </a:solidFill>
                      <a:prstDash val="solid"/>
                      <a:round/>
                      <a:headEnd type="none" w="med" len="med"/>
                      <a:tailEnd type="none" w="med" len="med"/>
                    </a:lnT>
                    <a:lnB w="12700" cap="flat" cmpd="sng" algn="ctr">
                      <a:solidFill>
                        <a:srgbClr val="C7D9F2"/>
                      </a:solidFill>
                      <a:prstDash val="solid"/>
                      <a:round/>
                      <a:headEnd type="none" w="med" len="med"/>
                      <a:tailEnd type="none" w="med" len="med"/>
                    </a:lnB>
                    <a:lnTlToBr w="12700" cmpd="sng">
                      <a:noFill/>
                      <a:prstDash val="solid"/>
                    </a:lnTlToBr>
                    <a:lnBlToTr w="12700" cmpd="sng">
                      <a:noFill/>
                      <a:prstDash val="solid"/>
                    </a:lnBlToTr>
                    <a:solidFill>
                      <a:srgbClr val="588DD7"/>
                    </a:solidFill>
                  </a:tcPr>
                </a:tc>
                <a:tc>
                  <a:txBody>
                    <a:bodyPr/>
                    <a:lstStyle/>
                    <a:p>
                      <a:pPr algn="ctr"/>
                      <a:r>
                        <a:rPr lang="sv-SE" sz="1600" b="1" dirty="0"/>
                        <a:t>Dimethicone 5mPa.s</a:t>
                      </a:r>
                    </a:p>
                  </a:txBody>
                  <a:tcPr anchor="ctr">
                    <a:lnL w="12700" cap="flat" cmpd="sng" algn="ctr">
                      <a:solidFill>
                        <a:srgbClr val="C7D9F2"/>
                      </a:solidFill>
                      <a:prstDash val="solid"/>
                      <a:round/>
                      <a:headEnd type="none" w="med" len="med"/>
                      <a:tailEnd type="none" w="med" len="med"/>
                    </a:lnL>
                    <a:lnR w="12700" cap="flat" cmpd="sng" algn="ctr">
                      <a:solidFill>
                        <a:srgbClr val="C7D9F2"/>
                      </a:solidFill>
                      <a:prstDash val="solid"/>
                      <a:round/>
                      <a:headEnd type="none" w="med" len="med"/>
                      <a:tailEnd type="none" w="med" len="med"/>
                    </a:lnR>
                    <a:lnT w="12700" cap="flat" cmpd="sng" algn="ctr">
                      <a:solidFill>
                        <a:srgbClr val="C7D9F2"/>
                      </a:solidFill>
                      <a:prstDash val="solid"/>
                      <a:round/>
                      <a:headEnd type="none" w="med" len="med"/>
                      <a:tailEnd type="none" w="med" len="med"/>
                    </a:lnT>
                    <a:lnB w="12700" cap="flat" cmpd="sng" algn="ctr">
                      <a:solidFill>
                        <a:srgbClr val="C7D9F2"/>
                      </a:solidFill>
                      <a:prstDash val="solid"/>
                      <a:round/>
                      <a:headEnd type="none" w="med" len="med"/>
                      <a:tailEnd type="none" w="med" len="med"/>
                    </a:lnB>
                    <a:lnTlToBr w="12700" cmpd="sng">
                      <a:noFill/>
                      <a:prstDash val="solid"/>
                    </a:lnTlToBr>
                    <a:lnBlToTr w="12700" cmpd="sng">
                      <a:noFill/>
                      <a:prstDash val="solid"/>
                    </a:lnBlToTr>
                    <a:solidFill>
                      <a:srgbClr val="588DD7"/>
                    </a:solidFill>
                  </a:tcPr>
                </a:tc>
                <a:extLst>
                  <a:ext uri="{0D108BD9-81ED-4DB2-BD59-A6C34878D82A}">
                    <a16:rowId xmlns:a16="http://schemas.microsoft.com/office/drawing/2014/main" val="2502367265"/>
                  </a:ext>
                </a:extLst>
              </a:tr>
              <a:tr h="943093">
                <a:tc>
                  <a:txBody>
                    <a:bodyPr/>
                    <a:lstStyle/>
                    <a:p>
                      <a:pPr algn="ctr"/>
                      <a:r>
                        <a:rPr lang="sv-SE" sz="1600" b="0" dirty="0">
                          <a:solidFill>
                            <a:schemeClr val="bg1"/>
                          </a:solidFill>
                          <a:latin typeface="Work Sans Medium" pitchFamily="2" charset="0"/>
                        </a:rPr>
                        <a:t>2 </a:t>
                      </a:r>
                      <a:r>
                        <a:rPr lang="sv-SE" sz="1600" b="0" dirty="0" err="1">
                          <a:solidFill>
                            <a:schemeClr val="bg1"/>
                          </a:solidFill>
                          <a:latin typeface="Work Sans Medium" pitchFamily="2" charset="0"/>
                        </a:rPr>
                        <a:t>rubs</a:t>
                      </a:r>
                      <a:endParaRPr lang="sv-SE" sz="1600" b="0" dirty="0">
                        <a:solidFill>
                          <a:schemeClr val="bg1"/>
                        </a:solidFill>
                        <a:latin typeface="Work Sans Medium" pitchFamily="2" charset="0"/>
                      </a:endParaRPr>
                    </a:p>
                  </a:txBody>
                  <a:tcPr anchor="ctr">
                    <a:lnL w="12700" cap="flat" cmpd="sng" algn="ctr">
                      <a:solidFill>
                        <a:srgbClr val="C7D9F2"/>
                      </a:solidFill>
                      <a:prstDash val="solid"/>
                      <a:round/>
                      <a:headEnd type="none" w="med" len="med"/>
                      <a:tailEnd type="none" w="med" len="med"/>
                    </a:lnL>
                    <a:lnR w="12700" cap="flat" cmpd="sng" algn="ctr">
                      <a:solidFill>
                        <a:srgbClr val="C7D9F2"/>
                      </a:solidFill>
                      <a:prstDash val="solid"/>
                      <a:round/>
                      <a:headEnd type="none" w="med" len="med"/>
                      <a:tailEnd type="none" w="med" len="med"/>
                    </a:lnR>
                    <a:lnT w="12700" cap="flat" cmpd="sng" algn="ctr">
                      <a:solidFill>
                        <a:srgbClr val="C7D9F2"/>
                      </a:solidFill>
                      <a:prstDash val="solid"/>
                      <a:round/>
                      <a:headEnd type="none" w="med" len="med"/>
                      <a:tailEnd type="none" w="med" len="med"/>
                    </a:lnT>
                    <a:lnB w="12700" cap="flat" cmpd="sng" algn="ctr">
                      <a:solidFill>
                        <a:srgbClr val="C7D9F2"/>
                      </a:solidFill>
                      <a:prstDash val="solid"/>
                      <a:round/>
                      <a:headEnd type="none" w="med" len="med"/>
                      <a:tailEnd type="none" w="med" len="med"/>
                    </a:lnB>
                    <a:lnTlToBr w="12700" cmpd="sng">
                      <a:noFill/>
                      <a:prstDash val="solid"/>
                    </a:lnTlToBr>
                    <a:lnBlToTr w="12700" cmpd="sng">
                      <a:noFill/>
                      <a:prstDash val="solid"/>
                    </a:lnBlToTr>
                    <a:solidFill>
                      <a:srgbClr val="588DD7"/>
                    </a:solidFill>
                  </a:tcPr>
                </a:tc>
                <a:tc>
                  <a:txBody>
                    <a:bodyPr/>
                    <a:lstStyle/>
                    <a:p>
                      <a:endParaRPr lang="sv-SE"/>
                    </a:p>
                  </a:txBody>
                  <a:tcPr>
                    <a:lnL w="12700" cap="flat" cmpd="sng" algn="ctr">
                      <a:solidFill>
                        <a:srgbClr val="C7D9F2"/>
                      </a:solidFill>
                      <a:prstDash val="solid"/>
                      <a:round/>
                      <a:headEnd type="none" w="med" len="med"/>
                      <a:tailEnd type="none" w="med" len="med"/>
                    </a:lnL>
                    <a:lnR w="12700" cap="flat" cmpd="sng" algn="ctr">
                      <a:solidFill>
                        <a:srgbClr val="C7D9F2"/>
                      </a:solidFill>
                      <a:prstDash val="solid"/>
                      <a:round/>
                      <a:headEnd type="none" w="med" len="med"/>
                      <a:tailEnd type="none" w="med" len="med"/>
                    </a:lnR>
                    <a:lnT w="12700" cap="flat" cmpd="sng" algn="ctr">
                      <a:solidFill>
                        <a:srgbClr val="C7D9F2"/>
                      </a:solidFill>
                      <a:prstDash val="solid"/>
                      <a:round/>
                      <a:headEnd type="none" w="med" len="med"/>
                      <a:tailEnd type="none" w="med" len="med"/>
                    </a:lnT>
                    <a:lnB w="12700" cap="flat" cmpd="sng" algn="ctr">
                      <a:solidFill>
                        <a:srgbClr val="C7D9F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sv-SE"/>
                    </a:p>
                  </a:txBody>
                  <a:tcPr>
                    <a:lnL w="12700" cap="flat" cmpd="sng" algn="ctr">
                      <a:solidFill>
                        <a:srgbClr val="C7D9F2"/>
                      </a:solidFill>
                      <a:prstDash val="solid"/>
                      <a:round/>
                      <a:headEnd type="none" w="med" len="med"/>
                      <a:tailEnd type="none" w="med" len="med"/>
                    </a:lnL>
                    <a:lnR w="12700" cap="flat" cmpd="sng" algn="ctr">
                      <a:solidFill>
                        <a:srgbClr val="C7D9F2"/>
                      </a:solidFill>
                      <a:prstDash val="solid"/>
                      <a:round/>
                      <a:headEnd type="none" w="med" len="med"/>
                      <a:tailEnd type="none" w="med" len="med"/>
                    </a:lnR>
                    <a:lnT w="12700" cap="flat" cmpd="sng" algn="ctr">
                      <a:solidFill>
                        <a:srgbClr val="C7D9F2"/>
                      </a:solidFill>
                      <a:prstDash val="solid"/>
                      <a:round/>
                      <a:headEnd type="none" w="med" len="med"/>
                      <a:tailEnd type="none" w="med" len="med"/>
                    </a:lnT>
                    <a:lnB w="12700" cap="flat" cmpd="sng" algn="ctr">
                      <a:solidFill>
                        <a:srgbClr val="C7D9F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sv-SE"/>
                    </a:p>
                  </a:txBody>
                  <a:tcPr>
                    <a:lnL w="12700" cap="flat" cmpd="sng" algn="ctr">
                      <a:solidFill>
                        <a:srgbClr val="C7D9F2"/>
                      </a:solidFill>
                      <a:prstDash val="solid"/>
                      <a:round/>
                      <a:headEnd type="none" w="med" len="med"/>
                      <a:tailEnd type="none" w="med" len="med"/>
                    </a:lnL>
                    <a:lnR w="12700" cap="flat" cmpd="sng" algn="ctr">
                      <a:solidFill>
                        <a:srgbClr val="C7D9F2"/>
                      </a:solidFill>
                      <a:prstDash val="solid"/>
                      <a:round/>
                      <a:headEnd type="none" w="med" len="med"/>
                      <a:tailEnd type="none" w="med" len="med"/>
                    </a:lnR>
                    <a:lnT w="12700" cap="flat" cmpd="sng" algn="ctr">
                      <a:solidFill>
                        <a:srgbClr val="C7D9F2"/>
                      </a:solidFill>
                      <a:prstDash val="solid"/>
                      <a:round/>
                      <a:headEnd type="none" w="med" len="med"/>
                      <a:tailEnd type="none" w="med" len="med"/>
                    </a:lnT>
                    <a:lnB w="12700" cap="flat" cmpd="sng" algn="ctr">
                      <a:solidFill>
                        <a:srgbClr val="C7D9F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0793095"/>
                  </a:ext>
                </a:extLst>
              </a:tr>
              <a:tr h="952500">
                <a:tc>
                  <a:txBody>
                    <a:bodyPr/>
                    <a:lstStyle/>
                    <a:p>
                      <a:pPr algn="ctr"/>
                      <a:r>
                        <a:rPr lang="sv-SE" sz="1600" b="0" dirty="0">
                          <a:solidFill>
                            <a:schemeClr val="bg1"/>
                          </a:solidFill>
                          <a:latin typeface="Work Sans Medium" pitchFamily="2" charset="0"/>
                        </a:rPr>
                        <a:t>5 </a:t>
                      </a:r>
                      <a:r>
                        <a:rPr lang="sv-SE" sz="1600" b="0" dirty="0" err="1">
                          <a:solidFill>
                            <a:schemeClr val="bg1"/>
                          </a:solidFill>
                          <a:latin typeface="Work Sans Medium" pitchFamily="2" charset="0"/>
                        </a:rPr>
                        <a:t>rubs</a:t>
                      </a:r>
                      <a:endParaRPr lang="sv-SE" sz="1600" b="0" dirty="0">
                        <a:solidFill>
                          <a:schemeClr val="bg1"/>
                        </a:solidFill>
                        <a:latin typeface="Work Sans Medium" pitchFamily="2" charset="0"/>
                      </a:endParaRPr>
                    </a:p>
                  </a:txBody>
                  <a:tcPr anchor="ctr">
                    <a:lnL w="12700" cap="flat" cmpd="sng" algn="ctr">
                      <a:solidFill>
                        <a:srgbClr val="C7D9F2"/>
                      </a:solidFill>
                      <a:prstDash val="solid"/>
                      <a:round/>
                      <a:headEnd type="none" w="med" len="med"/>
                      <a:tailEnd type="none" w="med" len="med"/>
                    </a:lnL>
                    <a:lnR w="12700" cap="flat" cmpd="sng" algn="ctr">
                      <a:solidFill>
                        <a:srgbClr val="C7D9F2"/>
                      </a:solidFill>
                      <a:prstDash val="solid"/>
                      <a:round/>
                      <a:headEnd type="none" w="med" len="med"/>
                      <a:tailEnd type="none" w="med" len="med"/>
                    </a:lnR>
                    <a:lnT w="12700" cap="flat" cmpd="sng" algn="ctr">
                      <a:solidFill>
                        <a:srgbClr val="C7D9F2"/>
                      </a:solidFill>
                      <a:prstDash val="solid"/>
                      <a:round/>
                      <a:headEnd type="none" w="med" len="med"/>
                      <a:tailEnd type="none" w="med" len="med"/>
                    </a:lnT>
                    <a:lnB w="12700" cap="flat" cmpd="sng" algn="ctr">
                      <a:solidFill>
                        <a:srgbClr val="C7D9F2"/>
                      </a:solidFill>
                      <a:prstDash val="solid"/>
                      <a:round/>
                      <a:headEnd type="none" w="med" len="med"/>
                      <a:tailEnd type="none" w="med" len="med"/>
                    </a:lnB>
                    <a:lnTlToBr w="12700" cmpd="sng">
                      <a:noFill/>
                      <a:prstDash val="solid"/>
                    </a:lnTlToBr>
                    <a:lnBlToTr w="12700" cmpd="sng">
                      <a:noFill/>
                      <a:prstDash val="solid"/>
                    </a:lnBlToTr>
                    <a:solidFill>
                      <a:srgbClr val="588DD7"/>
                    </a:solidFill>
                  </a:tcPr>
                </a:tc>
                <a:tc>
                  <a:txBody>
                    <a:bodyPr/>
                    <a:lstStyle/>
                    <a:p>
                      <a:endParaRPr lang="sv-SE"/>
                    </a:p>
                  </a:txBody>
                  <a:tcPr>
                    <a:lnL w="12700" cap="flat" cmpd="sng" algn="ctr">
                      <a:solidFill>
                        <a:srgbClr val="C7D9F2"/>
                      </a:solidFill>
                      <a:prstDash val="solid"/>
                      <a:round/>
                      <a:headEnd type="none" w="med" len="med"/>
                      <a:tailEnd type="none" w="med" len="med"/>
                    </a:lnL>
                    <a:lnR w="12700" cap="flat" cmpd="sng" algn="ctr">
                      <a:solidFill>
                        <a:srgbClr val="C7D9F2"/>
                      </a:solidFill>
                      <a:prstDash val="solid"/>
                      <a:round/>
                      <a:headEnd type="none" w="med" len="med"/>
                      <a:tailEnd type="none" w="med" len="med"/>
                    </a:lnR>
                    <a:lnT w="12700" cap="flat" cmpd="sng" algn="ctr">
                      <a:solidFill>
                        <a:srgbClr val="C7D9F2"/>
                      </a:solidFill>
                      <a:prstDash val="solid"/>
                      <a:round/>
                      <a:headEnd type="none" w="med" len="med"/>
                      <a:tailEnd type="none" w="med" len="med"/>
                    </a:lnT>
                    <a:lnB w="12700" cap="flat" cmpd="sng" algn="ctr">
                      <a:solidFill>
                        <a:srgbClr val="C7D9F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sv-SE"/>
                    </a:p>
                  </a:txBody>
                  <a:tcPr>
                    <a:lnL w="12700" cap="flat" cmpd="sng" algn="ctr">
                      <a:solidFill>
                        <a:srgbClr val="C7D9F2"/>
                      </a:solidFill>
                      <a:prstDash val="solid"/>
                      <a:round/>
                      <a:headEnd type="none" w="med" len="med"/>
                      <a:tailEnd type="none" w="med" len="med"/>
                    </a:lnL>
                    <a:lnR w="12700" cap="flat" cmpd="sng" algn="ctr">
                      <a:solidFill>
                        <a:srgbClr val="C7D9F2"/>
                      </a:solidFill>
                      <a:prstDash val="solid"/>
                      <a:round/>
                      <a:headEnd type="none" w="med" len="med"/>
                      <a:tailEnd type="none" w="med" len="med"/>
                    </a:lnR>
                    <a:lnT w="12700" cap="flat" cmpd="sng" algn="ctr">
                      <a:solidFill>
                        <a:srgbClr val="C7D9F2"/>
                      </a:solidFill>
                      <a:prstDash val="solid"/>
                      <a:round/>
                      <a:headEnd type="none" w="med" len="med"/>
                      <a:tailEnd type="none" w="med" len="med"/>
                    </a:lnT>
                    <a:lnB w="12700" cap="flat" cmpd="sng" algn="ctr">
                      <a:solidFill>
                        <a:srgbClr val="C7D9F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sv-SE" dirty="0"/>
                    </a:p>
                  </a:txBody>
                  <a:tcPr>
                    <a:lnL w="12700" cap="flat" cmpd="sng" algn="ctr">
                      <a:solidFill>
                        <a:srgbClr val="C7D9F2"/>
                      </a:solidFill>
                      <a:prstDash val="solid"/>
                      <a:round/>
                      <a:headEnd type="none" w="med" len="med"/>
                      <a:tailEnd type="none" w="med" len="med"/>
                    </a:lnL>
                    <a:lnR w="12700" cap="flat" cmpd="sng" algn="ctr">
                      <a:solidFill>
                        <a:srgbClr val="C7D9F2"/>
                      </a:solidFill>
                      <a:prstDash val="solid"/>
                      <a:round/>
                      <a:headEnd type="none" w="med" len="med"/>
                      <a:tailEnd type="none" w="med" len="med"/>
                    </a:lnR>
                    <a:lnT w="12700" cap="flat" cmpd="sng" algn="ctr">
                      <a:solidFill>
                        <a:srgbClr val="C7D9F2"/>
                      </a:solidFill>
                      <a:prstDash val="solid"/>
                      <a:round/>
                      <a:headEnd type="none" w="med" len="med"/>
                      <a:tailEnd type="none" w="med" len="med"/>
                    </a:lnT>
                    <a:lnB w="12700" cap="flat" cmpd="sng" algn="ctr">
                      <a:solidFill>
                        <a:srgbClr val="C7D9F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1364123"/>
                  </a:ext>
                </a:extLst>
              </a:tr>
              <a:tr h="965200">
                <a:tc>
                  <a:txBody>
                    <a:bodyPr/>
                    <a:lstStyle/>
                    <a:p>
                      <a:pPr algn="ctr"/>
                      <a:r>
                        <a:rPr lang="sv-SE" sz="1600" b="0" dirty="0">
                          <a:solidFill>
                            <a:schemeClr val="bg1"/>
                          </a:solidFill>
                          <a:latin typeface="Work Sans Medium" pitchFamily="2" charset="0"/>
                        </a:rPr>
                        <a:t>10 </a:t>
                      </a:r>
                      <a:r>
                        <a:rPr lang="sv-SE" sz="1600" b="0" dirty="0" err="1">
                          <a:solidFill>
                            <a:schemeClr val="bg1"/>
                          </a:solidFill>
                          <a:latin typeface="Work Sans Medium" pitchFamily="2" charset="0"/>
                        </a:rPr>
                        <a:t>rubs</a:t>
                      </a:r>
                      <a:endParaRPr lang="sv-SE" sz="1600" b="0" dirty="0">
                        <a:solidFill>
                          <a:schemeClr val="bg1"/>
                        </a:solidFill>
                        <a:latin typeface="Work Sans Medium" pitchFamily="2" charset="0"/>
                      </a:endParaRPr>
                    </a:p>
                  </a:txBody>
                  <a:tcPr anchor="ctr">
                    <a:lnL w="12700" cap="flat" cmpd="sng" algn="ctr">
                      <a:solidFill>
                        <a:srgbClr val="C7D9F2"/>
                      </a:solidFill>
                      <a:prstDash val="solid"/>
                      <a:round/>
                      <a:headEnd type="none" w="med" len="med"/>
                      <a:tailEnd type="none" w="med" len="med"/>
                    </a:lnL>
                    <a:lnR w="12700" cap="flat" cmpd="sng" algn="ctr">
                      <a:solidFill>
                        <a:srgbClr val="C7D9F2"/>
                      </a:solidFill>
                      <a:prstDash val="solid"/>
                      <a:round/>
                      <a:headEnd type="none" w="med" len="med"/>
                      <a:tailEnd type="none" w="med" len="med"/>
                    </a:lnR>
                    <a:lnT w="12700" cap="flat" cmpd="sng" algn="ctr">
                      <a:solidFill>
                        <a:srgbClr val="C7D9F2"/>
                      </a:solidFill>
                      <a:prstDash val="solid"/>
                      <a:round/>
                      <a:headEnd type="none" w="med" len="med"/>
                      <a:tailEnd type="none" w="med" len="med"/>
                    </a:lnT>
                    <a:lnB w="12700" cap="flat" cmpd="sng" algn="ctr">
                      <a:solidFill>
                        <a:srgbClr val="C7D9F2"/>
                      </a:solidFill>
                      <a:prstDash val="solid"/>
                      <a:round/>
                      <a:headEnd type="none" w="med" len="med"/>
                      <a:tailEnd type="none" w="med" len="med"/>
                    </a:lnB>
                    <a:lnTlToBr w="12700" cmpd="sng">
                      <a:noFill/>
                      <a:prstDash val="solid"/>
                    </a:lnTlToBr>
                    <a:lnBlToTr w="12700" cmpd="sng">
                      <a:noFill/>
                      <a:prstDash val="solid"/>
                    </a:lnBlToTr>
                    <a:solidFill>
                      <a:srgbClr val="588DD7"/>
                    </a:solidFill>
                  </a:tcPr>
                </a:tc>
                <a:tc>
                  <a:txBody>
                    <a:bodyPr/>
                    <a:lstStyle/>
                    <a:p>
                      <a:endParaRPr lang="sv-SE"/>
                    </a:p>
                  </a:txBody>
                  <a:tcPr>
                    <a:lnL w="12700" cap="flat" cmpd="sng" algn="ctr">
                      <a:solidFill>
                        <a:srgbClr val="C7D9F2"/>
                      </a:solidFill>
                      <a:prstDash val="solid"/>
                      <a:round/>
                      <a:headEnd type="none" w="med" len="med"/>
                      <a:tailEnd type="none" w="med" len="med"/>
                    </a:lnL>
                    <a:lnR w="12700" cap="flat" cmpd="sng" algn="ctr">
                      <a:solidFill>
                        <a:srgbClr val="C7D9F2"/>
                      </a:solidFill>
                      <a:prstDash val="solid"/>
                      <a:round/>
                      <a:headEnd type="none" w="med" len="med"/>
                      <a:tailEnd type="none" w="med" len="med"/>
                    </a:lnR>
                    <a:lnT w="12700" cap="flat" cmpd="sng" algn="ctr">
                      <a:solidFill>
                        <a:srgbClr val="C7D9F2"/>
                      </a:solidFill>
                      <a:prstDash val="solid"/>
                      <a:round/>
                      <a:headEnd type="none" w="med" len="med"/>
                      <a:tailEnd type="none" w="med" len="med"/>
                    </a:lnT>
                    <a:lnB w="12700" cap="flat" cmpd="sng" algn="ctr">
                      <a:solidFill>
                        <a:srgbClr val="C7D9F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sv-SE"/>
                    </a:p>
                  </a:txBody>
                  <a:tcPr>
                    <a:lnL w="12700" cap="flat" cmpd="sng" algn="ctr">
                      <a:solidFill>
                        <a:srgbClr val="C7D9F2"/>
                      </a:solidFill>
                      <a:prstDash val="solid"/>
                      <a:round/>
                      <a:headEnd type="none" w="med" len="med"/>
                      <a:tailEnd type="none" w="med" len="med"/>
                    </a:lnL>
                    <a:lnR w="12700" cap="flat" cmpd="sng" algn="ctr">
                      <a:solidFill>
                        <a:srgbClr val="C7D9F2"/>
                      </a:solidFill>
                      <a:prstDash val="solid"/>
                      <a:round/>
                      <a:headEnd type="none" w="med" len="med"/>
                      <a:tailEnd type="none" w="med" len="med"/>
                    </a:lnR>
                    <a:lnT w="12700" cap="flat" cmpd="sng" algn="ctr">
                      <a:solidFill>
                        <a:srgbClr val="C7D9F2"/>
                      </a:solidFill>
                      <a:prstDash val="solid"/>
                      <a:round/>
                      <a:headEnd type="none" w="med" len="med"/>
                      <a:tailEnd type="none" w="med" len="med"/>
                    </a:lnT>
                    <a:lnB w="12700" cap="flat" cmpd="sng" algn="ctr">
                      <a:solidFill>
                        <a:srgbClr val="C7D9F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sv-SE" dirty="0"/>
                    </a:p>
                  </a:txBody>
                  <a:tcPr>
                    <a:lnL w="12700" cap="flat" cmpd="sng" algn="ctr">
                      <a:solidFill>
                        <a:srgbClr val="C7D9F2"/>
                      </a:solidFill>
                      <a:prstDash val="solid"/>
                      <a:round/>
                      <a:headEnd type="none" w="med" len="med"/>
                      <a:tailEnd type="none" w="med" len="med"/>
                    </a:lnL>
                    <a:lnR w="12700" cap="flat" cmpd="sng" algn="ctr">
                      <a:solidFill>
                        <a:srgbClr val="C7D9F2"/>
                      </a:solidFill>
                      <a:prstDash val="solid"/>
                      <a:round/>
                      <a:headEnd type="none" w="med" len="med"/>
                      <a:tailEnd type="none" w="med" len="med"/>
                    </a:lnR>
                    <a:lnT w="12700" cap="flat" cmpd="sng" algn="ctr">
                      <a:solidFill>
                        <a:srgbClr val="C7D9F2"/>
                      </a:solidFill>
                      <a:prstDash val="solid"/>
                      <a:round/>
                      <a:headEnd type="none" w="med" len="med"/>
                      <a:tailEnd type="none" w="med" len="med"/>
                    </a:lnT>
                    <a:lnB w="12700" cap="flat" cmpd="sng" algn="ctr">
                      <a:solidFill>
                        <a:srgbClr val="C7D9F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4070218"/>
                  </a:ext>
                </a:extLst>
              </a:tr>
              <a:tr h="935039">
                <a:tc>
                  <a:txBody>
                    <a:bodyPr/>
                    <a:lstStyle/>
                    <a:p>
                      <a:pPr algn="ctr"/>
                      <a:r>
                        <a:rPr lang="sv-SE" sz="1600" b="0" dirty="0">
                          <a:solidFill>
                            <a:schemeClr val="bg1"/>
                          </a:solidFill>
                          <a:latin typeface="Work Sans Medium" pitchFamily="2" charset="0"/>
                        </a:rPr>
                        <a:t>20 </a:t>
                      </a:r>
                      <a:r>
                        <a:rPr lang="sv-SE" sz="1600" b="0" dirty="0" err="1">
                          <a:solidFill>
                            <a:schemeClr val="bg1"/>
                          </a:solidFill>
                          <a:latin typeface="Work Sans Medium" pitchFamily="2" charset="0"/>
                        </a:rPr>
                        <a:t>rubs</a:t>
                      </a:r>
                      <a:endParaRPr lang="sv-SE" sz="1600" b="0" dirty="0">
                        <a:solidFill>
                          <a:schemeClr val="bg1"/>
                        </a:solidFill>
                        <a:latin typeface="Work Sans Medium" pitchFamily="2" charset="0"/>
                      </a:endParaRPr>
                    </a:p>
                  </a:txBody>
                  <a:tcPr anchor="ctr">
                    <a:lnL w="12700" cap="flat" cmpd="sng" algn="ctr">
                      <a:solidFill>
                        <a:srgbClr val="C7D9F2"/>
                      </a:solidFill>
                      <a:prstDash val="solid"/>
                      <a:round/>
                      <a:headEnd type="none" w="med" len="med"/>
                      <a:tailEnd type="none" w="med" len="med"/>
                    </a:lnL>
                    <a:lnR w="12700" cap="flat" cmpd="sng" algn="ctr">
                      <a:solidFill>
                        <a:srgbClr val="C7D9F2"/>
                      </a:solidFill>
                      <a:prstDash val="solid"/>
                      <a:round/>
                      <a:headEnd type="none" w="med" len="med"/>
                      <a:tailEnd type="none" w="med" len="med"/>
                    </a:lnR>
                    <a:lnT w="12700" cap="flat" cmpd="sng" algn="ctr">
                      <a:solidFill>
                        <a:srgbClr val="C7D9F2"/>
                      </a:solidFill>
                      <a:prstDash val="solid"/>
                      <a:round/>
                      <a:headEnd type="none" w="med" len="med"/>
                      <a:tailEnd type="none" w="med" len="med"/>
                    </a:lnT>
                    <a:lnB w="12700" cap="flat" cmpd="sng" algn="ctr">
                      <a:solidFill>
                        <a:srgbClr val="C7D9F2"/>
                      </a:solidFill>
                      <a:prstDash val="solid"/>
                      <a:round/>
                      <a:headEnd type="none" w="med" len="med"/>
                      <a:tailEnd type="none" w="med" len="med"/>
                    </a:lnB>
                    <a:lnTlToBr w="12700" cmpd="sng">
                      <a:noFill/>
                      <a:prstDash val="solid"/>
                    </a:lnTlToBr>
                    <a:lnBlToTr w="12700" cmpd="sng">
                      <a:noFill/>
                      <a:prstDash val="solid"/>
                    </a:lnBlToTr>
                    <a:solidFill>
                      <a:srgbClr val="588DD7"/>
                    </a:solidFill>
                  </a:tcPr>
                </a:tc>
                <a:tc>
                  <a:txBody>
                    <a:bodyPr/>
                    <a:lstStyle/>
                    <a:p>
                      <a:endParaRPr lang="sv-SE"/>
                    </a:p>
                  </a:txBody>
                  <a:tcPr>
                    <a:lnL w="12700" cap="flat" cmpd="sng" algn="ctr">
                      <a:solidFill>
                        <a:srgbClr val="C7D9F2"/>
                      </a:solidFill>
                      <a:prstDash val="solid"/>
                      <a:round/>
                      <a:headEnd type="none" w="med" len="med"/>
                      <a:tailEnd type="none" w="med" len="med"/>
                    </a:lnL>
                    <a:lnR w="12700" cap="flat" cmpd="sng" algn="ctr">
                      <a:solidFill>
                        <a:srgbClr val="C7D9F2"/>
                      </a:solidFill>
                      <a:prstDash val="solid"/>
                      <a:round/>
                      <a:headEnd type="none" w="med" len="med"/>
                      <a:tailEnd type="none" w="med" len="med"/>
                    </a:lnR>
                    <a:lnT w="12700" cap="flat" cmpd="sng" algn="ctr">
                      <a:solidFill>
                        <a:srgbClr val="C7D9F2"/>
                      </a:solidFill>
                      <a:prstDash val="solid"/>
                      <a:round/>
                      <a:headEnd type="none" w="med" len="med"/>
                      <a:tailEnd type="none" w="med" len="med"/>
                    </a:lnT>
                    <a:lnB w="12700" cap="flat" cmpd="sng" algn="ctr">
                      <a:solidFill>
                        <a:srgbClr val="C7D9F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sv-SE"/>
                    </a:p>
                  </a:txBody>
                  <a:tcPr>
                    <a:lnL w="12700" cap="flat" cmpd="sng" algn="ctr">
                      <a:solidFill>
                        <a:srgbClr val="C7D9F2"/>
                      </a:solidFill>
                      <a:prstDash val="solid"/>
                      <a:round/>
                      <a:headEnd type="none" w="med" len="med"/>
                      <a:tailEnd type="none" w="med" len="med"/>
                    </a:lnL>
                    <a:lnR w="12700" cap="flat" cmpd="sng" algn="ctr">
                      <a:solidFill>
                        <a:srgbClr val="C7D9F2"/>
                      </a:solidFill>
                      <a:prstDash val="solid"/>
                      <a:round/>
                      <a:headEnd type="none" w="med" len="med"/>
                      <a:tailEnd type="none" w="med" len="med"/>
                    </a:lnR>
                    <a:lnT w="12700" cap="flat" cmpd="sng" algn="ctr">
                      <a:solidFill>
                        <a:srgbClr val="C7D9F2"/>
                      </a:solidFill>
                      <a:prstDash val="solid"/>
                      <a:round/>
                      <a:headEnd type="none" w="med" len="med"/>
                      <a:tailEnd type="none" w="med" len="med"/>
                    </a:lnT>
                    <a:lnB w="12700" cap="flat" cmpd="sng" algn="ctr">
                      <a:solidFill>
                        <a:srgbClr val="C7D9F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sv-SE" dirty="0"/>
                    </a:p>
                  </a:txBody>
                  <a:tcPr>
                    <a:lnL w="12700" cap="flat" cmpd="sng" algn="ctr">
                      <a:solidFill>
                        <a:srgbClr val="C7D9F2"/>
                      </a:solidFill>
                      <a:prstDash val="solid"/>
                      <a:round/>
                      <a:headEnd type="none" w="med" len="med"/>
                      <a:tailEnd type="none" w="med" len="med"/>
                    </a:lnL>
                    <a:lnR w="12700" cap="flat" cmpd="sng" algn="ctr">
                      <a:solidFill>
                        <a:srgbClr val="C7D9F2"/>
                      </a:solidFill>
                      <a:prstDash val="solid"/>
                      <a:round/>
                      <a:headEnd type="none" w="med" len="med"/>
                      <a:tailEnd type="none" w="med" len="med"/>
                    </a:lnR>
                    <a:lnT w="12700" cap="flat" cmpd="sng" algn="ctr">
                      <a:solidFill>
                        <a:srgbClr val="C7D9F2"/>
                      </a:solidFill>
                      <a:prstDash val="solid"/>
                      <a:round/>
                      <a:headEnd type="none" w="med" len="med"/>
                      <a:tailEnd type="none" w="med" len="med"/>
                    </a:lnT>
                    <a:lnB w="12700" cap="flat" cmpd="sng" algn="ctr">
                      <a:solidFill>
                        <a:srgbClr val="C7D9F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061258"/>
                  </a:ext>
                </a:extLst>
              </a:tr>
            </a:tbl>
          </a:graphicData>
        </a:graphic>
      </p:graphicFrame>
      <p:sp>
        <p:nvSpPr>
          <p:cNvPr id="2" name="Title 1">
            <a:extLst>
              <a:ext uri="{FF2B5EF4-FFF2-40B4-BE49-F238E27FC236}">
                <a16:creationId xmlns:a16="http://schemas.microsoft.com/office/drawing/2014/main" id="{2E690047-D330-03B6-4D56-14FDC5140F84}"/>
              </a:ext>
            </a:extLst>
          </p:cNvPr>
          <p:cNvSpPr>
            <a:spLocks noGrp="1"/>
          </p:cNvSpPr>
          <p:nvPr>
            <p:ph type="title"/>
          </p:nvPr>
        </p:nvSpPr>
        <p:spPr>
          <a:xfrm>
            <a:off x="7166552" y="1740956"/>
            <a:ext cx="4765596" cy="775597"/>
          </a:xfrm>
        </p:spPr>
        <p:txBody>
          <a:bodyPr/>
          <a:lstStyle/>
          <a:p>
            <a:pPr algn="ctr"/>
            <a:r>
              <a:rPr lang="en-US" sz="2000" dirty="0">
                <a:solidFill>
                  <a:srgbClr val="2067CA"/>
                </a:solidFill>
              </a:rPr>
              <a:t>LIPEX® SheaLuxe TR </a:t>
            </a:r>
            <a:br>
              <a:rPr lang="en-US" sz="2000" dirty="0">
                <a:solidFill>
                  <a:srgbClr val="2067CA"/>
                </a:solidFill>
              </a:rPr>
            </a:br>
            <a:r>
              <a:rPr lang="en-US" sz="2000" dirty="0">
                <a:solidFill>
                  <a:srgbClr val="2067CA"/>
                </a:solidFill>
              </a:rPr>
              <a:t>reduces the soaping effect</a:t>
            </a:r>
            <a:endParaRPr lang="sv-SE" sz="2000" dirty="0">
              <a:solidFill>
                <a:srgbClr val="2067CA"/>
              </a:solidFill>
            </a:endParaRPr>
          </a:p>
        </p:txBody>
      </p:sp>
      <p:sp>
        <p:nvSpPr>
          <p:cNvPr id="8" name="ZoneTexte 11">
            <a:extLst>
              <a:ext uri="{FF2B5EF4-FFF2-40B4-BE49-F238E27FC236}">
                <a16:creationId xmlns:a16="http://schemas.microsoft.com/office/drawing/2014/main" id="{F51450CC-5F43-1AB3-B786-49454FA879B6}"/>
              </a:ext>
            </a:extLst>
          </p:cNvPr>
          <p:cNvSpPr txBox="1"/>
          <p:nvPr/>
        </p:nvSpPr>
        <p:spPr>
          <a:xfrm>
            <a:off x="6978908" y="2784808"/>
            <a:ext cx="4610256" cy="2539157"/>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264E"/>
              </a:buClr>
              <a:buSzTx/>
              <a:buFontTx/>
              <a:buNone/>
              <a:tabLst/>
              <a:defRPr/>
            </a:pPr>
            <a:endParaRPr kumimoji="0" lang="en-GB" sz="1400" b="0" i="0" u="none" strike="noStrike" kern="1200" cap="none" spc="-30" normalizeH="0" baseline="0" noProof="0" dirty="0">
              <a:ln>
                <a:noFill/>
              </a:ln>
              <a:solidFill>
                <a:srgbClr val="00264E"/>
              </a:solidFill>
              <a:effectLst/>
              <a:uLnTx/>
              <a:uFillTx/>
              <a:latin typeface="Work Sans Light"/>
              <a:ea typeface="+mn-ea"/>
              <a:cs typeface="+mn-cs"/>
            </a:endParaRPr>
          </a:p>
          <a:p>
            <a:pPr marL="285750" marR="0" lvl="0" indent="-285750" algn="l" defTabSz="914400" rtl="0" eaLnBrk="1" fontAlgn="auto" latinLnBrk="0" hangingPunct="1">
              <a:lnSpc>
                <a:spcPct val="100000"/>
              </a:lnSpc>
              <a:spcBef>
                <a:spcPts val="0"/>
              </a:spcBef>
              <a:spcAft>
                <a:spcPts val="600"/>
              </a:spcAft>
              <a:buClr>
                <a:srgbClr val="00264E"/>
              </a:buClr>
              <a:buSzTx/>
              <a:buFont typeface="Arial" panose="020B0604020202020204" pitchFamily="34" charset="0"/>
              <a:buChar char="•"/>
              <a:tabLst/>
              <a:defRPr/>
            </a:pPr>
            <a:r>
              <a:rPr kumimoji="0" lang="en-GB" sz="1400" b="0" i="0" u="none" strike="noStrike" kern="1200" cap="none" spc="-30" normalizeH="0" baseline="0" noProof="0" dirty="0">
                <a:ln>
                  <a:noFill/>
                </a:ln>
                <a:solidFill>
                  <a:srgbClr val="00264E"/>
                </a:solidFill>
                <a:effectLst/>
                <a:uLnTx/>
                <a:uFillTx/>
                <a:latin typeface="Work Sans Light"/>
                <a:ea typeface="+mn-ea"/>
                <a:cs typeface="+mn-cs"/>
              </a:rPr>
              <a:t>The negative control shows significant soaping on skin.</a:t>
            </a:r>
          </a:p>
          <a:p>
            <a:pPr marR="0" lvl="0" algn="l" defTabSz="914400" rtl="0" eaLnBrk="1" fontAlgn="auto" latinLnBrk="0" hangingPunct="1">
              <a:lnSpc>
                <a:spcPct val="100000"/>
              </a:lnSpc>
              <a:spcBef>
                <a:spcPts val="0"/>
              </a:spcBef>
              <a:spcAft>
                <a:spcPts val="600"/>
              </a:spcAft>
              <a:buClr>
                <a:srgbClr val="00264E"/>
              </a:buClr>
              <a:buSzTx/>
              <a:tabLst/>
              <a:defRPr/>
            </a:pPr>
            <a:endParaRPr kumimoji="0" lang="en-GB" sz="1400" b="0" i="0" u="none" strike="noStrike" kern="1200" cap="none" spc="-30" normalizeH="0" baseline="0" noProof="0" dirty="0">
              <a:ln>
                <a:noFill/>
              </a:ln>
              <a:solidFill>
                <a:srgbClr val="00264E"/>
              </a:solidFill>
              <a:effectLst/>
              <a:uLnTx/>
              <a:uFillTx/>
              <a:latin typeface="Work Sans Light"/>
              <a:ea typeface="+mn-ea"/>
              <a:cs typeface="+mn-cs"/>
            </a:endParaRPr>
          </a:p>
          <a:p>
            <a:pPr marL="285750" marR="0" lvl="0" indent="-285750" algn="l" defTabSz="914400" rtl="0" eaLnBrk="1" fontAlgn="auto" latinLnBrk="0" hangingPunct="1">
              <a:lnSpc>
                <a:spcPct val="100000"/>
              </a:lnSpc>
              <a:spcBef>
                <a:spcPts val="0"/>
              </a:spcBef>
              <a:spcAft>
                <a:spcPts val="600"/>
              </a:spcAft>
              <a:buClr>
                <a:srgbClr val="00264E"/>
              </a:buClr>
              <a:buSzTx/>
              <a:buFont typeface="Arial" panose="020B0604020202020204" pitchFamily="34" charset="0"/>
              <a:buChar char="•"/>
              <a:tabLst/>
              <a:defRPr/>
            </a:pPr>
            <a:r>
              <a:rPr kumimoji="0" lang="en-GB" sz="1400" b="0" i="0" u="none" strike="noStrike" kern="1200" cap="none" spc="-30" normalizeH="0" baseline="0" noProof="0" dirty="0">
                <a:ln>
                  <a:noFill/>
                </a:ln>
                <a:solidFill>
                  <a:srgbClr val="00264E"/>
                </a:solidFill>
                <a:effectLst/>
                <a:uLnTx/>
                <a:uFillTx/>
                <a:latin typeface="Work Sans Light"/>
                <a:ea typeface="+mn-ea"/>
                <a:cs typeface="+mn-cs"/>
              </a:rPr>
              <a:t>Dimethicone, as expected, has a very significant </a:t>
            </a:r>
            <a:r>
              <a:rPr kumimoji="0" lang="en-GB" sz="1400" b="0" i="0" u="none" strike="noStrike" kern="1200" cap="none" spc="-30" normalizeH="0" baseline="0" noProof="0" dirty="0" err="1">
                <a:ln>
                  <a:noFill/>
                </a:ln>
                <a:solidFill>
                  <a:srgbClr val="00264E"/>
                </a:solidFill>
                <a:effectLst/>
                <a:uLnTx/>
                <a:uFillTx/>
                <a:latin typeface="Work Sans Light"/>
                <a:ea typeface="+mn-ea"/>
                <a:cs typeface="+mn-cs"/>
              </a:rPr>
              <a:t>antisoaping</a:t>
            </a:r>
            <a:r>
              <a:rPr kumimoji="0" lang="en-GB" sz="1400" b="0" i="0" u="none" strike="noStrike" kern="1200" cap="none" spc="-30" normalizeH="0" baseline="0" noProof="0" dirty="0">
                <a:ln>
                  <a:noFill/>
                </a:ln>
                <a:solidFill>
                  <a:srgbClr val="00264E"/>
                </a:solidFill>
                <a:effectLst/>
                <a:uLnTx/>
                <a:uFillTx/>
                <a:latin typeface="Work Sans Light"/>
                <a:ea typeface="+mn-ea"/>
                <a:cs typeface="+mn-cs"/>
              </a:rPr>
              <a:t> effect. </a:t>
            </a:r>
          </a:p>
          <a:p>
            <a:pPr marR="0" lvl="0" algn="l" defTabSz="914400" rtl="0" eaLnBrk="1" fontAlgn="auto" latinLnBrk="0" hangingPunct="1">
              <a:lnSpc>
                <a:spcPct val="100000"/>
              </a:lnSpc>
              <a:spcBef>
                <a:spcPts val="0"/>
              </a:spcBef>
              <a:spcAft>
                <a:spcPts val="600"/>
              </a:spcAft>
              <a:buClr>
                <a:srgbClr val="00264E"/>
              </a:buClr>
              <a:buSzTx/>
              <a:tabLst/>
              <a:defRPr/>
            </a:pPr>
            <a:endParaRPr kumimoji="0" lang="en-GB" sz="1400" b="0" i="0" u="none" strike="noStrike" kern="1200" cap="none" spc="-30" normalizeH="0" baseline="0" noProof="0" dirty="0">
              <a:ln>
                <a:noFill/>
              </a:ln>
              <a:solidFill>
                <a:srgbClr val="00264E"/>
              </a:solidFill>
              <a:effectLst/>
              <a:uLnTx/>
              <a:uFillTx/>
              <a:latin typeface="Work Sans Light"/>
              <a:ea typeface="+mn-ea"/>
              <a:cs typeface="+mn-cs"/>
            </a:endParaRPr>
          </a:p>
          <a:p>
            <a:pPr marL="285750" marR="0" lvl="0" indent="-285750" algn="l" defTabSz="914400" rtl="0" eaLnBrk="1" fontAlgn="auto" latinLnBrk="0" hangingPunct="1">
              <a:lnSpc>
                <a:spcPct val="100000"/>
              </a:lnSpc>
              <a:spcBef>
                <a:spcPts val="0"/>
              </a:spcBef>
              <a:spcAft>
                <a:spcPts val="600"/>
              </a:spcAft>
              <a:buClr>
                <a:srgbClr val="00264E"/>
              </a:buClr>
              <a:buSzTx/>
              <a:buFont typeface="Arial" panose="020B0604020202020204" pitchFamily="34" charset="0"/>
              <a:buChar char="•"/>
              <a:tabLst/>
              <a:defRPr/>
            </a:pPr>
            <a:r>
              <a:rPr kumimoji="0" lang="en-GB" sz="1400" b="0" i="0" u="none" strike="noStrike" kern="1200" cap="none" spc="-30" normalizeH="0" baseline="0" noProof="0" dirty="0">
                <a:ln>
                  <a:noFill/>
                </a:ln>
                <a:solidFill>
                  <a:srgbClr val="00264E"/>
                </a:solidFill>
                <a:effectLst/>
                <a:uLnTx/>
                <a:uFillTx/>
                <a:latin typeface="Work Sans Light"/>
                <a:ea typeface="+mn-ea"/>
                <a:cs typeface="+mn-cs"/>
              </a:rPr>
              <a:t>LIPEX® SheaLuxe TR has a visible </a:t>
            </a:r>
            <a:r>
              <a:rPr kumimoji="0" lang="en-GB" sz="1400" b="0" i="0" u="none" strike="noStrike" kern="1200" cap="none" spc="-30" normalizeH="0" baseline="0" noProof="0" dirty="0" err="1">
                <a:ln>
                  <a:noFill/>
                </a:ln>
                <a:solidFill>
                  <a:srgbClr val="00264E"/>
                </a:solidFill>
                <a:effectLst/>
                <a:uLnTx/>
                <a:uFillTx/>
                <a:latin typeface="Work Sans Light"/>
                <a:ea typeface="+mn-ea"/>
                <a:cs typeface="+mn-cs"/>
              </a:rPr>
              <a:t>antisoaping</a:t>
            </a:r>
            <a:r>
              <a:rPr kumimoji="0" lang="en-GB" sz="1400" b="0" i="0" u="none" strike="noStrike" kern="1200" cap="none" spc="-30" normalizeH="0" baseline="0" noProof="0" dirty="0">
                <a:ln>
                  <a:noFill/>
                </a:ln>
                <a:solidFill>
                  <a:srgbClr val="00264E"/>
                </a:solidFill>
                <a:effectLst/>
                <a:uLnTx/>
                <a:uFillTx/>
                <a:latin typeface="Work Sans Light"/>
                <a:ea typeface="+mn-ea"/>
                <a:cs typeface="+mn-cs"/>
              </a:rPr>
              <a:t> effect, even if inferior to dimethicone.</a:t>
            </a:r>
          </a:p>
          <a:p>
            <a:pPr marL="0" marR="0" lvl="0" indent="0" algn="l" defTabSz="914400" rtl="0" eaLnBrk="1" fontAlgn="auto" latinLnBrk="0" hangingPunct="1">
              <a:lnSpc>
                <a:spcPct val="100000"/>
              </a:lnSpc>
              <a:spcBef>
                <a:spcPts val="0"/>
              </a:spcBef>
              <a:spcAft>
                <a:spcPts val="0"/>
              </a:spcAft>
              <a:buClr>
                <a:srgbClr val="00264E"/>
              </a:buClr>
              <a:buSzTx/>
              <a:buFontTx/>
              <a:buNone/>
              <a:tabLst/>
              <a:defRPr/>
            </a:pPr>
            <a:endParaRPr kumimoji="0" lang="en-GB" sz="1400" b="0" i="0" u="none" strike="noStrike" kern="1200" cap="none" spc="-30" normalizeH="0" baseline="0" noProof="0" dirty="0">
              <a:ln>
                <a:noFill/>
              </a:ln>
              <a:solidFill>
                <a:srgbClr val="00264E"/>
              </a:solidFill>
              <a:effectLst/>
              <a:uLnTx/>
              <a:uFillTx/>
              <a:latin typeface="Work Sans Light"/>
              <a:ea typeface="+mn-ea"/>
              <a:cs typeface="+mn-cs"/>
            </a:endParaRPr>
          </a:p>
        </p:txBody>
      </p:sp>
      <p:sp>
        <p:nvSpPr>
          <p:cNvPr id="7" name="Title 1">
            <a:extLst>
              <a:ext uri="{FF2B5EF4-FFF2-40B4-BE49-F238E27FC236}">
                <a16:creationId xmlns:a16="http://schemas.microsoft.com/office/drawing/2014/main" id="{8A0CFC3A-C4FE-4986-D034-72A17AD48160}"/>
              </a:ext>
            </a:extLst>
          </p:cNvPr>
          <p:cNvSpPr txBox="1">
            <a:spLocks/>
          </p:cNvSpPr>
          <p:nvPr/>
        </p:nvSpPr>
        <p:spPr>
          <a:xfrm>
            <a:off x="713576" y="427897"/>
            <a:ext cx="10864474" cy="77559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800" kern="1200" spc="-30" baseline="0">
                <a:solidFill>
                  <a:srgbClr val="00264E"/>
                </a:solidFill>
                <a:latin typeface="Work Sans Medium" pitchFamily="2" charset="0"/>
                <a:ea typeface="+mj-ea"/>
                <a:cs typeface="+mj-cs"/>
              </a:defRPr>
            </a:lvl1pPr>
          </a:lstStyle>
          <a:p>
            <a:r>
              <a:rPr lang="en-US" dirty="0"/>
              <a:t>Solution 1: focusing on liquid emollients</a:t>
            </a:r>
            <a:endParaRPr lang="sv-SE" dirty="0"/>
          </a:p>
        </p:txBody>
      </p:sp>
    </p:spTree>
    <p:extLst>
      <p:ext uri="{BB962C8B-B14F-4D97-AF65-F5344CB8AC3E}">
        <p14:creationId xmlns:p14="http://schemas.microsoft.com/office/powerpoint/2010/main" val="23437906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E62B9FC5-6F3F-7124-07BF-20B576E96272}"/>
            </a:ext>
          </a:extLst>
        </p:cNvPr>
        <p:cNvGrpSpPr/>
        <p:nvPr/>
      </p:nvGrpSpPr>
      <p:grpSpPr>
        <a:xfrm>
          <a:off x="0" y="0"/>
          <a:ext cx="0" cy="0"/>
          <a:chOff x="0" y="0"/>
          <a:chExt cx="0" cy="0"/>
        </a:xfrm>
      </p:grpSpPr>
      <p:pic>
        <p:nvPicPr>
          <p:cNvPr id="6" name="Picture 5" descr="A person's arm with white cream on it&#10;&#10;AI-generated content may be incorrect.">
            <a:extLst>
              <a:ext uri="{FF2B5EF4-FFF2-40B4-BE49-F238E27FC236}">
                <a16:creationId xmlns:a16="http://schemas.microsoft.com/office/drawing/2014/main" id="{E3CF855A-4933-7F89-3FED-D9C2C771CC84}"/>
              </a:ext>
            </a:extLst>
          </p:cNvPr>
          <p:cNvPicPr>
            <a:picLocks noChangeAspect="1"/>
          </p:cNvPicPr>
          <p:nvPr/>
        </p:nvPicPr>
        <p:blipFill>
          <a:blip r:embed="rId2"/>
          <a:srcRect l="14295" r="26971"/>
          <a:stretch/>
        </p:blipFill>
        <p:spPr>
          <a:xfrm rot="10800000">
            <a:off x="9696271" y="1365812"/>
            <a:ext cx="2278783" cy="5173099"/>
          </a:xfrm>
          <a:prstGeom prst="rect">
            <a:avLst/>
          </a:prstGeom>
        </p:spPr>
      </p:pic>
      <p:sp>
        <p:nvSpPr>
          <p:cNvPr id="4" name="Date Placeholder 3">
            <a:extLst>
              <a:ext uri="{FF2B5EF4-FFF2-40B4-BE49-F238E27FC236}">
                <a16:creationId xmlns:a16="http://schemas.microsoft.com/office/drawing/2014/main" id="{4537C0DA-B3B6-C288-A837-183D952C5A22}"/>
              </a:ext>
            </a:extLst>
          </p:cNvPr>
          <p:cNvSpPr>
            <a:spLocks noGrp="1"/>
          </p:cNvSpPr>
          <p:nvPr>
            <p:ph type="dt" sz="half" idx="2"/>
          </p:nvPr>
        </p:nvSpPr>
        <p:spPr/>
        <p:txBody>
          <a:bodyPr/>
          <a:lstStyle/>
          <a:p>
            <a:fld id="{5D7A9FD5-427C-4F7A-B299-DC092685A217}" type="datetime1">
              <a:rPr lang="en-GB" sz="1000" smtClean="0"/>
              <a:t>18/06/2025</a:t>
            </a:fld>
            <a:endParaRPr lang="en-GB" sz="1000" dirty="0"/>
          </a:p>
        </p:txBody>
      </p:sp>
      <p:sp>
        <p:nvSpPr>
          <p:cNvPr id="5" name="Slide Number Placeholder 4">
            <a:extLst>
              <a:ext uri="{FF2B5EF4-FFF2-40B4-BE49-F238E27FC236}">
                <a16:creationId xmlns:a16="http://schemas.microsoft.com/office/drawing/2014/main" id="{0793899C-3687-618F-AF9C-59BEA84E4B9B}"/>
              </a:ext>
            </a:extLst>
          </p:cNvPr>
          <p:cNvSpPr>
            <a:spLocks noGrp="1"/>
          </p:cNvSpPr>
          <p:nvPr>
            <p:ph type="sldNum" sz="quarter" idx="4"/>
          </p:nvPr>
        </p:nvSpPr>
        <p:spPr/>
        <p:txBody>
          <a:bodyPr/>
          <a:lstStyle/>
          <a:p>
            <a:pPr algn="r"/>
            <a:fld id="{EDF3706E-DB9C-4B59-A485-1194C2A6AD28}" type="slidenum">
              <a:rPr lang="en-GB" sz="1000" smtClean="0"/>
              <a:pPr algn="r"/>
              <a:t>28</a:t>
            </a:fld>
            <a:endParaRPr lang="en-GB" sz="1000"/>
          </a:p>
        </p:txBody>
      </p:sp>
      <p:sp>
        <p:nvSpPr>
          <p:cNvPr id="9" name="TextBox 8">
            <a:extLst>
              <a:ext uri="{FF2B5EF4-FFF2-40B4-BE49-F238E27FC236}">
                <a16:creationId xmlns:a16="http://schemas.microsoft.com/office/drawing/2014/main" id="{56BEF7B7-30BE-4BF2-3456-D8B978E21BF5}"/>
              </a:ext>
            </a:extLst>
          </p:cNvPr>
          <p:cNvSpPr txBox="1"/>
          <p:nvPr/>
        </p:nvSpPr>
        <p:spPr>
          <a:xfrm>
            <a:off x="840923" y="5815629"/>
            <a:ext cx="7718043" cy="153888"/>
          </a:xfrm>
          <a:prstGeom prst="rect">
            <a:avLst/>
          </a:prstGeom>
          <a:noFill/>
          <a:ln>
            <a:noFill/>
          </a:ln>
        </p:spPr>
        <p:txBody>
          <a:bodyPr wrap="square" lIns="0" tIns="0" rIns="0" bIns="0" rtlCol="0">
            <a:spAutoFit/>
          </a:bodyPr>
          <a:lstStyle/>
          <a:p>
            <a:pPr algn="l">
              <a:buClr>
                <a:schemeClr val="tx2"/>
              </a:buClr>
            </a:pPr>
            <a:r>
              <a:rPr lang="fr-FR" sz="1000" spc="-30" dirty="0">
                <a:solidFill>
                  <a:schemeClr val="tx1">
                    <a:lumMod val="50000"/>
                    <a:lumOff val="50000"/>
                  </a:schemeClr>
                </a:solidFill>
              </a:rPr>
              <a:t>0,05g of </a:t>
            </a:r>
            <a:r>
              <a:rPr lang="fr-FR" sz="1000" spc="-30" dirty="0" err="1">
                <a:solidFill>
                  <a:schemeClr val="tx1">
                    <a:lumMod val="50000"/>
                    <a:lumOff val="50000"/>
                  </a:schemeClr>
                </a:solidFill>
              </a:rPr>
              <a:t>each</a:t>
            </a:r>
            <a:r>
              <a:rPr lang="fr-FR" sz="1000" spc="-30" dirty="0">
                <a:solidFill>
                  <a:schemeClr val="tx1">
                    <a:lumMod val="50000"/>
                    <a:lumOff val="50000"/>
                  </a:schemeClr>
                </a:solidFill>
              </a:rPr>
              <a:t> formulation </a:t>
            </a:r>
            <a:r>
              <a:rPr lang="fr-FR" sz="1000" spc="-30" dirty="0" err="1">
                <a:solidFill>
                  <a:schemeClr val="tx1">
                    <a:lumMod val="50000"/>
                    <a:lumOff val="50000"/>
                  </a:schemeClr>
                </a:solidFill>
              </a:rPr>
              <a:t>were</a:t>
            </a:r>
            <a:r>
              <a:rPr lang="fr-FR" sz="1000" spc="-30" dirty="0">
                <a:solidFill>
                  <a:schemeClr val="tx1">
                    <a:lumMod val="50000"/>
                    <a:lumOff val="50000"/>
                  </a:schemeClr>
                </a:solidFill>
              </a:rPr>
              <a:t> </a:t>
            </a:r>
            <a:r>
              <a:rPr lang="fr-FR" sz="1000" spc="-30" dirty="0" err="1">
                <a:solidFill>
                  <a:schemeClr val="tx1">
                    <a:lumMod val="50000"/>
                    <a:lumOff val="50000"/>
                  </a:schemeClr>
                </a:solidFill>
              </a:rPr>
              <a:t>applied</a:t>
            </a:r>
            <a:r>
              <a:rPr lang="fr-FR" sz="1000" spc="-30" dirty="0">
                <a:solidFill>
                  <a:schemeClr val="tx1">
                    <a:lumMod val="50000"/>
                    <a:lumOff val="50000"/>
                  </a:schemeClr>
                </a:solidFill>
              </a:rPr>
              <a:t> on the </a:t>
            </a:r>
            <a:r>
              <a:rPr lang="fr-FR" sz="1000" spc="-30" dirty="0" err="1">
                <a:solidFill>
                  <a:schemeClr val="tx1">
                    <a:lumMod val="50000"/>
                    <a:lumOff val="50000"/>
                  </a:schemeClr>
                </a:solidFill>
              </a:rPr>
              <a:t>forearm</a:t>
            </a:r>
            <a:r>
              <a:rPr lang="fr-FR" sz="1000" spc="-30" dirty="0">
                <a:solidFill>
                  <a:schemeClr val="tx1">
                    <a:lumMod val="50000"/>
                    <a:lumOff val="50000"/>
                  </a:schemeClr>
                </a:solidFill>
              </a:rPr>
              <a:t> and </a:t>
            </a:r>
            <a:r>
              <a:rPr lang="fr-FR" sz="1000" spc="-30" dirty="0" err="1">
                <a:solidFill>
                  <a:schemeClr val="tx1">
                    <a:lumMod val="50000"/>
                    <a:lumOff val="50000"/>
                  </a:schemeClr>
                </a:solidFill>
              </a:rPr>
              <a:t>picture</a:t>
            </a:r>
            <a:r>
              <a:rPr lang="fr-FR" sz="1000" spc="-30" dirty="0">
                <a:solidFill>
                  <a:schemeClr val="tx1">
                    <a:lumMod val="50000"/>
                    <a:lumOff val="50000"/>
                  </a:schemeClr>
                </a:solidFill>
              </a:rPr>
              <a:t> </a:t>
            </a:r>
            <a:r>
              <a:rPr lang="fr-FR" sz="1000" spc="-30" dirty="0" err="1">
                <a:solidFill>
                  <a:schemeClr val="tx1">
                    <a:lumMod val="50000"/>
                    <a:lumOff val="50000"/>
                  </a:schemeClr>
                </a:solidFill>
              </a:rPr>
              <a:t>was</a:t>
            </a:r>
            <a:r>
              <a:rPr lang="fr-FR" sz="1000" spc="-30" dirty="0">
                <a:solidFill>
                  <a:schemeClr val="tx1">
                    <a:lumMod val="50000"/>
                    <a:lumOff val="50000"/>
                  </a:schemeClr>
                </a:solidFill>
              </a:rPr>
              <a:t> </a:t>
            </a:r>
            <a:r>
              <a:rPr lang="fr-FR" sz="1000" spc="-30" dirty="0" err="1">
                <a:solidFill>
                  <a:schemeClr val="tx1">
                    <a:lumMod val="50000"/>
                    <a:lumOff val="50000"/>
                  </a:schemeClr>
                </a:solidFill>
              </a:rPr>
              <a:t>taken</a:t>
            </a:r>
            <a:r>
              <a:rPr lang="fr-FR" sz="1000" spc="-30" dirty="0">
                <a:solidFill>
                  <a:schemeClr val="tx1">
                    <a:lumMod val="50000"/>
                    <a:lumOff val="50000"/>
                  </a:schemeClr>
                </a:solidFill>
              </a:rPr>
              <a:t> </a:t>
            </a:r>
            <a:r>
              <a:rPr lang="fr-FR" sz="1000" spc="-30" dirty="0" err="1">
                <a:solidFill>
                  <a:schemeClr val="tx1">
                    <a:lumMod val="50000"/>
                    <a:lumOff val="50000"/>
                  </a:schemeClr>
                </a:solidFill>
              </a:rPr>
              <a:t>after</a:t>
            </a:r>
            <a:r>
              <a:rPr lang="fr-FR" sz="1000" spc="-30" dirty="0">
                <a:solidFill>
                  <a:schemeClr val="tx1">
                    <a:lumMod val="50000"/>
                    <a:lumOff val="50000"/>
                  </a:schemeClr>
                </a:solidFill>
              </a:rPr>
              <a:t> 5 </a:t>
            </a:r>
            <a:r>
              <a:rPr lang="fr-FR" sz="1000" spc="-30" dirty="0" err="1">
                <a:solidFill>
                  <a:schemeClr val="tx1">
                    <a:lumMod val="50000"/>
                    <a:lumOff val="50000"/>
                  </a:schemeClr>
                </a:solidFill>
              </a:rPr>
              <a:t>rubs</a:t>
            </a:r>
            <a:r>
              <a:rPr lang="fr-FR" sz="1000" spc="-30" dirty="0">
                <a:solidFill>
                  <a:schemeClr val="tx1">
                    <a:lumMod val="50000"/>
                    <a:lumOff val="50000"/>
                  </a:schemeClr>
                </a:solidFill>
              </a:rPr>
              <a:t>.</a:t>
            </a:r>
            <a:endParaRPr lang="en-GB" sz="1000" spc="-30" dirty="0">
              <a:solidFill>
                <a:schemeClr val="tx1">
                  <a:lumMod val="50000"/>
                  <a:lumOff val="50000"/>
                </a:schemeClr>
              </a:solidFill>
            </a:endParaRPr>
          </a:p>
        </p:txBody>
      </p:sp>
      <p:sp>
        <p:nvSpPr>
          <p:cNvPr id="10" name="Rectangle 9">
            <a:extLst>
              <a:ext uri="{FF2B5EF4-FFF2-40B4-BE49-F238E27FC236}">
                <a16:creationId xmlns:a16="http://schemas.microsoft.com/office/drawing/2014/main" id="{3D488383-8025-0C9E-5ABC-152C94E134B1}"/>
              </a:ext>
            </a:extLst>
          </p:cNvPr>
          <p:cNvSpPr/>
          <p:nvPr/>
        </p:nvSpPr>
        <p:spPr>
          <a:xfrm>
            <a:off x="10095958" y="1412875"/>
            <a:ext cx="1257842" cy="2016125"/>
          </a:xfrm>
          <a:prstGeom prst="rect">
            <a:avLst/>
          </a:prstGeom>
          <a:noFill/>
          <a:ln w="38100" cap="flat">
            <a:solidFill>
              <a:srgbClr val="FF0000"/>
            </a:solidFill>
            <a:prstDash val="solid"/>
            <a:miter/>
          </a:ln>
        </p:spPr>
        <p:txBody>
          <a:bodyPr lIns="72000" tIns="72000" rIns="72000" bIns="72000" rtlCol="0" anchor="ctr"/>
          <a:lstStyle/>
          <a:p>
            <a:pPr algn="l"/>
            <a:endParaRPr lang="en-GB" sz="1600" spc="-30">
              <a:solidFill>
                <a:schemeClr val="bg1"/>
              </a:solidFill>
            </a:endParaRPr>
          </a:p>
        </p:txBody>
      </p:sp>
      <p:sp>
        <p:nvSpPr>
          <p:cNvPr id="13" name="Rectangle 12">
            <a:extLst>
              <a:ext uri="{FF2B5EF4-FFF2-40B4-BE49-F238E27FC236}">
                <a16:creationId xmlns:a16="http://schemas.microsoft.com/office/drawing/2014/main" id="{14141685-774F-80D2-CCD8-C2702F77F757}"/>
              </a:ext>
            </a:extLst>
          </p:cNvPr>
          <p:cNvSpPr/>
          <p:nvPr/>
        </p:nvSpPr>
        <p:spPr>
          <a:xfrm>
            <a:off x="8745623" y="2179674"/>
            <a:ext cx="1242236" cy="489098"/>
          </a:xfrm>
          <a:prstGeom prst="rect">
            <a:avLst/>
          </a:prstGeom>
          <a:solidFill>
            <a:srgbClr val="FFFFFF">
              <a:alpha val="74902"/>
            </a:srgbClr>
          </a:solidFill>
          <a:ln w="9525" cap="flat">
            <a:noFill/>
            <a:prstDash val="solid"/>
            <a:miter/>
          </a:ln>
        </p:spPr>
        <p:txBody>
          <a:bodyPr lIns="72000" tIns="72000" rIns="72000" bIns="72000" rtlCol="0" anchor="ctr"/>
          <a:lstStyle/>
          <a:p>
            <a:pPr algn="l"/>
            <a:r>
              <a:rPr lang="fr-FR" sz="1600" spc="-30" dirty="0">
                <a:solidFill>
                  <a:srgbClr val="2067CA"/>
                </a:solidFill>
                <a:latin typeface="Work Sans Medium" pitchFamily="2" charset="0"/>
              </a:rPr>
              <a:t>Emulsion 1</a:t>
            </a:r>
            <a:endParaRPr lang="en-GB" sz="1600" spc="-30" dirty="0">
              <a:solidFill>
                <a:srgbClr val="2067CA"/>
              </a:solidFill>
              <a:latin typeface="Work Sans Medium" pitchFamily="2" charset="0"/>
            </a:endParaRPr>
          </a:p>
        </p:txBody>
      </p:sp>
      <p:sp>
        <p:nvSpPr>
          <p:cNvPr id="15" name="Rectangle 14">
            <a:extLst>
              <a:ext uri="{FF2B5EF4-FFF2-40B4-BE49-F238E27FC236}">
                <a16:creationId xmlns:a16="http://schemas.microsoft.com/office/drawing/2014/main" id="{638E319C-B079-4A8A-5858-EEB00AEF0AD3}"/>
              </a:ext>
            </a:extLst>
          </p:cNvPr>
          <p:cNvSpPr/>
          <p:nvPr/>
        </p:nvSpPr>
        <p:spPr>
          <a:xfrm>
            <a:off x="8745623" y="4680603"/>
            <a:ext cx="1242236" cy="489098"/>
          </a:xfrm>
          <a:prstGeom prst="rect">
            <a:avLst/>
          </a:prstGeom>
          <a:solidFill>
            <a:srgbClr val="FFFFFF">
              <a:alpha val="74902"/>
            </a:srgbClr>
          </a:solidFill>
          <a:ln w="9525" cap="flat">
            <a:noFill/>
            <a:prstDash val="solid"/>
            <a:miter/>
          </a:ln>
        </p:spPr>
        <p:txBody>
          <a:bodyPr lIns="72000" tIns="72000" rIns="72000" bIns="72000" rtlCol="0" anchor="ctr"/>
          <a:lstStyle/>
          <a:p>
            <a:pPr algn="l"/>
            <a:r>
              <a:rPr lang="fr-FR" sz="1600" spc="-30" dirty="0">
                <a:solidFill>
                  <a:srgbClr val="2067CA"/>
                </a:solidFill>
                <a:latin typeface="Work Sans Medium" pitchFamily="2" charset="0"/>
              </a:rPr>
              <a:t>Emulsion 2</a:t>
            </a:r>
            <a:endParaRPr lang="en-GB" sz="1600" spc="-30" dirty="0">
              <a:solidFill>
                <a:srgbClr val="2067CA"/>
              </a:solidFill>
              <a:latin typeface="Work Sans Medium" pitchFamily="2" charset="0"/>
            </a:endParaRPr>
          </a:p>
        </p:txBody>
      </p:sp>
      <p:sp>
        <p:nvSpPr>
          <p:cNvPr id="16" name="Footer Placeholder 3">
            <a:extLst>
              <a:ext uri="{FF2B5EF4-FFF2-40B4-BE49-F238E27FC236}">
                <a16:creationId xmlns:a16="http://schemas.microsoft.com/office/drawing/2014/main" id="{59CBA874-3B4D-1EE4-1029-0CDFE402FBD9}"/>
              </a:ext>
            </a:extLst>
          </p:cNvPr>
          <p:cNvSpPr txBox="1">
            <a:spLocks/>
          </p:cNvSpPr>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000"/>
              <a:t>The Co-Development Company</a:t>
            </a:r>
            <a:endParaRPr lang="en-US" sz="1000">
              <a:solidFill>
                <a:srgbClr val="2067CA"/>
              </a:solidFill>
              <a:latin typeface="Work Sans Light"/>
            </a:endParaRPr>
          </a:p>
        </p:txBody>
      </p:sp>
      <p:sp>
        <p:nvSpPr>
          <p:cNvPr id="8" name="Rectangle 7">
            <a:extLst>
              <a:ext uri="{FF2B5EF4-FFF2-40B4-BE49-F238E27FC236}">
                <a16:creationId xmlns:a16="http://schemas.microsoft.com/office/drawing/2014/main" id="{80C699CF-7938-CBAD-E577-3EF41FD93C2E}"/>
              </a:ext>
            </a:extLst>
          </p:cNvPr>
          <p:cNvSpPr/>
          <p:nvPr/>
        </p:nvSpPr>
        <p:spPr>
          <a:xfrm>
            <a:off x="10059172" y="3884612"/>
            <a:ext cx="1257842" cy="2016125"/>
          </a:xfrm>
          <a:prstGeom prst="rect">
            <a:avLst/>
          </a:prstGeom>
          <a:noFill/>
          <a:ln w="38100" cap="flat">
            <a:solidFill>
              <a:srgbClr val="FF0000"/>
            </a:solidFill>
            <a:prstDash val="solid"/>
            <a:miter/>
          </a:ln>
        </p:spPr>
        <p:txBody>
          <a:bodyPr lIns="72000" tIns="72000" rIns="72000" bIns="72000" rtlCol="0" anchor="ctr"/>
          <a:lstStyle/>
          <a:p>
            <a:pPr algn="l"/>
            <a:endParaRPr lang="en-GB" sz="1600" spc="-30">
              <a:solidFill>
                <a:schemeClr val="bg1"/>
              </a:solidFill>
            </a:endParaRPr>
          </a:p>
        </p:txBody>
      </p:sp>
      <p:sp>
        <p:nvSpPr>
          <p:cNvPr id="2" name="Title 1">
            <a:extLst>
              <a:ext uri="{FF2B5EF4-FFF2-40B4-BE49-F238E27FC236}">
                <a16:creationId xmlns:a16="http://schemas.microsoft.com/office/drawing/2014/main" id="{F56B5CFA-073A-D245-482C-B80D9C760174}"/>
              </a:ext>
            </a:extLst>
          </p:cNvPr>
          <p:cNvSpPr txBox="1">
            <a:spLocks/>
          </p:cNvSpPr>
          <p:nvPr/>
        </p:nvSpPr>
        <p:spPr>
          <a:xfrm>
            <a:off x="713576" y="427897"/>
            <a:ext cx="10864474" cy="77559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800" kern="1200" spc="-30" baseline="0">
                <a:solidFill>
                  <a:srgbClr val="00264E"/>
                </a:solidFill>
                <a:latin typeface="Work Sans Medium" pitchFamily="2" charset="0"/>
                <a:ea typeface="+mj-ea"/>
                <a:cs typeface="+mj-cs"/>
              </a:defRPr>
            </a:lvl1pPr>
          </a:lstStyle>
          <a:p>
            <a:r>
              <a:rPr lang="en-US" dirty="0"/>
              <a:t>Solution 2: combining ingredients to fight soapiness</a:t>
            </a:r>
            <a:endParaRPr lang="sv-SE" dirty="0"/>
          </a:p>
        </p:txBody>
      </p:sp>
      <p:pic>
        <p:nvPicPr>
          <p:cNvPr id="12" name="Picture 11">
            <a:extLst>
              <a:ext uri="{FF2B5EF4-FFF2-40B4-BE49-F238E27FC236}">
                <a16:creationId xmlns:a16="http://schemas.microsoft.com/office/drawing/2014/main" id="{F080E7A1-D2B8-7F73-2B0C-D82CAA80D049}"/>
              </a:ext>
            </a:extLst>
          </p:cNvPr>
          <p:cNvPicPr>
            <a:picLocks noChangeAspect="1"/>
          </p:cNvPicPr>
          <p:nvPr/>
        </p:nvPicPr>
        <p:blipFill>
          <a:blip r:embed="rId3"/>
          <a:stretch>
            <a:fillRect/>
          </a:stretch>
        </p:blipFill>
        <p:spPr>
          <a:xfrm>
            <a:off x="713576" y="1365811"/>
            <a:ext cx="7009140" cy="4139840"/>
          </a:xfrm>
          <a:prstGeom prst="rect">
            <a:avLst/>
          </a:prstGeom>
        </p:spPr>
      </p:pic>
    </p:spTree>
    <p:extLst>
      <p:ext uri="{BB962C8B-B14F-4D97-AF65-F5344CB8AC3E}">
        <p14:creationId xmlns:p14="http://schemas.microsoft.com/office/powerpoint/2010/main" val="28787354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11C823F-13CA-A000-1192-DA76868755AC}"/>
              </a:ext>
            </a:extLst>
          </p:cNvPr>
          <p:cNvSpPr>
            <a:spLocks noGrp="1"/>
          </p:cNvSpPr>
          <p:nvPr>
            <p:ph type="title"/>
          </p:nvPr>
        </p:nvSpPr>
        <p:spPr/>
        <p:txBody>
          <a:bodyPr/>
          <a:lstStyle/>
          <a:p>
            <a:r>
              <a:rPr lang="en-US" dirty="0"/>
              <a:t>LIPEX® SheaLuxe TR in skin care</a:t>
            </a:r>
            <a:br>
              <a:rPr lang="en-US" dirty="0"/>
            </a:br>
            <a:r>
              <a:rPr lang="fr-FR" sz="2000" dirty="0" err="1">
                <a:solidFill>
                  <a:srgbClr val="00264E"/>
                </a:solidFill>
              </a:rPr>
              <a:t>Get</a:t>
            </a:r>
            <a:r>
              <a:rPr lang="fr-FR" sz="2000" dirty="0">
                <a:solidFill>
                  <a:srgbClr val="00264E"/>
                </a:solidFill>
              </a:rPr>
              <a:t> </a:t>
            </a:r>
            <a:r>
              <a:rPr lang="fr-FR" sz="2000" dirty="0" err="1">
                <a:solidFill>
                  <a:srgbClr val="00264E"/>
                </a:solidFill>
              </a:rPr>
              <a:t>inspired</a:t>
            </a:r>
            <a:r>
              <a:rPr lang="fr-FR" sz="2000" dirty="0">
                <a:solidFill>
                  <a:srgbClr val="00264E"/>
                </a:solidFill>
              </a:rPr>
              <a:t> </a:t>
            </a:r>
            <a:r>
              <a:rPr lang="fr-FR" sz="2000" dirty="0" err="1">
                <a:solidFill>
                  <a:srgbClr val="00264E"/>
                </a:solidFill>
              </a:rPr>
              <a:t>with</a:t>
            </a:r>
            <a:r>
              <a:rPr lang="fr-FR" sz="2000" dirty="0">
                <a:solidFill>
                  <a:srgbClr val="00264E"/>
                </a:solidFill>
              </a:rPr>
              <a:t> </a:t>
            </a:r>
            <a:r>
              <a:rPr lang="fr-FR" sz="2000" dirty="0" err="1">
                <a:solidFill>
                  <a:srgbClr val="00264E"/>
                </a:solidFill>
              </a:rPr>
              <a:t>our</a:t>
            </a:r>
            <a:r>
              <a:rPr lang="fr-FR" sz="2000" dirty="0">
                <a:solidFill>
                  <a:srgbClr val="00264E"/>
                </a:solidFill>
              </a:rPr>
              <a:t> formulations</a:t>
            </a:r>
            <a:endParaRPr lang="sv-SE" sz="2000" dirty="0"/>
          </a:p>
        </p:txBody>
      </p:sp>
      <p:pic>
        <p:nvPicPr>
          <p:cNvPr id="22" name="Picture Placeholder 21" descr="A close-up of a person applying cream on her face&#10;&#10;AI-generated content may be incorrect.">
            <a:extLst>
              <a:ext uri="{FF2B5EF4-FFF2-40B4-BE49-F238E27FC236}">
                <a16:creationId xmlns:a16="http://schemas.microsoft.com/office/drawing/2014/main" id="{CB128201-026A-DDF9-D590-E5E8EED88B06}"/>
              </a:ext>
            </a:extLst>
          </p:cNvPr>
          <p:cNvPicPr>
            <a:picLocks noGrp="1" noChangeAspect="1"/>
          </p:cNvPicPr>
          <p:nvPr>
            <p:ph type="pic" sz="quarter" idx="15"/>
          </p:nvPr>
        </p:nvPicPr>
        <p:blipFill>
          <a:blip r:embed="rId2"/>
          <a:srcRect l="5538" r="5538"/>
          <a:stretch>
            <a:fillRect/>
          </a:stretch>
        </p:blipFill>
        <p:spPr/>
      </p:pic>
      <p:sp>
        <p:nvSpPr>
          <p:cNvPr id="4" name="Date Placeholder 3">
            <a:extLst>
              <a:ext uri="{FF2B5EF4-FFF2-40B4-BE49-F238E27FC236}">
                <a16:creationId xmlns:a16="http://schemas.microsoft.com/office/drawing/2014/main" id="{AF644E4B-9582-A2D5-5E54-18128800427B}"/>
              </a:ext>
            </a:extLst>
          </p:cNvPr>
          <p:cNvSpPr>
            <a:spLocks noGrp="1"/>
          </p:cNvSpPr>
          <p:nvPr>
            <p:ph type="dt" sz="half" idx="2"/>
          </p:nvPr>
        </p:nvSpPr>
        <p:spPr/>
        <p:txBody>
          <a:bodyPr/>
          <a:lstStyle/>
          <a:p>
            <a:fld id="{9970229E-A45A-492C-982E-72C50AA831CB}" type="datetime1">
              <a:rPr lang="en-GB" sz="1000" smtClean="0"/>
              <a:t>18/06/2025</a:t>
            </a:fld>
            <a:endParaRPr lang="en-GB" sz="1000" dirty="0"/>
          </a:p>
        </p:txBody>
      </p:sp>
      <p:sp>
        <p:nvSpPr>
          <p:cNvPr id="5" name="Slide Number Placeholder 4">
            <a:extLst>
              <a:ext uri="{FF2B5EF4-FFF2-40B4-BE49-F238E27FC236}">
                <a16:creationId xmlns:a16="http://schemas.microsoft.com/office/drawing/2014/main" id="{D0EF64D8-3480-0216-D25D-C00AB99F2832}"/>
              </a:ext>
            </a:extLst>
          </p:cNvPr>
          <p:cNvSpPr>
            <a:spLocks noGrp="1"/>
          </p:cNvSpPr>
          <p:nvPr>
            <p:ph type="sldNum" sz="quarter" idx="4"/>
          </p:nvPr>
        </p:nvSpPr>
        <p:spPr/>
        <p:txBody>
          <a:bodyPr/>
          <a:lstStyle/>
          <a:p>
            <a:pPr algn="r"/>
            <a:fld id="{EDF3706E-DB9C-4B59-A485-1194C2A6AD28}" type="slidenum">
              <a:rPr lang="en-GB" sz="1000" smtClean="0"/>
              <a:pPr algn="r"/>
              <a:t>29</a:t>
            </a:fld>
            <a:endParaRPr lang="en-GB" sz="1000"/>
          </a:p>
        </p:txBody>
      </p:sp>
      <p:sp>
        <p:nvSpPr>
          <p:cNvPr id="2" name="TextBox 1">
            <a:extLst>
              <a:ext uri="{FF2B5EF4-FFF2-40B4-BE49-F238E27FC236}">
                <a16:creationId xmlns:a16="http://schemas.microsoft.com/office/drawing/2014/main" id="{58DBDEE1-4394-2741-D8A4-9C174A3EE118}"/>
              </a:ext>
            </a:extLst>
          </p:cNvPr>
          <p:cNvSpPr txBox="1"/>
          <p:nvPr/>
        </p:nvSpPr>
        <p:spPr>
          <a:xfrm>
            <a:off x="6932045" y="6498045"/>
            <a:ext cx="2085975" cy="153888"/>
          </a:xfrm>
          <a:prstGeom prst="rect">
            <a:avLst/>
          </a:prstGeom>
          <a:noFill/>
          <a:ln>
            <a:noFill/>
          </a:ln>
        </p:spPr>
        <p:txBody>
          <a:bodyPr wrap="square" lIns="0" tIns="0" rIns="0" bIns="0" rtlCol="0">
            <a:spAutoFit/>
          </a:bodyPr>
          <a:lstStyle/>
          <a:p>
            <a:pPr algn="l">
              <a:buClr>
                <a:schemeClr val="tx2"/>
              </a:buClr>
            </a:pPr>
            <a:r>
              <a:rPr lang="fr-FR" sz="1000" i="1" spc="-30" dirty="0">
                <a:solidFill>
                  <a:srgbClr val="00264E"/>
                </a:solidFill>
              </a:rPr>
              <a:t>*</a:t>
            </a:r>
            <a:r>
              <a:rPr lang="fr-FR" sz="1000" i="1" spc="-30" dirty="0" err="1">
                <a:solidFill>
                  <a:srgbClr val="00264E"/>
                </a:solidFill>
              </a:rPr>
              <a:t>according</a:t>
            </a:r>
            <a:r>
              <a:rPr lang="fr-FR" sz="1000" i="1" spc="-30" dirty="0">
                <a:solidFill>
                  <a:srgbClr val="00264E"/>
                </a:solidFill>
              </a:rPr>
              <a:t> to ISO 16128</a:t>
            </a:r>
            <a:endParaRPr lang="en-GB" sz="1000" i="1" spc="-30" dirty="0">
              <a:solidFill>
                <a:srgbClr val="00264E"/>
              </a:solidFill>
            </a:endParaRPr>
          </a:p>
        </p:txBody>
      </p:sp>
      <p:pic>
        <p:nvPicPr>
          <p:cNvPr id="8" name="Picture 7" descr="A close up of a whipped cream&#10;&#10;AI-generated content may be incorrect.">
            <a:extLst>
              <a:ext uri="{FF2B5EF4-FFF2-40B4-BE49-F238E27FC236}">
                <a16:creationId xmlns:a16="http://schemas.microsoft.com/office/drawing/2014/main" id="{C9E0F9D1-F039-4B88-5B56-6BF3D66DC33F}"/>
              </a:ext>
            </a:extLst>
          </p:cNvPr>
          <p:cNvPicPr>
            <a:picLocks noChangeAspect="1"/>
          </p:cNvPicPr>
          <p:nvPr/>
        </p:nvPicPr>
        <p:blipFill>
          <a:blip r:embed="rId3"/>
          <a:stretch>
            <a:fillRect/>
          </a:stretch>
        </p:blipFill>
        <p:spPr>
          <a:xfrm>
            <a:off x="800996" y="5207835"/>
            <a:ext cx="873529" cy="792000"/>
          </a:xfrm>
          <a:prstGeom prst="rect">
            <a:avLst/>
          </a:prstGeom>
        </p:spPr>
      </p:pic>
      <p:pic>
        <p:nvPicPr>
          <p:cNvPr id="10" name="Picture 9" descr="A drop of white liquid dripping from a dropper into a small bottle&#10;&#10;AI-generated content may be incorrect.">
            <a:extLst>
              <a:ext uri="{FF2B5EF4-FFF2-40B4-BE49-F238E27FC236}">
                <a16:creationId xmlns:a16="http://schemas.microsoft.com/office/drawing/2014/main" id="{BDD9A0D0-FF28-A441-3961-B4B7CD4CDFEC}"/>
              </a:ext>
            </a:extLst>
          </p:cNvPr>
          <p:cNvPicPr>
            <a:picLocks noChangeAspect="1"/>
          </p:cNvPicPr>
          <p:nvPr/>
        </p:nvPicPr>
        <p:blipFill>
          <a:blip r:embed="rId4"/>
          <a:stretch>
            <a:fillRect/>
          </a:stretch>
        </p:blipFill>
        <p:spPr>
          <a:xfrm>
            <a:off x="763021" y="3217552"/>
            <a:ext cx="900000" cy="900000"/>
          </a:xfrm>
          <a:prstGeom prst="ellipse">
            <a:avLst/>
          </a:prstGeom>
          <a:ln>
            <a:noFill/>
          </a:ln>
          <a:effectLst/>
        </p:spPr>
      </p:pic>
      <p:pic>
        <p:nvPicPr>
          <p:cNvPr id="12" name="Picture 11" descr="A drop of water falling from a drop of liquid&#10;&#10;AI-generated content may be incorrect.">
            <a:extLst>
              <a:ext uri="{FF2B5EF4-FFF2-40B4-BE49-F238E27FC236}">
                <a16:creationId xmlns:a16="http://schemas.microsoft.com/office/drawing/2014/main" id="{A32F04E2-1F5B-A72B-848F-B19D02917711}"/>
              </a:ext>
            </a:extLst>
          </p:cNvPr>
          <p:cNvPicPr>
            <a:picLocks noChangeAspect="1"/>
          </p:cNvPicPr>
          <p:nvPr/>
        </p:nvPicPr>
        <p:blipFill>
          <a:blip r:embed="rId5"/>
          <a:srcRect t="14323" b="7227"/>
          <a:stretch/>
        </p:blipFill>
        <p:spPr>
          <a:xfrm>
            <a:off x="763021" y="1151494"/>
            <a:ext cx="899999" cy="900000"/>
          </a:xfrm>
          <a:prstGeom prst="ellipse">
            <a:avLst/>
          </a:prstGeom>
          <a:ln>
            <a:noFill/>
          </a:ln>
          <a:effectLst/>
        </p:spPr>
      </p:pic>
      <p:pic>
        <p:nvPicPr>
          <p:cNvPr id="14" name="Picture 13" descr="A close-up of a white tube&#10;&#10;AI-generated content may be incorrect.">
            <a:extLst>
              <a:ext uri="{FF2B5EF4-FFF2-40B4-BE49-F238E27FC236}">
                <a16:creationId xmlns:a16="http://schemas.microsoft.com/office/drawing/2014/main" id="{5ECE09BC-8D82-62AE-80B0-3322BB39BD1B}"/>
              </a:ext>
            </a:extLst>
          </p:cNvPr>
          <p:cNvPicPr>
            <a:picLocks noChangeAspect="1"/>
          </p:cNvPicPr>
          <p:nvPr/>
        </p:nvPicPr>
        <p:blipFill>
          <a:blip r:embed="rId6"/>
          <a:srcRect t="25707" b="3287"/>
          <a:stretch/>
        </p:blipFill>
        <p:spPr>
          <a:xfrm>
            <a:off x="763021" y="2184523"/>
            <a:ext cx="900000" cy="900000"/>
          </a:xfrm>
          <a:prstGeom prst="ellipse">
            <a:avLst/>
          </a:prstGeom>
          <a:ln>
            <a:noFill/>
          </a:ln>
          <a:effectLst/>
        </p:spPr>
      </p:pic>
      <p:sp>
        <p:nvSpPr>
          <p:cNvPr id="15" name="TextBox 14">
            <a:extLst>
              <a:ext uri="{FF2B5EF4-FFF2-40B4-BE49-F238E27FC236}">
                <a16:creationId xmlns:a16="http://schemas.microsoft.com/office/drawing/2014/main" id="{26E08A47-583C-1AFA-091F-64D45260003B}"/>
              </a:ext>
            </a:extLst>
          </p:cNvPr>
          <p:cNvSpPr txBox="1"/>
          <p:nvPr/>
        </p:nvSpPr>
        <p:spPr>
          <a:xfrm>
            <a:off x="1867808" y="1139417"/>
            <a:ext cx="6602424" cy="938719"/>
          </a:xfrm>
          <a:prstGeom prst="rect">
            <a:avLst/>
          </a:prstGeom>
          <a:noFill/>
          <a:ln>
            <a:noFill/>
          </a:ln>
        </p:spPr>
        <p:txBody>
          <a:bodyPr wrap="square" lIns="0">
            <a:spAutoFit/>
          </a:bodyPr>
          <a:lstStyle/>
          <a:p>
            <a:r>
              <a:rPr lang="en-GB" sz="1100" dirty="0">
                <a:hlinkClick r:id="rId7"/>
              </a:rPr>
              <a:t>Natural-E Nourishing Oil Serum</a:t>
            </a:r>
            <a:r>
              <a:rPr lang="en-GB" sz="1100" dirty="0"/>
              <a:t> </a:t>
            </a:r>
            <a:r>
              <a:rPr lang="fr-FR" sz="1100" dirty="0" err="1">
                <a:solidFill>
                  <a:srgbClr val="1F67CA"/>
                </a:solidFill>
              </a:rPr>
              <a:t>ref</a:t>
            </a:r>
            <a:r>
              <a:rPr lang="fr-FR" sz="1100" dirty="0">
                <a:solidFill>
                  <a:srgbClr val="1F67CA"/>
                </a:solidFill>
              </a:rPr>
              <a:t>: </a:t>
            </a:r>
            <a:r>
              <a:rPr lang="sv-SE" sz="1100" dirty="0">
                <a:solidFill>
                  <a:srgbClr val="1F67CA"/>
                </a:solidFill>
              </a:rPr>
              <a:t>AAK-22-022</a:t>
            </a:r>
          </a:p>
          <a:p>
            <a:r>
              <a:rPr lang="en-GB" sz="1100" b="0" i="0" dirty="0">
                <a:solidFill>
                  <a:srgbClr val="00264E"/>
                </a:solidFill>
                <a:effectLst/>
              </a:rPr>
              <a:t>Based on shea, canola, and gold of pleasure extracts, this fast-absorbing, silky-light serum harnesses the power of plant-based tocopherols, a natural source of Vitamin E, and omega fatty acids to protect, replenish, and nourish. Vegan-friendly, biodegradable, and simply delightful. </a:t>
            </a:r>
            <a:r>
              <a:rPr lang="en-GB" sz="1100" dirty="0">
                <a:solidFill>
                  <a:srgbClr val="00264E"/>
                </a:solidFill>
              </a:rPr>
              <a:t>Natural Origin Index : 100%*</a:t>
            </a:r>
            <a:endParaRPr lang="en-US" sz="1100" dirty="0"/>
          </a:p>
        </p:txBody>
      </p:sp>
      <p:sp>
        <p:nvSpPr>
          <p:cNvPr id="18" name="TextBox 17">
            <a:extLst>
              <a:ext uri="{FF2B5EF4-FFF2-40B4-BE49-F238E27FC236}">
                <a16:creationId xmlns:a16="http://schemas.microsoft.com/office/drawing/2014/main" id="{C80E9142-CE03-6441-E4D5-3E12CF53E528}"/>
              </a:ext>
            </a:extLst>
          </p:cNvPr>
          <p:cNvSpPr txBox="1"/>
          <p:nvPr/>
        </p:nvSpPr>
        <p:spPr>
          <a:xfrm>
            <a:off x="1867807" y="3217553"/>
            <a:ext cx="6398607" cy="938719"/>
          </a:xfrm>
          <a:prstGeom prst="rect">
            <a:avLst/>
          </a:prstGeom>
          <a:noFill/>
          <a:ln>
            <a:noFill/>
          </a:ln>
        </p:spPr>
        <p:txBody>
          <a:bodyPr wrap="square" lIns="0">
            <a:spAutoFit/>
          </a:bodyPr>
          <a:lstStyle/>
          <a:p>
            <a:r>
              <a:rPr lang="en-GB" sz="1100" dirty="0">
                <a:hlinkClick r:id="rId8"/>
              </a:rPr>
              <a:t>Skin Therapy Face Serum</a:t>
            </a:r>
            <a:r>
              <a:rPr lang="en-GB" sz="1100" dirty="0"/>
              <a:t> </a:t>
            </a:r>
            <a:r>
              <a:rPr lang="fr-FR" sz="1100" dirty="0" err="1">
                <a:solidFill>
                  <a:srgbClr val="1F67CA"/>
                </a:solidFill>
              </a:rPr>
              <a:t>ref</a:t>
            </a:r>
            <a:r>
              <a:rPr lang="fr-FR" sz="1100" dirty="0">
                <a:solidFill>
                  <a:srgbClr val="1F67CA"/>
                </a:solidFill>
              </a:rPr>
              <a:t>: </a:t>
            </a:r>
            <a:r>
              <a:rPr lang="sv-SE" sz="1100" dirty="0">
                <a:solidFill>
                  <a:srgbClr val="1F67CA"/>
                </a:solidFill>
              </a:rPr>
              <a:t>AAK-23-015</a:t>
            </a:r>
          </a:p>
          <a:p>
            <a:r>
              <a:rPr lang="en-GB" sz="1100" b="0" i="0" dirty="0">
                <a:solidFill>
                  <a:srgbClr val="00264E"/>
                </a:solidFill>
                <a:effectLst/>
              </a:rPr>
              <a:t>This oil-in-water formulation is one pot cold-processed at room temperature, using a climate-neutral, shea-based ester to deliver the light, silicone-like skin feel. Natural sources of tocopherols, phytosterols, and omega fatty acids protect and strengthen the skin barrier. </a:t>
            </a:r>
            <a:r>
              <a:rPr lang="en-GB" sz="1100" dirty="0">
                <a:solidFill>
                  <a:srgbClr val="00264E"/>
                </a:solidFill>
              </a:rPr>
              <a:t>Natural Origin Index : 99%*</a:t>
            </a:r>
            <a:endParaRPr lang="en-US" sz="1100" dirty="0"/>
          </a:p>
        </p:txBody>
      </p:sp>
      <p:sp>
        <p:nvSpPr>
          <p:cNvPr id="19" name="TextBox 18">
            <a:extLst>
              <a:ext uri="{FF2B5EF4-FFF2-40B4-BE49-F238E27FC236}">
                <a16:creationId xmlns:a16="http://schemas.microsoft.com/office/drawing/2014/main" id="{CF91E35A-D0CD-7527-4B08-529428F11B45}"/>
              </a:ext>
            </a:extLst>
          </p:cNvPr>
          <p:cNvSpPr txBox="1"/>
          <p:nvPr/>
        </p:nvSpPr>
        <p:spPr>
          <a:xfrm>
            <a:off x="1889806" y="5207835"/>
            <a:ext cx="6398607" cy="938719"/>
          </a:xfrm>
          <a:prstGeom prst="rect">
            <a:avLst/>
          </a:prstGeom>
          <a:noFill/>
          <a:ln>
            <a:noFill/>
          </a:ln>
        </p:spPr>
        <p:txBody>
          <a:bodyPr wrap="square" lIns="0">
            <a:spAutoFit/>
          </a:bodyPr>
          <a:lstStyle/>
          <a:p>
            <a:r>
              <a:rPr lang="en-GB" sz="1100" dirty="0">
                <a:hlinkClick r:id="rId9"/>
              </a:rPr>
              <a:t>Meringue Surprise Body Whip</a:t>
            </a:r>
            <a:r>
              <a:rPr lang="en-GB" sz="1100" dirty="0"/>
              <a:t> </a:t>
            </a:r>
            <a:r>
              <a:rPr lang="fr-FR" sz="1100" dirty="0" err="1">
                <a:solidFill>
                  <a:srgbClr val="1F67CA"/>
                </a:solidFill>
              </a:rPr>
              <a:t>ref</a:t>
            </a:r>
            <a:r>
              <a:rPr lang="fr-FR" sz="1100" dirty="0">
                <a:solidFill>
                  <a:srgbClr val="1F67CA"/>
                </a:solidFill>
              </a:rPr>
              <a:t>: </a:t>
            </a:r>
            <a:r>
              <a:rPr lang="sv-SE" sz="1100" dirty="0">
                <a:solidFill>
                  <a:srgbClr val="1F67CA"/>
                </a:solidFill>
              </a:rPr>
              <a:t>AAK-24-002</a:t>
            </a:r>
          </a:p>
          <a:p>
            <a:r>
              <a:rPr lang="en-GB" sz="1100" b="0" i="0" dirty="0">
                <a:solidFill>
                  <a:srgbClr val="00264E"/>
                </a:solidFill>
                <a:effectLst/>
              </a:rPr>
              <a:t>This lustrous meringue-inspired body cream delivers an unexpected sensory twist. It appears rich and firm on first impression but melts to a deliciously airy light texture on application. It leaves no tacky residue, and the skin instantly looks and feels soothed, smooth, and evenly toned.</a:t>
            </a:r>
            <a:endParaRPr lang="en-US" sz="1100" dirty="0"/>
          </a:p>
        </p:txBody>
      </p:sp>
      <p:sp>
        <p:nvSpPr>
          <p:cNvPr id="20" name="TextBox 19">
            <a:extLst>
              <a:ext uri="{FF2B5EF4-FFF2-40B4-BE49-F238E27FC236}">
                <a16:creationId xmlns:a16="http://schemas.microsoft.com/office/drawing/2014/main" id="{06CA94B8-C301-5343-1D6C-6523187B448F}"/>
              </a:ext>
            </a:extLst>
          </p:cNvPr>
          <p:cNvSpPr txBox="1"/>
          <p:nvPr/>
        </p:nvSpPr>
        <p:spPr>
          <a:xfrm>
            <a:off x="1867808" y="2189673"/>
            <a:ext cx="6398607" cy="938719"/>
          </a:xfrm>
          <a:prstGeom prst="rect">
            <a:avLst/>
          </a:prstGeom>
          <a:noFill/>
          <a:ln>
            <a:noFill/>
          </a:ln>
        </p:spPr>
        <p:txBody>
          <a:bodyPr wrap="square" lIns="0">
            <a:spAutoFit/>
          </a:bodyPr>
          <a:lstStyle/>
          <a:p>
            <a:r>
              <a:rPr lang="en-GB" sz="1100" dirty="0">
                <a:hlinkClick r:id="rId10"/>
              </a:rPr>
              <a:t>Future Perfect Eye Gel Cream</a:t>
            </a:r>
            <a:r>
              <a:rPr lang="en-GB" sz="1100" dirty="0"/>
              <a:t> </a:t>
            </a:r>
            <a:r>
              <a:rPr lang="fr-FR" sz="1100" dirty="0" err="1">
                <a:solidFill>
                  <a:srgbClr val="1F67CA"/>
                </a:solidFill>
              </a:rPr>
              <a:t>ref</a:t>
            </a:r>
            <a:r>
              <a:rPr lang="fr-FR" sz="1100" dirty="0">
                <a:solidFill>
                  <a:srgbClr val="1F67CA"/>
                </a:solidFill>
              </a:rPr>
              <a:t>: </a:t>
            </a:r>
            <a:r>
              <a:rPr lang="sv-SE" sz="1100" dirty="0">
                <a:solidFill>
                  <a:srgbClr val="1F67CA"/>
                </a:solidFill>
              </a:rPr>
              <a:t>AAK-23-014</a:t>
            </a:r>
          </a:p>
          <a:p>
            <a:r>
              <a:rPr lang="en-GB" sz="1100" b="0" i="0" dirty="0">
                <a:solidFill>
                  <a:srgbClr val="00264E"/>
                </a:solidFill>
                <a:effectLst/>
              </a:rPr>
              <a:t>This gel cream is a water-in-oil formulation with an amazingly light skin feel. It uses traceable, climate-compensated shea ingredients to nourish, replenish, and protect dry, dehydrated skin. Enhanced with a concentrate of phytosterol esters derived from eco-friendly canola. </a:t>
            </a:r>
          </a:p>
          <a:p>
            <a:r>
              <a:rPr lang="en-GB" sz="1100" dirty="0">
                <a:solidFill>
                  <a:srgbClr val="00264E"/>
                </a:solidFill>
              </a:rPr>
              <a:t>Natural Origin Index : 99%*</a:t>
            </a:r>
            <a:endParaRPr lang="en-US" sz="1100" dirty="0"/>
          </a:p>
        </p:txBody>
      </p:sp>
      <p:sp>
        <p:nvSpPr>
          <p:cNvPr id="3" name="TextBox 2">
            <a:extLst>
              <a:ext uri="{FF2B5EF4-FFF2-40B4-BE49-F238E27FC236}">
                <a16:creationId xmlns:a16="http://schemas.microsoft.com/office/drawing/2014/main" id="{2440DC56-55CD-9841-40AC-AEE54A9C5455}"/>
              </a:ext>
            </a:extLst>
          </p:cNvPr>
          <p:cNvSpPr txBox="1"/>
          <p:nvPr/>
        </p:nvSpPr>
        <p:spPr>
          <a:xfrm>
            <a:off x="1889806" y="4273669"/>
            <a:ext cx="6398607" cy="769441"/>
          </a:xfrm>
          <a:prstGeom prst="rect">
            <a:avLst/>
          </a:prstGeom>
          <a:noFill/>
          <a:ln>
            <a:noFill/>
          </a:ln>
        </p:spPr>
        <p:txBody>
          <a:bodyPr wrap="square" lIns="0">
            <a:spAutoFit/>
          </a:bodyPr>
          <a:lstStyle/>
          <a:p>
            <a:r>
              <a:rPr lang="en-GB" sz="1100" dirty="0">
                <a:hlinkClick r:id="rId11"/>
              </a:rPr>
              <a:t>Matte Velvet Makeup Primer</a:t>
            </a:r>
            <a:r>
              <a:rPr lang="en-GB" sz="1100" dirty="0"/>
              <a:t> </a:t>
            </a:r>
            <a:r>
              <a:rPr lang="fr-FR" sz="1100" dirty="0" err="1">
                <a:solidFill>
                  <a:srgbClr val="1F67CA"/>
                </a:solidFill>
              </a:rPr>
              <a:t>ref</a:t>
            </a:r>
            <a:r>
              <a:rPr lang="fr-FR" sz="1100" dirty="0">
                <a:solidFill>
                  <a:srgbClr val="1F67CA"/>
                </a:solidFill>
              </a:rPr>
              <a:t>: </a:t>
            </a:r>
            <a:r>
              <a:rPr lang="en-GB" sz="1100" dirty="0">
                <a:solidFill>
                  <a:srgbClr val="1F67CA"/>
                </a:solidFill>
              </a:rPr>
              <a:t>AAK-22-016</a:t>
            </a:r>
          </a:p>
          <a:p>
            <a:r>
              <a:rPr lang="en-GB" sz="1100" dirty="0">
                <a:solidFill>
                  <a:srgbClr val="00264E"/>
                </a:solidFill>
                <a:latin typeface="Work Sans Light" pitchFamily="2" charset="0"/>
              </a:rPr>
              <a:t>T</a:t>
            </a:r>
            <a:r>
              <a:rPr lang="en-GB" sz="1100" b="0" i="0" dirty="0">
                <a:solidFill>
                  <a:srgbClr val="00264E"/>
                </a:solidFill>
                <a:effectLst/>
                <a:latin typeface="Work Sans Light" pitchFamily="2" charset="0"/>
              </a:rPr>
              <a:t>his silicone-free, ultra-light complexion-perfector reduces shine and minimizes the appearance of pores, creating a smooth, flawless, and long-lasting base for makeup. </a:t>
            </a:r>
            <a:r>
              <a:rPr lang="en-GB" sz="1100" dirty="0">
                <a:solidFill>
                  <a:srgbClr val="00264E"/>
                </a:solidFill>
              </a:rPr>
              <a:t>Natural Origin Index : 99%*</a:t>
            </a:r>
            <a:endParaRPr lang="en-US" sz="1100" dirty="0"/>
          </a:p>
        </p:txBody>
      </p:sp>
      <p:pic>
        <p:nvPicPr>
          <p:cNvPr id="11" name="Picture 10" descr="A white liquid in a small bottle&#10;&#10;AI-generated content may be incorrect.">
            <a:extLst>
              <a:ext uri="{FF2B5EF4-FFF2-40B4-BE49-F238E27FC236}">
                <a16:creationId xmlns:a16="http://schemas.microsoft.com/office/drawing/2014/main" id="{71D62F66-1252-4D92-6299-3FA9BC94FC82}"/>
              </a:ext>
            </a:extLst>
          </p:cNvPr>
          <p:cNvPicPr>
            <a:picLocks noChangeAspect="1"/>
          </p:cNvPicPr>
          <p:nvPr/>
        </p:nvPicPr>
        <p:blipFill>
          <a:blip r:embed="rId12"/>
          <a:srcRect t="1" b="24539"/>
          <a:stretch/>
        </p:blipFill>
        <p:spPr>
          <a:xfrm>
            <a:off x="790505" y="4240823"/>
            <a:ext cx="894513" cy="900000"/>
          </a:xfrm>
          <a:prstGeom prst="ellipse">
            <a:avLst/>
          </a:prstGeom>
          <a:ln>
            <a:noFill/>
          </a:ln>
          <a:effectLst/>
        </p:spPr>
      </p:pic>
      <p:pic>
        <p:nvPicPr>
          <p:cNvPr id="13" name="Picture 12" descr="A close up of a whipped cream&#10;&#10;AI-generated content may be incorrect.">
            <a:extLst>
              <a:ext uri="{FF2B5EF4-FFF2-40B4-BE49-F238E27FC236}">
                <a16:creationId xmlns:a16="http://schemas.microsoft.com/office/drawing/2014/main" id="{DD90ACB5-4FA0-5894-455E-7BBF429F3F3A}"/>
              </a:ext>
            </a:extLst>
          </p:cNvPr>
          <p:cNvPicPr>
            <a:picLocks noChangeAspect="1"/>
          </p:cNvPicPr>
          <p:nvPr/>
        </p:nvPicPr>
        <p:blipFill>
          <a:blip r:embed="rId3"/>
          <a:stretch>
            <a:fillRect/>
          </a:stretch>
        </p:blipFill>
        <p:spPr>
          <a:xfrm>
            <a:off x="795884" y="5207835"/>
            <a:ext cx="873529" cy="792000"/>
          </a:xfrm>
          <a:prstGeom prst="rect">
            <a:avLst/>
          </a:prstGeom>
        </p:spPr>
      </p:pic>
      <p:pic>
        <p:nvPicPr>
          <p:cNvPr id="16" name="Picture 15" descr="A drop of white liquid dripping from a dropper into a small bottle&#10;&#10;AI-generated content may be incorrect.">
            <a:extLst>
              <a:ext uri="{FF2B5EF4-FFF2-40B4-BE49-F238E27FC236}">
                <a16:creationId xmlns:a16="http://schemas.microsoft.com/office/drawing/2014/main" id="{3CE3A569-3A45-EF6B-DAF8-F563E004124D}"/>
              </a:ext>
            </a:extLst>
          </p:cNvPr>
          <p:cNvPicPr>
            <a:picLocks noChangeAspect="1"/>
          </p:cNvPicPr>
          <p:nvPr/>
        </p:nvPicPr>
        <p:blipFill>
          <a:blip r:embed="rId4"/>
          <a:stretch>
            <a:fillRect/>
          </a:stretch>
        </p:blipFill>
        <p:spPr>
          <a:xfrm>
            <a:off x="782648" y="3217552"/>
            <a:ext cx="900000" cy="900000"/>
          </a:xfrm>
          <a:prstGeom prst="ellipse">
            <a:avLst/>
          </a:prstGeom>
          <a:ln>
            <a:noFill/>
          </a:ln>
          <a:effectLst/>
        </p:spPr>
      </p:pic>
      <p:pic>
        <p:nvPicPr>
          <p:cNvPr id="17" name="Picture 16" descr="A drop of water falling from a drop of liquid&#10;&#10;AI-generated content may be incorrect.">
            <a:extLst>
              <a:ext uri="{FF2B5EF4-FFF2-40B4-BE49-F238E27FC236}">
                <a16:creationId xmlns:a16="http://schemas.microsoft.com/office/drawing/2014/main" id="{6398252C-383E-3EE4-4DAC-BFA5C2F10C16}"/>
              </a:ext>
            </a:extLst>
          </p:cNvPr>
          <p:cNvPicPr>
            <a:picLocks noChangeAspect="1"/>
          </p:cNvPicPr>
          <p:nvPr/>
        </p:nvPicPr>
        <p:blipFill>
          <a:blip r:embed="rId5"/>
          <a:srcRect t="14323" b="7227"/>
          <a:stretch/>
        </p:blipFill>
        <p:spPr>
          <a:xfrm>
            <a:off x="782649" y="1151494"/>
            <a:ext cx="899999" cy="900000"/>
          </a:xfrm>
          <a:prstGeom prst="ellipse">
            <a:avLst/>
          </a:prstGeom>
          <a:ln>
            <a:noFill/>
          </a:ln>
          <a:effectLst/>
        </p:spPr>
      </p:pic>
      <p:pic>
        <p:nvPicPr>
          <p:cNvPr id="21" name="Picture 20" descr="A close-up of a white tube&#10;&#10;AI-generated content may be incorrect.">
            <a:extLst>
              <a:ext uri="{FF2B5EF4-FFF2-40B4-BE49-F238E27FC236}">
                <a16:creationId xmlns:a16="http://schemas.microsoft.com/office/drawing/2014/main" id="{8DD3FE11-65C8-559D-CC9F-DC1F236F5692}"/>
              </a:ext>
            </a:extLst>
          </p:cNvPr>
          <p:cNvPicPr>
            <a:picLocks noChangeAspect="1"/>
          </p:cNvPicPr>
          <p:nvPr/>
        </p:nvPicPr>
        <p:blipFill>
          <a:blip r:embed="rId6"/>
          <a:srcRect t="25707" b="3287"/>
          <a:stretch/>
        </p:blipFill>
        <p:spPr>
          <a:xfrm>
            <a:off x="782648" y="2184523"/>
            <a:ext cx="900000" cy="900000"/>
          </a:xfrm>
          <a:prstGeom prst="ellipse">
            <a:avLst/>
          </a:prstGeom>
          <a:ln>
            <a:noFill/>
          </a:ln>
          <a:effectLst/>
        </p:spPr>
      </p:pic>
      <p:pic>
        <p:nvPicPr>
          <p:cNvPr id="23" name="Picture 22" descr="A white liquid in a small bottle&#10;&#10;AI-generated content may be incorrect.">
            <a:extLst>
              <a:ext uri="{FF2B5EF4-FFF2-40B4-BE49-F238E27FC236}">
                <a16:creationId xmlns:a16="http://schemas.microsoft.com/office/drawing/2014/main" id="{3B8F5D5B-B09A-3D7F-EB0B-67258317E92E}"/>
              </a:ext>
            </a:extLst>
          </p:cNvPr>
          <p:cNvPicPr>
            <a:picLocks noChangeAspect="1"/>
          </p:cNvPicPr>
          <p:nvPr/>
        </p:nvPicPr>
        <p:blipFill>
          <a:blip r:embed="rId12"/>
          <a:srcRect t="1" b="24539"/>
          <a:stretch/>
        </p:blipFill>
        <p:spPr>
          <a:xfrm>
            <a:off x="785392" y="4240823"/>
            <a:ext cx="894513" cy="900000"/>
          </a:xfrm>
          <a:prstGeom prst="ellipse">
            <a:avLst/>
          </a:prstGeom>
          <a:ln>
            <a:noFill/>
          </a:ln>
          <a:effectLst/>
        </p:spPr>
      </p:pic>
    </p:spTree>
    <p:extLst>
      <p:ext uri="{BB962C8B-B14F-4D97-AF65-F5344CB8AC3E}">
        <p14:creationId xmlns:p14="http://schemas.microsoft.com/office/powerpoint/2010/main" val="14801426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A2E4C3-3A6D-024F-1A32-5A20EC926C0C}"/>
            </a:ext>
          </a:extLst>
        </p:cNvPr>
        <p:cNvGrpSpPr/>
        <p:nvPr/>
      </p:nvGrpSpPr>
      <p:grpSpPr>
        <a:xfrm>
          <a:off x="0" y="0"/>
          <a:ext cx="0" cy="0"/>
          <a:chOff x="0" y="0"/>
          <a:chExt cx="0" cy="0"/>
        </a:xfrm>
      </p:grpSpPr>
      <p:pic>
        <p:nvPicPr>
          <p:cNvPr id="9" name="Picture Placeholder 8" descr="A person in a garment on a beach&#10;&#10;AI-generated content may be incorrect.">
            <a:extLst>
              <a:ext uri="{FF2B5EF4-FFF2-40B4-BE49-F238E27FC236}">
                <a16:creationId xmlns:a16="http://schemas.microsoft.com/office/drawing/2014/main" id="{A1781870-25C4-890A-4EB8-15ECF31006C1}"/>
              </a:ext>
            </a:extLst>
          </p:cNvPr>
          <p:cNvPicPr>
            <a:picLocks noGrp="1" noChangeAspect="1"/>
          </p:cNvPicPr>
          <p:nvPr>
            <p:ph type="pic" sz="quarter" idx="14"/>
          </p:nvPr>
        </p:nvPicPr>
        <p:blipFill>
          <a:blip r:embed="rId2"/>
          <a:srcRect l="12446" r="12444" b="-1"/>
          <a:stretch/>
        </p:blipFill>
        <p:spPr>
          <a:xfrm>
            <a:off x="5280184" y="10"/>
            <a:ext cx="7716837" cy="6857990"/>
          </a:xfrm>
          <a:noFill/>
        </p:spPr>
      </p:pic>
      <p:sp>
        <p:nvSpPr>
          <p:cNvPr id="6" name="Title 5">
            <a:extLst>
              <a:ext uri="{FF2B5EF4-FFF2-40B4-BE49-F238E27FC236}">
                <a16:creationId xmlns:a16="http://schemas.microsoft.com/office/drawing/2014/main" id="{248BD25D-D49F-3E99-70C7-DF883066EB64}"/>
              </a:ext>
            </a:extLst>
          </p:cNvPr>
          <p:cNvSpPr>
            <a:spLocks noGrp="1"/>
          </p:cNvSpPr>
          <p:nvPr>
            <p:ph type="title"/>
          </p:nvPr>
        </p:nvSpPr>
        <p:spPr>
          <a:xfrm>
            <a:off x="442914" y="216693"/>
            <a:ext cx="4929186" cy="5912645"/>
          </a:xfrm>
        </p:spPr>
        <p:txBody>
          <a:bodyPr anchor="ctr">
            <a:normAutofit/>
          </a:bodyPr>
          <a:lstStyle/>
          <a:p>
            <a:pPr lvl="0" fontAlgn="base"/>
            <a:r>
              <a:rPr lang="en-GB" sz="3200" b="1" dirty="0">
                <a:effectLst/>
              </a:rPr>
              <a:t>Discover how </a:t>
            </a:r>
            <a:br>
              <a:rPr lang="en-GB" sz="3200" b="1" dirty="0">
                <a:effectLst/>
              </a:rPr>
            </a:br>
            <a:r>
              <a:rPr lang="en-GB" sz="3200" b="1" dirty="0">
                <a:effectLst/>
              </a:rPr>
              <a:t>Lipex® </a:t>
            </a:r>
            <a:r>
              <a:rPr lang="en-GB" sz="3200" b="1" dirty="0" err="1">
                <a:effectLst/>
              </a:rPr>
              <a:t>SheaSolve</a:t>
            </a:r>
            <a:r>
              <a:rPr lang="en-GB" sz="3200" b="1" baseline="30000" dirty="0" err="1">
                <a:effectLst/>
              </a:rPr>
              <a:t>TM</a:t>
            </a:r>
            <a:r>
              <a:rPr lang="en-GB" sz="3200" b="1" baseline="30000" dirty="0">
                <a:effectLst/>
              </a:rPr>
              <a:t> </a:t>
            </a:r>
            <a:br>
              <a:rPr lang="en-GB" sz="3200" b="1" baseline="30000" dirty="0">
                <a:effectLst/>
              </a:rPr>
            </a:br>
            <a:r>
              <a:rPr lang="en-GB" sz="3200" b="1" dirty="0"/>
              <a:t>enables the creation of high-performance formulations in different categories.</a:t>
            </a:r>
            <a:br>
              <a:rPr lang="en-GB" sz="3200" b="1" dirty="0">
                <a:effectLst/>
                <a:highlight>
                  <a:srgbClr val="FFFF00"/>
                </a:highlight>
              </a:rPr>
            </a:br>
            <a:endParaRPr lang="en-GB" sz="3200" dirty="0">
              <a:effectLst/>
              <a:highlight>
                <a:srgbClr val="FFFF00"/>
              </a:highlight>
            </a:endParaRPr>
          </a:p>
        </p:txBody>
      </p:sp>
      <p:sp>
        <p:nvSpPr>
          <p:cNvPr id="7" name="Date Placeholder 6">
            <a:extLst>
              <a:ext uri="{FF2B5EF4-FFF2-40B4-BE49-F238E27FC236}">
                <a16:creationId xmlns:a16="http://schemas.microsoft.com/office/drawing/2014/main" id="{FE05C764-4010-0630-7E3D-0B7B9C5931FD}"/>
              </a:ext>
            </a:extLst>
          </p:cNvPr>
          <p:cNvSpPr>
            <a:spLocks noGrp="1"/>
          </p:cNvSpPr>
          <p:nvPr>
            <p:ph type="dt" sz="half" idx="2"/>
          </p:nvPr>
        </p:nvSpPr>
        <p:spPr>
          <a:xfrm>
            <a:off x="10298096" y="6356350"/>
            <a:ext cx="1055703" cy="365125"/>
          </a:xfrm>
        </p:spPr>
        <p:txBody>
          <a:bodyPr anchor="ctr">
            <a:normAutofit/>
          </a:bodyPr>
          <a:lstStyle/>
          <a:p>
            <a:pPr>
              <a:spcAft>
                <a:spcPts val="600"/>
              </a:spcAft>
            </a:pPr>
            <a:fld id="{E60B2C05-1104-41BB-B925-7E3352CEED91}" type="datetime1">
              <a:rPr lang="en-GB" smtClean="0"/>
              <a:pPr>
                <a:spcAft>
                  <a:spcPts val="600"/>
                </a:spcAft>
              </a:pPr>
              <a:t>18/06/2025</a:t>
            </a:fld>
            <a:endParaRPr lang="en-US"/>
          </a:p>
        </p:txBody>
      </p:sp>
      <p:sp>
        <p:nvSpPr>
          <p:cNvPr id="4" name="Slide Number Placeholder 3">
            <a:extLst>
              <a:ext uri="{FF2B5EF4-FFF2-40B4-BE49-F238E27FC236}">
                <a16:creationId xmlns:a16="http://schemas.microsoft.com/office/drawing/2014/main" id="{3BBC556A-57A6-141E-C6E7-95972FB5D519}"/>
              </a:ext>
            </a:extLst>
          </p:cNvPr>
          <p:cNvSpPr>
            <a:spLocks noGrp="1"/>
          </p:cNvSpPr>
          <p:nvPr>
            <p:ph type="sldNum" sz="quarter" idx="4"/>
          </p:nvPr>
        </p:nvSpPr>
        <p:spPr>
          <a:xfrm>
            <a:off x="11353800" y="6356350"/>
            <a:ext cx="395286" cy="365125"/>
          </a:xfrm>
        </p:spPr>
        <p:txBody>
          <a:bodyPr anchor="ctr">
            <a:normAutofit/>
          </a:bodyPr>
          <a:lstStyle/>
          <a:p>
            <a:pPr algn="r">
              <a:spcAft>
                <a:spcPts val="600"/>
              </a:spcAft>
            </a:pPr>
            <a:fld id="{4803DD7B-12C8-43B8-9F45-989336E79744}" type="slidenum">
              <a:rPr lang="en-US" smtClean="0"/>
              <a:pPr algn="r">
                <a:spcAft>
                  <a:spcPts val="600"/>
                </a:spcAft>
              </a:pPr>
              <a:t>3</a:t>
            </a:fld>
            <a:endParaRPr lang="en-US"/>
          </a:p>
        </p:txBody>
      </p:sp>
      <p:sp>
        <p:nvSpPr>
          <p:cNvPr id="3" name="Footer Placeholder 2">
            <a:extLst>
              <a:ext uri="{FF2B5EF4-FFF2-40B4-BE49-F238E27FC236}">
                <a16:creationId xmlns:a16="http://schemas.microsoft.com/office/drawing/2014/main" id="{4F9936D3-DBBA-00D7-0B0E-9F46F67C82D9}"/>
              </a:ext>
            </a:extLst>
          </p:cNvPr>
          <p:cNvSpPr>
            <a:spLocks noGrp="1"/>
          </p:cNvSpPr>
          <p:nvPr>
            <p:ph type="ftr" sz="quarter" idx="15"/>
          </p:nvPr>
        </p:nvSpPr>
        <p:spPr>
          <a:xfrm>
            <a:off x="4038600" y="6356350"/>
            <a:ext cx="4114800" cy="365125"/>
          </a:xfrm>
        </p:spPr>
        <p:txBody>
          <a:bodyPr anchor="ctr">
            <a:normAutofit/>
          </a:bodyPr>
          <a:lstStyle/>
          <a:p>
            <a:pPr>
              <a:spcAft>
                <a:spcPts val="600"/>
              </a:spcAft>
            </a:pPr>
            <a:r>
              <a:rPr lang="en-US" noProof="0"/>
              <a:t>The Co-Development Company</a:t>
            </a:r>
          </a:p>
        </p:txBody>
      </p:sp>
    </p:spTree>
    <p:extLst>
      <p:ext uri="{BB962C8B-B14F-4D97-AF65-F5344CB8AC3E}">
        <p14:creationId xmlns:p14="http://schemas.microsoft.com/office/powerpoint/2010/main" val="8382130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3E377-3315-474B-BB3E-227611121422}"/>
            </a:ext>
          </a:extLst>
        </p:cNvPr>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E4BADABB-4037-720B-6B39-578048ABD877}"/>
              </a:ext>
            </a:extLst>
          </p:cNvPr>
          <p:cNvPicPr>
            <a:picLocks noGrp="1" noChangeAspect="1"/>
          </p:cNvPicPr>
          <p:nvPr>
            <p:ph type="pic" sz="quarter" idx="16"/>
          </p:nvPr>
        </p:nvPicPr>
        <p:blipFill>
          <a:blip r:embed="rId2"/>
          <a:srcRect t="20376" b="20376"/>
          <a:stretch/>
        </p:blipFill>
        <p:spPr/>
      </p:pic>
      <p:sp>
        <p:nvSpPr>
          <p:cNvPr id="8" name="Title 7">
            <a:extLst>
              <a:ext uri="{FF2B5EF4-FFF2-40B4-BE49-F238E27FC236}">
                <a16:creationId xmlns:a16="http://schemas.microsoft.com/office/drawing/2014/main" id="{B5254D5F-3FD1-CFB8-ACC0-7C8A735DC0CD}"/>
              </a:ext>
            </a:extLst>
          </p:cNvPr>
          <p:cNvSpPr>
            <a:spLocks noGrp="1"/>
          </p:cNvSpPr>
          <p:nvPr>
            <p:ph type="title"/>
          </p:nvPr>
        </p:nvSpPr>
        <p:spPr>
          <a:xfrm>
            <a:off x="430212" y="2653403"/>
            <a:ext cx="4484687" cy="775597"/>
          </a:xfrm>
        </p:spPr>
        <p:txBody>
          <a:bodyPr/>
          <a:lstStyle/>
          <a:p>
            <a:r>
              <a:rPr lang="en-US" sz="3200" dirty="0"/>
              <a:t>LIPEX</a:t>
            </a:r>
            <a:r>
              <a:rPr lang="en-US" sz="3200" baseline="30000" dirty="0"/>
              <a:t>®</a:t>
            </a:r>
            <a:r>
              <a:rPr lang="en-US" sz="3200" dirty="0"/>
              <a:t> SheaLuxe TR</a:t>
            </a:r>
            <a:r>
              <a:rPr lang="en-GB" sz="3200" baseline="30000" dirty="0"/>
              <a:t>™</a:t>
            </a:r>
            <a:br>
              <a:rPr lang="en-GB" baseline="30000" dirty="0"/>
            </a:br>
            <a:r>
              <a:rPr lang="en-GB" sz="2400" dirty="0"/>
              <a:t>in Hair care</a:t>
            </a:r>
          </a:p>
        </p:txBody>
      </p:sp>
      <p:sp>
        <p:nvSpPr>
          <p:cNvPr id="5" name="Date Placeholder 4">
            <a:extLst>
              <a:ext uri="{FF2B5EF4-FFF2-40B4-BE49-F238E27FC236}">
                <a16:creationId xmlns:a16="http://schemas.microsoft.com/office/drawing/2014/main" id="{29AAA644-C932-6D47-70E5-BA5DF10196D5}"/>
              </a:ext>
            </a:extLst>
          </p:cNvPr>
          <p:cNvSpPr>
            <a:spLocks noGrp="1"/>
          </p:cNvSpPr>
          <p:nvPr>
            <p:ph type="dt" sz="half" idx="2"/>
          </p:nvPr>
        </p:nvSpPr>
        <p:spPr/>
        <p:txBody>
          <a:bodyPr/>
          <a:lstStyle/>
          <a:p>
            <a:fld id="{1B64ED2E-4F5A-4C13-A00E-18C21BE19A85}" type="datetime1">
              <a:rPr lang="en-GB" sz="1000" smtClean="0"/>
              <a:t>18/06/2025</a:t>
            </a:fld>
            <a:endParaRPr lang="en-GB" sz="1000" dirty="0"/>
          </a:p>
        </p:txBody>
      </p:sp>
      <p:sp>
        <p:nvSpPr>
          <p:cNvPr id="6" name="Slide Number Placeholder 5">
            <a:extLst>
              <a:ext uri="{FF2B5EF4-FFF2-40B4-BE49-F238E27FC236}">
                <a16:creationId xmlns:a16="http://schemas.microsoft.com/office/drawing/2014/main" id="{1A5307D8-C6D6-2505-D7FE-CF199F7CC1AF}"/>
              </a:ext>
            </a:extLst>
          </p:cNvPr>
          <p:cNvSpPr>
            <a:spLocks noGrp="1"/>
          </p:cNvSpPr>
          <p:nvPr>
            <p:ph type="sldNum" sz="quarter" idx="4"/>
          </p:nvPr>
        </p:nvSpPr>
        <p:spPr/>
        <p:txBody>
          <a:bodyPr/>
          <a:lstStyle/>
          <a:p>
            <a:pPr algn="r"/>
            <a:fld id="{EDF3706E-DB9C-4B59-A485-1194C2A6AD28}" type="slidenum">
              <a:rPr lang="en-GB" sz="1000" smtClean="0"/>
              <a:pPr algn="r"/>
              <a:t>30</a:t>
            </a:fld>
            <a:endParaRPr lang="en-GB" sz="1000"/>
          </a:p>
        </p:txBody>
      </p:sp>
      <p:sp>
        <p:nvSpPr>
          <p:cNvPr id="2" name="Footer Placeholder 3">
            <a:extLst>
              <a:ext uri="{FF2B5EF4-FFF2-40B4-BE49-F238E27FC236}">
                <a16:creationId xmlns:a16="http://schemas.microsoft.com/office/drawing/2014/main" id="{002EF6D7-22C8-2202-0E2F-9701C21B8993}"/>
              </a:ext>
            </a:extLst>
          </p:cNvPr>
          <p:cNvSpPr txBox="1">
            <a:spLocks/>
          </p:cNvSpPr>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t>The Co-Development Company</a:t>
            </a:r>
            <a:endParaRPr lang="en-US" sz="1000" dirty="0"/>
          </a:p>
        </p:txBody>
      </p:sp>
    </p:spTree>
    <p:extLst>
      <p:ext uri="{BB962C8B-B14F-4D97-AF65-F5344CB8AC3E}">
        <p14:creationId xmlns:p14="http://schemas.microsoft.com/office/powerpoint/2010/main" val="462712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BA0782-8AE7-FA28-266F-81E116CD85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1459DC-6D6C-927A-7E9E-B4C7FA162B68}"/>
              </a:ext>
            </a:extLst>
          </p:cNvPr>
          <p:cNvSpPr>
            <a:spLocks noGrp="1"/>
          </p:cNvSpPr>
          <p:nvPr>
            <p:ph type="title"/>
          </p:nvPr>
        </p:nvSpPr>
        <p:spPr>
          <a:xfrm>
            <a:off x="456767" y="344872"/>
            <a:ext cx="8467843" cy="775597"/>
          </a:xfrm>
        </p:spPr>
        <p:txBody>
          <a:bodyPr/>
          <a:lstStyle/>
          <a:p>
            <a:r>
              <a:rPr lang="en-GB" dirty="0"/>
              <a:t>LIPEX® SheaLuxe TR in haircare</a:t>
            </a:r>
            <a:br>
              <a:rPr lang="en-GB" dirty="0"/>
            </a:br>
            <a:r>
              <a:rPr lang="en-GB" sz="2000" dirty="0"/>
              <a:t>A superior short- and long-term anti-frizzing effect to dimethicone</a:t>
            </a:r>
            <a:endParaRPr lang="sv-SE" sz="2000" dirty="0"/>
          </a:p>
        </p:txBody>
      </p:sp>
      <p:sp>
        <p:nvSpPr>
          <p:cNvPr id="4" name="Footer Placeholder 3">
            <a:extLst>
              <a:ext uri="{FF2B5EF4-FFF2-40B4-BE49-F238E27FC236}">
                <a16:creationId xmlns:a16="http://schemas.microsoft.com/office/drawing/2014/main" id="{6A53C7C1-8314-710D-1D46-CFDD85EBBEA1}"/>
              </a:ext>
            </a:extLst>
          </p:cNvPr>
          <p:cNvSpPr>
            <a:spLocks noGrp="1"/>
          </p:cNvSpPr>
          <p:nvPr>
            <p:ph type="ftr" sz="quarter" idx="11"/>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The Co-Development Company</a:t>
            </a:r>
            <a:endParaRPr lang="en-US" noProof="0" dirty="0"/>
          </a:p>
        </p:txBody>
      </p:sp>
      <p:sp>
        <p:nvSpPr>
          <p:cNvPr id="5" name="Slide Number Placeholder 4">
            <a:extLst>
              <a:ext uri="{FF2B5EF4-FFF2-40B4-BE49-F238E27FC236}">
                <a16:creationId xmlns:a16="http://schemas.microsoft.com/office/drawing/2014/main" id="{73702B62-AD4D-B0F4-26CB-1F1B24C85DD3}"/>
              </a:ext>
            </a:extLst>
          </p:cNvPr>
          <p:cNvSpPr>
            <a:spLocks noGrp="1"/>
          </p:cNvSpPr>
          <p:nvPr>
            <p:ph type="sldNum" sz="quarter" idx="12"/>
          </p:nvPr>
        </p:nvSpPr>
        <p:spPr>
          <a:xfrm>
            <a:off x="11376660" y="6456641"/>
            <a:ext cx="372428" cy="184666"/>
          </a:xfrm>
          <a:prstGeom prst="rect">
            <a:avLst/>
          </a:prstGeom>
        </p:spPr>
        <p:txBody>
          <a:bodyPr vert="horz" wrap="squar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03DD7B-12C8-43B8-9F45-989336E79744}" type="slidenum">
              <a:rPr lang="en-US" smtClean="0"/>
              <a:pPr/>
              <a:t>31</a:t>
            </a:fld>
            <a:endParaRPr lang="en-US" noProof="0"/>
          </a:p>
        </p:txBody>
      </p:sp>
      <p:sp>
        <p:nvSpPr>
          <p:cNvPr id="26" name="TextBox 25">
            <a:extLst>
              <a:ext uri="{FF2B5EF4-FFF2-40B4-BE49-F238E27FC236}">
                <a16:creationId xmlns:a16="http://schemas.microsoft.com/office/drawing/2014/main" id="{F05C5003-A931-64C4-5ABF-07797B52B3E7}"/>
              </a:ext>
            </a:extLst>
          </p:cNvPr>
          <p:cNvSpPr txBox="1"/>
          <p:nvPr/>
        </p:nvSpPr>
        <p:spPr>
          <a:xfrm>
            <a:off x="418247" y="5124375"/>
            <a:ext cx="6097772" cy="1061829"/>
          </a:xfrm>
          <a:prstGeom prst="rect">
            <a:avLst/>
          </a:prstGeom>
          <a:noFill/>
          <a:ln>
            <a:noFill/>
          </a:ln>
        </p:spPr>
        <p:txBody>
          <a:bodyPr wrap="square">
            <a:spAutoFit/>
          </a:bodyPr>
          <a:lstStyle/>
          <a:p>
            <a:pPr algn="just"/>
            <a:r>
              <a:rPr lang="en-US" sz="900" b="1" dirty="0">
                <a:effectLst/>
                <a:ea typeface="Times New Roman" panose="02020603050405020304" pitchFamily="18" charset="0"/>
                <a:cs typeface="Times New Roman" panose="02020603050405020304" pitchFamily="18" charset="0"/>
              </a:rPr>
              <a:t>Procedure: </a:t>
            </a:r>
          </a:p>
          <a:p>
            <a:pPr algn="just"/>
            <a:r>
              <a:rPr lang="en-US" sz="900" dirty="0">
                <a:effectLst/>
                <a:ea typeface="Times New Roman" panose="02020603050405020304" pitchFamily="18" charset="0"/>
                <a:cs typeface="Times New Roman" panose="02020603050405020304" pitchFamily="18" charset="0"/>
              </a:rPr>
              <a:t>- Clean </a:t>
            </a:r>
            <a:r>
              <a:rPr lang="en-US" sz="900" dirty="0">
                <a:cs typeface="Times New Roman" panose="02020603050405020304" pitchFamily="18" charset="0"/>
              </a:rPr>
              <a:t>a Caucasian </a:t>
            </a:r>
            <a:r>
              <a:rPr lang="en-US" sz="900" dirty="0">
                <a:effectLst/>
                <a:ea typeface="Times New Roman" panose="02020603050405020304" pitchFamily="18" charset="0"/>
                <a:cs typeface="Times New Roman" panose="02020603050405020304" pitchFamily="18" charset="0"/>
              </a:rPr>
              <a:t>hair tress of 7g with 1mL Sodium </a:t>
            </a:r>
            <a:r>
              <a:rPr lang="en-US" sz="900" dirty="0" err="1">
                <a:effectLst/>
                <a:ea typeface="Times New Roman" panose="02020603050405020304" pitchFamily="18" charset="0"/>
                <a:cs typeface="Times New Roman" panose="02020603050405020304" pitchFamily="18" charset="0"/>
              </a:rPr>
              <a:t>laureth</a:t>
            </a:r>
            <a:r>
              <a:rPr lang="en-US" sz="900" dirty="0">
                <a:effectLst/>
                <a:ea typeface="Times New Roman" panose="02020603050405020304" pitchFamily="18" charset="0"/>
                <a:cs typeface="Times New Roman" panose="02020603050405020304" pitchFamily="18" charset="0"/>
              </a:rPr>
              <a:t> sulfate solution pH 5,5.</a:t>
            </a:r>
            <a:endParaRPr lang="sv-SE" sz="900" dirty="0">
              <a:effectLst/>
              <a:ea typeface="Times New Roman" panose="02020603050405020304" pitchFamily="18" charset="0"/>
              <a:cs typeface="Times New Roman" panose="02020603050405020304" pitchFamily="18" charset="0"/>
            </a:endParaRPr>
          </a:p>
          <a:p>
            <a:pPr algn="just"/>
            <a:r>
              <a:rPr lang="en-US" sz="900" dirty="0">
                <a:effectLst/>
                <a:ea typeface="Times New Roman" panose="02020603050405020304" pitchFamily="18" charset="0"/>
                <a:cs typeface="Times New Roman" panose="02020603050405020304" pitchFamily="18" charset="0"/>
              </a:rPr>
              <a:t>- Dry the hair tress with a hairdryer for 5 minutes</a:t>
            </a:r>
            <a:endParaRPr lang="sv-SE" sz="900" dirty="0">
              <a:effectLst/>
              <a:ea typeface="Times New Roman" panose="02020603050405020304" pitchFamily="18" charset="0"/>
              <a:cs typeface="Times New Roman" panose="02020603050405020304" pitchFamily="18" charset="0"/>
            </a:endParaRPr>
          </a:p>
          <a:p>
            <a:pPr algn="just"/>
            <a:r>
              <a:rPr lang="en-US" sz="900" dirty="0">
                <a:effectLst/>
                <a:ea typeface="Times New Roman" panose="02020603050405020304" pitchFamily="18" charset="0"/>
                <a:cs typeface="Times New Roman" panose="02020603050405020304" pitchFamily="18" charset="0"/>
              </a:rPr>
              <a:t>- Comb and straighten the hair 4 times &amp; measure – this is the reference (untreated t=0)</a:t>
            </a:r>
            <a:endParaRPr lang="sv-SE" sz="900" dirty="0">
              <a:effectLst/>
              <a:ea typeface="Times New Roman" panose="02020603050405020304" pitchFamily="18" charset="0"/>
              <a:cs typeface="Times New Roman" panose="02020603050405020304" pitchFamily="18" charset="0"/>
            </a:endParaRPr>
          </a:p>
          <a:p>
            <a:pPr algn="just"/>
            <a:r>
              <a:rPr lang="en-US" sz="900" dirty="0">
                <a:effectLst/>
                <a:ea typeface="Times New Roman" panose="02020603050405020304" pitchFamily="18" charset="0"/>
                <a:cs typeface="Times New Roman" panose="02020603050405020304" pitchFamily="18" charset="0"/>
              </a:rPr>
              <a:t>- Apply 4 drops (0.1g) of the pure raw material on a clean hair tress of 7g &amp; measure (treated t=0)</a:t>
            </a:r>
            <a:endParaRPr lang="sv-SE" sz="900" dirty="0">
              <a:effectLst/>
              <a:ea typeface="Times New Roman" panose="02020603050405020304" pitchFamily="18" charset="0"/>
              <a:cs typeface="Times New Roman" panose="02020603050405020304" pitchFamily="18" charset="0"/>
            </a:endParaRPr>
          </a:p>
          <a:p>
            <a:pPr algn="just"/>
            <a:r>
              <a:rPr lang="en-US" sz="900" dirty="0">
                <a:effectLst/>
                <a:ea typeface="Times New Roman" panose="02020603050405020304" pitchFamily="18" charset="0"/>
                <a:cs typeface="Times New Roman" panose="02020603050405020304" pitchFamily="18" charset="0"/>
              </a:rPr>
              <a:t>- Place the hair tress in a humid chamber at 25°C with 85% humidity. </a:t>
            </a:r>
          </a:p>
          <a:p>
            <a:pPr algn="just"/>
            <a:r>
              <a:rPr lang="en-US" sz="900" dirty="0">
                <a:ea typeface="Times New Roman" panose="02020603050405020304" pitchFamily="18" charset="0"/>
                <a:cs typeface="Times New Roman" panose="02020603050405020304" pitchFamily="18" charset="0"/>
              </a:rPr>
              <a:t>- Measure at different times (1,2,4 &amp; 8 hours) </a:t>
            </a:r>
            <a:endParaRPr lang="sv-SE" sz="900" dirty="0">
              <a:effectLst/>
              <a:ea typeface="Times New Roman" panose="02020603050405020304" pitchFamily="18" charset="0"/>
              <a:cs typeface="Times New Roman" panose="02020603050405020304" pitchFamily="18" charset="0"/>
            </a:endParaRPr>
          </a:p>
        </p:txBody>
      </p:sp>
      <p:sp>
        <p:nvSpPr>
          <p:cNvPr id="45" name="TextBox 44">
            <a:extLst>
              <a:ext uri="{FF2B5EF4-FFF2-40B4-BE49-F238E27FC236}">
                <a16:creationId xmlns:a16="http://schemas.microsoft.com/office/drawing/2014/main" id="{0BDC4A3B-CDC7-5339-37D0-FC1169B3CAC8}"/>
              </a:ext>
            </a:extLst>
          </p:cNvPr>
          <p:cNvSpPr txBox="1"/>
          <p:nvPr/>
        </p:nvSpPr>
        <p:spPr>
          <a:xfrm>
            <a:off x="6398956" y="5701237"/>
            <a:ext cx="2404483" cy="461665"/>
          </a:xfrm>
          <a:prstGeom prst="rect">
            <a:avLst/>
          </a:prstGeom>
          <a:noFill/>
          <a:ln>
            <a:noFill/>
          </a:ln>
        </p:spPr>
        <p:txBody>
          <a:bodyPr wrap="square" lIns="0" tIns="0" rIns="0" bIns="0" rtlCol="0">
            <a:spAutoFit/>
          </a:bodyPr>
          <a:lstStyle/>
          <a:p>
            <a:pPr marL="342900" indent="-342900" algn="l">
              <a:buClr>
                <a:schemeClr val="tx2"/>
              </a:buClr>
              <a:buFont typeface="+mj-lt"/>
              <a:buAutoNum type="arabicPeriod"/>
            </a:pPr>
            <a:r>
              <a:rPr lang="sv-SE" sz="1000" spc="-30" dirty="0">
                <a:solidFill>
                  <a:schemeClr val="tx2"/>
                </a:solidFill>
              </a:rPr>
              <a:t>Control (</a:t>
            </a:r>
            <a:r>
              <a:rPr lang="sv-SE" sz="1000" spc="-30" dirty="0" err="1">
                <a:solidFill>
                  <a:schemeClr val="tx2"/>
                </a:solidFill>
              </a:rPr>
              <a:t>Untreated</a:t>
            </a:r>
            <a:r>
              <a:rPr lang="sv-SE" sz="1000" spc="-30" dirty="0">
                <a:solidFill>
                  <a:schemeClr val="tx2"/>
                </a:solidFill>
              </a:rPr>
              <a:t>)</a:t>
            </a:r>
          </a:p>
          <a:p>
            <a:pPr marL="342900" indent="-342900" algn="l">
              <a:buClr>
                <a:schemeClr val="tx2"/>
              </a:buClr>
              <a:buFont typeface="+mj-lt"/>
              <a:buAutoNum type="arabicPeriod"/>
            </a:pPr>
            <a:r>
              <a:rPr lang="sv-SE" sz="1000" spc="-30" dirty="0">
                <a:solidFill>
                  <a:schemeClr val="tx2"/>
                </a:solidFill>
              </a:rPr>
              <a:t>Dimethicone 5mPa.s</a:t>
            </a:r>
          </a:p>
          <a:p>
            <a:pPr marL="342900" indent="-342900" algn="l">
              <a:buClr>
                <a:schemeClr val="tx2"/>
              </a:buClr>
              <a:buFont typeface="+mj-lt"/>
              <a:buAutoNum type="arabicPeriod"/>
            </a:pPr>
            <a:r>
              <a:rPr lang="sv-SE" sz="1000" spc="-30" dirty="0">
                <a:solidFill>
                  <a:schemeClr val="tx2"/>
                </a:solidFill>
              </a:rPr>
              <a:t>LIPEX SheaLuxe TR</a:t>
            </a:r>
          </a:p>
        </p:txBody>
      </p:sp>
      <p:graphicFrame>
        <p:nvGraphicFramePr>
          <p:cNvPr id="47" name="Chart 46">
            <a:extLst>
              <a:ext uri="{FF2B5EF4-FFF2-40B4-BE49-F238E27FC236}">
                <a16:creationId xmlns:a16="http://schemas.microsoft.com/office/drawing/2014/main" id="{BB1D6824-630A-1347-8D21-B56730F2B401}"/>
              </a:ext>
            </a:extLst>
          </p:cNvPr>
          <p:cNvGraphicFramePr>
            <a:graphicFrameLocks/>
          </p:cNvGraphicFramePr>
          <p:nvPr/>
        </p:nvGraphicFramePr>
        <p:xfrm>
          <a:off x="360379" y="1329266"/>
          <a:ext cx="7107088" cy="2944306"/>
        </p:xfrm>
        <a:graphic>
          <a:graphicData uri="http://schemas.openxmlformats.org/drawingml/2006/chart">
            <c:chart xmlns:c="http://schemas.openxmlformats.org/drawingml/2006/chart" xmlns:r="http://schemas.openxmlformats.org/officeDocument/2006/relationships" r:id="rId2"/>
          </a:graphicData>
        </a:graphic>
      </p:graphicFrame>
      <p:sp>
        <p:nvSpPr>
          <p:cNvPr id="48" name="TextBox 47">
            <a:extLst>
              <a:ext uri="{FF2B5EF4-FFF2-40B4-BE49-F238E27FC236}">
                <a16:creationId xmlns:a16="http://schemas.microsoft.com/office/drawing/2014/main" id="{330758C5-4F4B-EDA7-ADAE-E040E3B09E45}"/>
              </a:ext>
            </a:extLst>
          </p:cNvPr>
          <p:cNvSpPr txBox="1"/>
          <p:nvPr/>
        </p:nvSpPr>
        <p:spPr>
          <a:xfrm>
            <a:off x="517553" y="4436287"/>
            <a:ext cx="6935915" cy="492443"/>
          </a:xfrm>
          <a:prstGeom prst="rect">
            <a:avLst/>
          </a:prstGeom>
          <a:noFill/>
          <a:ln>
            <a:noFill/>
          </a:ln>
        </p:spPr>
        <p:txBody>
          <a:bodyPr wrap="square" lIns="0" tIns="0" rIns="0" bIns="0" rtlCol="0">
            <a:spAutoFit/>
          </a:bodyPr>
          <a:lstStyle/>
          <a:p>
            <a:pPr algn="l">
              <a:buClr>
                <a:schemeClr val="tx2"/>
              </a:buClr>
            </a:pPr>
            <a:r>
              <a:rPr lang="en-GB" sz="1600" spc="-30" dirty="0">
                <a:solidFill>
                  <a:srgbClr val="2067CA"/>
                </a:solidFill>
              </a:rPr>
              <a:t>LIPEX® SheaLuxe TR has a superior effect reducing frizz at application, </a:t>
            </a:r>
          </a:p>
          <a:p>
            <a:pPr algn="l">
              <a:buClr>
                <a:schemeClr val="tx2"/>
              </a:buClr>
            </a:pPr>
            <a:r>
              <a:rPr lang="en-GB" sz="1600" spc="-30" dirty="0">
                <a:solidFill>
                  <a:srgbClr val="2067CA"/>
                </a:solidFill>
              </a:rPr>
              <a:t>and excels at preventing frizz over time in a humid environment</a:t>
            </a:r>
          </a:p>
        </p:txBody>
      </p:sp>
      <p:pic>
        <p:nvPicPr>
          <p:cNvPr id="6" name="Picture 1">
            <a:extLst>
              <a:ext uri="{FF2B5EF4-FFF2-40B4-BE49-F238E27FC236}">
                <a16:creationId xmlns:a16="http://schemas.microsoft.com/office/drawing/2014/main" id="{C25BB50F-5B06-3D3B-4BDA-A99FB1E0E8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44066" y="1144265"/>
            <a:ext cx="638984" cy="240003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FF2486CF-363F-97AB-05D4-A52FFE71DD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83050" y="1144266"/>
            <a:ext cx="560030" cy="24000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a:extLst>
              <a:ext uri="{FF2B5EF4-FFF2-40B4-BE49-F238E27FC236}">
                <a16:creationId xmlns:a16="http://schemas.microsoft.com/office/drawing/2014/main" id="{7303BD0C-7C7A-3414-F13E-4EDAEDC7755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 r="-6054" b="555"/>
          <a:stretch/>
        </p:blipFill>
        <p:spPr bwMode="auto">
          <a:xfrm>
            <a:off x="9243081" y="1144265"/>
            <a:ext cx="560029" cy="240003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
            <a:extLst>
              <a:ext uri="{FF2B5EF4-FFF2-40B4-BE49-F238E27FC236}">
                <a16:creationId xmlns:a16="http://schemas.microsoft.com/office/drawing/2014/main" id="{477176EB-AED7-7708-4900-126F446B27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68427" y="1144265"/>
            <a:ext cx="651484" cy="240003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8">
            <a:extLst>
              <a:ext uri="{FF2B5EF4-FFF2-40B4-BE49-F238E27FC236}">
                <a16:creationId xmlns:a16="http://schemas.microsoft.com/office/drawing/2014/main" id="{FFE6089F-347F-86E5-35F0-80BF7A998CB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619911" y="1144265"/>
            <a:ext cx="493034" cy="240003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9">
            <a:extLst>
              <a:ext uri="{FF2B5EF4-FFF2-40B4-BE49-F238E27FC236}">
                <a16:creationId xmlns:a16="http://schemas.microsoft.com/office/drawing/2014/main" id="{CDDA2584-22CC-AC3D-8382-A7D5DA572CE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12945" y="1144265"/>
            <a:ext cx="538620" cy="240003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
            <a:extLst>
              <a:ext uri="{FF2B5EF4-FFF2-40B4-BE49-F238E27FC236}">
                <a16:creationId xmlns:a16="http://schemas.microsoft.com/office/drawing/2014/main" id="{028CB3EE-20A4-D039-E74A-A6DA89568D5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053506" y="3765531"/>
            <a:ext cx="639069" cy="240003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a:extLst>
              <a:ext uri="{FF2B5EF4-FFF2-40B4-BE49-F238E27FC236}">
                <a16:creationId xmlns:a16="http://schemas.microsoft.com/office/drawing/2014/main" id="{490354CB-922C-80DA-9E18-21F7744B2A0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94485" y="3765533"/>
            <a:ext cx="531993" cy="240003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
            <a:extLst>
              <a:ext uri="{FF2B5EF4-FFF2-40B4-BE49-F238E27FC236}">
                <a16:creationId xmlns:a16="http://schemas.microsoft.com/office/drawing/2014/main" id="{8D83C7F5-AB13-F0CE-B73B-98D172F8CA4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231808" y="3765531"/>
            <a:ext cx="460546" cy="240003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8">
            <a:extLst>
              <a:ext uri="{FF2B5EF4-FFF2-40B4-BE49-F238E27FC236}">
                <a16:creationId xmlns:a16="http://schemas.microsoft.com/office/drawing/2014/main" id="{7D05E4E5-09E3-58CF-0FA1-2AF7126372E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00045" y="3765531"/>
            <a:ext cx="724514" cy="240003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9">
            <a:extLst>
              <a:ext uri="{FF2B5EF4-FFF2-40B4-BE49-F238E27FC236}">
                <a16:creationId xmlns:a16="http://schemas.microsoft.com/office/drawing/2014/main" id="{BFBB9434-DD99-2C78-B8D6-895A835151D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553264" y="3765531"/>
            <a:ext cx="624196" cy="2400034"/>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0">
            <a:extLst>
              <a:ext uri="{FF2B5EF4-FFF2-40B4-BE49-F238E27FC236}">
                <a16:creationId xmlns:a16="http://schemas.microsoft.com/office/drawing/2014/main" id="{D4A6A3E3-7492-4FD3-66A4-F95EF8B90F5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094320" y="3765531"/>
            <a:ext cx="518914" cy="2400034"/>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F2588BBB-7609-39D7-6FCA-B279603E8A78}"/>
              </a:ext>
            </a:extLst>
          </p:cNvPr>
          <p:cNvSpPr txBox="1"/>
          <p:nvPr/>
        </p:nvSpPr>
        <p:spPr>
          <a:xfrm>
            <a:off x="8400843" y="1149530"/>
            <a:ext cx="1184366" cy="246221"/>
          </a:xfrm>
          <a:prstGeom prst="rect">
            <a:avLst/>
          </a:prstGeom>
          <a:solidFill>
            <a:schemeClr val="bg1"/>
          </a:solidFill>
          <a:ln>
            <a:noFill/>
          </a:ln>
        </p:spPr>
        <p:txBody>
          <a:bodyPr wrap="square" lIns="0" tIns="0" rIns="0" bIns="0" rtlCol="0">
            <a:spAutoFit/>
          </a:bodyPr>
          <a:lstStyle/>
          <a:p>
            <a:pPr algn="ctr">
              <a:buClr>
                <a:schemeClr val="tx2"/>
              </a:buClr>
            </a:pPr>
            <a:r>
              <a:rPr lang="en-GB" sz="1600" spc="-30">
                <a:solidFill>
                  <a:schemeClr val="tx2"/>
                </a:solidFill>
              </a:rPr>
              <a:t>Untreated</a:t>
            </a:r>
          </a:p>
        </p:txBody>
      </p:sp>
      <p:sp>
        <p:nvSpPr>
          <p:cNvPr id="51" name="TextBox 50">
            <a:extLst>
              <a:ext uri="{FF2B5EF4-FFF2-40B4-BE49-F238E27FC236}">
                <a16:creationId xmlns:a16="http://schemas.microsoft.com/office/drawing/2014/main" id="{1F557FBD-6388-1E78-9E6A-829415247AEF}"/>
              </a:ext>
            </a:extLst>
          </p:cNvPr>
          <p:cNvSpPr txBox="1"/>
          <p:nvPr/>
        </p:nvSpPr>
        <p:spPr>
          <a:xfrm>
            <a:off x="10563304" y="1158239"/>
            <a:ext cx="568344" cy="246221"/>
          </a:xfrm>
          <a:prstGeom prst="rect">
            <a:avLst/>
          </a:prstGeom>
          <a:solidFill>
            <a:schemeClr val="bg1"/>
          </a:solidFill>
          <a:ln>
            <a:noFill/>
          </a:ln>
        </p:spPr>
        <p:txBody>
          <a:bodyPr wrap="square" lIns="0" tIns="0" rIns="0" bIns="0" rtlCol="0">
            <a:spAutoFit/>
          </a:bodyPr>
          <a:lstStyle/>
          <a:p>
            <a:pPr algn="ctr">
              <a:buClr>
                <a:schemeClr val="tx2"/>
              </a:buClr>
            </a:pPr>
            <a:r>
              <a:rPr lang="en-GB" sz="1600" spc="-30">
                <a:solidFill>
                  <a:schemeClr val="tx2"/>
                </a:solidFill>
              </a:rPr>
              <a:t>T= 0</a:t>
            </a:r>
          </a:p>
        </p:txBody>
      </p:sp>
      <p:sp>
        <p:nvSpPr>
          <p:cNvPr id="52" name="TextBox 51">
            <a:extLst>
              <a:ext uri="{FF2B5EF4-FFF2-40B4-BE49-F238E27FC236}">
                <a16:creationId xmlns:a16="http://schemas.microsoft.com/office/drawing/2014/main" id="{C1EA5675-4E49-6D24-8DDC-98B4C049C4B8}"/>
              </a:ext>
            </a:extLst>
          </p:cNvPr>
          <p:cNvSpPr txBox="1"/>
          <p:nvPr/>
        </p:nvSpPr>
        <p:spPr>
          <a:xfrm>
            <a:off x="8671526" y="3795722"/>
            <a:ext cx="568344" cy="246221"/>
          </a:xfrm>
          <a:prstGeom prst="rect">
            <a:avLst/>
          </a:prstGeom>
          <a:solidFill>
            <a:schemeClr val="bg1"/>
          </a:solidFill>
          <a:ln>
            <a:noFill/>
          </a:ln>
        </p:spPr>
        <p:txBody>
          <a:bodyPr wrap="square" lIns="0" tIns="0" rIns="0" bIns="0" rtlCol="0">
            <a:spAutoFit/>
          </a:bodyPr>
          <a:lstStyle/>
          <a:p>
            <a:pPr algn="ctr">
              <a:buClr>
                <a:schemeClr val="tx2"/>
              </a:buClr>
            </a:pPr>
            <a:r>
              <a:rPr lang="en-GB" sz="1600" spc="-30">
                <a:solidFill>
                  <a:schemeClr val="tx2"/>
                </a:solidFill>
              </a:rPr>
              <a:t>T= 1</a:t>
            </a:r>
          </a:p>
        </p:txBody>
      </p:sp>
      <p:sp>
        <p:nvSpPr>
          <p:cNvPr id="53" name="TextBox 52">
            <a:extLst>
              <a:ext uri="{FF2B5EF4-FFF2-40B4-BE49-F238E27FC236}">
                <a16:creationId xmlns:a16="http://schemas.microsoft.com/office/drawing/2014/main" id="{84B91927-B41A-3356-F2C8-B92D280FF90A}"/>
              </a:ext>
            </a:extLst>
          </p:cNvPr>
          <p:cNvSpPr txBox="1"/>
          <p:nvPr/>
        </p:nvSpPr>
        <p:spPr>
          <a:xfrm>
            <a:off x="10487117" y="3782949"/>
            <a:ext cx="568344" cy="246221"/>
          </a:xfrm>
          <a:prstGeom prst="rect">
            <a:avLst/>
          </a:prstGeom>
          <a:solidFill>
            <a:schemeClr val="bg1"/>
          </a:solidFill>
          <a:ln>
            <a:noFill/>
          </a:ln>
        </p:spPr>
        <p:txBody>
          <a:bodyPr wrap="square" lIns="0" tIns="0" rIns="0" bIns="0" rtlCol="0">
            <a:spAutoFit/>
          </a:bodyPr>
          <a:lstStyle/>
          <a:p>
            <a:pPr algn="ctr">
              <a:buClr>
                <a:schemeClr val="tx2"/>
              </a:buClr>
            </a:pPr>
            <a:r>
              <a:rPr lang="en-GB" sz="1600" spc="-30">
                <a:solidFill>
                  <a:schemeClr val="tx2"/>
                </a:solidFill>
              </a:rPr>
              <a:t>T= 8</a:t>
            </a:r>
          </a:p>
        </p:txBody>
      </p:sp>
      <p:sp>
        <p:nvSpPr>
          <p:cNvPr id="54" name="TextBox 53">
            <a:extLst>
              <a:ext uri="{FF2B5EF4-FFF2-40B4-BE49-F238E27FC236}">
                <a16:creationId xmlns:a16="http://schemas.microsoft.com/office/drawing/2014/main" id="{A2C87AC5-B4E0-0B53-3976-EB4446FAA533}"/>
              </a:ext>
            </a:extLst>
          </p:cNvPr>
          <p:cNvSpPr txBox="1"/>
          <p:nvPr/>
        </p:nvSpPr>
        <p:spPr>
          <a:xfrm>
            <a:off x="8028268" y="3293722"/>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1</a:t>
            </a:r>
          </a:p>
        </p:txBody>
      </p:sp>
      <p:sp>
        <p:nvSpPr>
          <p:cNvPr id="55" name="TextBox 54">
            <a:extLst>
              <a:ext uri="{FF2B5EF4-FFF2-40B4-BE49-F238E27FC236}">
                <a16:creationId xmlns:a16="http://schemas.microsoft.com/office/drawing/2014/main" id="{64A7EA6D-9FE0-BD14-9701-9AF2BBA0C09A}"/>
              </a:ext>
            </a:extLst>
          </p:cNvPr>
          <p:cNvSpPr txBox="1"/>
          <p:nvPr/>
        </p:nvSpPr>
        <p:spPr>
          <a:xfrm>
            <a:off x="8699689" y="3300680"/>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2</a:t>
            </a:r>
          </a:p>
        </p:txBody>
      </p:sp>
      <p:sp>
        <p:nvSpPr>
          <p:cNvPr id="56" name="TextBox 55">
            <a:extLst>
              <a:ext uri="{FF2B5EF4-FFF2-40B4-BE49-F238E27FC236}">
                <a16:creationId xmlns:a16="http://schemas.microsoft.com/office/drawing/2014/main" id="{9133FFE5-2882-8114-C557-D129A6797027}"/>
              </a:ext>
            </a:extLst>
          </p:cNvPr>
          <p:cNvSpPr txBox="1"/>
          <p:nvPr/>
        </p:nvSpPr>
        <p:spPr>
          <a:xfrm>
            <a:off x="9255289" y="3293722"/>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3</a:t>
            </a:r>
          </a:p>
        </p:txBody>
      </p:sp>
      <p:sp>
        <p:nvSpPr>
          <p:cNvPr id="57" name="TextBox 56">
            <a:extLst>
              <a:ext uri="{FF2B5EF4-FFF2-40B4-BE49-F238E27FC236}">
                <a16:creationId xmlns:a16="http://schemas.microsoft.com/office/drawing/2014/main" id="{C0BBF118-5CC2-49C5-E13C-544764216883}"/>
              </a:ext>
            </a:extLst>
          </p:cNvPr>
          <p:cNvSpPr txBox="1"/>
          <p:nvPr/>
        </p:nvSpPr>
        <p:spPr>
          <a:xfrm>
            <a:off x="9967024" y="3295614"/>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1</a:t>
            </a:r>
          </a:p>
        </p:txBody>
      </p:sp>
      <p:sp>
        <p:nvSpPr>
          <p:cNvPr id="58" name="TextBox 57">
            <a:extLst>
              <a:ext uri="{FF2B5EF4-FFF2-40B4-BE49-F238E27FC236}">
                <a16:creationId xmlns:a16="http://schemas.microsoft.com/office/drawing/2014/main" id="{D0F0FCA3-394F-090B-1AC7-A94296333751}"/>
              </a:ext>
            </a:extLst>
          </p:cNvPr>
          <p:cNvSpPr txBox="1"/>
          <p:nvPr/>
        </p:nvSpPr>
        <p:spPr>
          <a:xfrm>
            <a:off x="10638445" y="3302572"/>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2</a:t>
            </a:r>
          </a:p>
        </p:txBody>
      </p:sp>
      <p:sp>
        <p:nvSpPr>
          <p:cNvPr id="59" name="TextBox 58">
            <a:extLst>
              <a:ext uri="{FF2B5EF4-FFF2-40B4-BE49-F238E27FC236}">
                <a16:creationId xmlns:a16="http://schemas.microsoft.com/office/drawing/2014/main" id="{BAC6B4F4-A32F-DC3C-DC26-8AFDA4039241}"/>
              </a:ext>
            </a:extLst>
          </p:cNvPr>
          <p:cNvSpPr txBox="1"/>
          <p:nvPr/>
        </p:nvSpPr>
        <p:spPr>
          <a:xfrm>
            <a:off x="11194045" y="3295614"/>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3</a:t>
            </a:r>
          </a:p>
        </p:txBody>
      </p:sp>
      <p:sp>
        <p:nvSpPr>
          <p:cNvPr id="60" name="TextBox 59">
            <a:extLst>
              <a:ext uri="{FF2B5EF4-FFF2-40B4-BE49-F238E27FC236}">
                <a16:creationId xmlns:a16="http://schemas.microsoft.com/office/drawing/2014/main" id="{5FAEB6B0-447B-C6FF-8783-340BD7E094D6}"/>
              </a:ext>
            </a:extLst>
          </p:cNvPr>
          <p:cNvSpPr txBox="1"/>
          <p:nvPr/>
        </p:nvSpPr>
        <p:spPr>
          <a:xfrm>
            <a:off x="8040489" y="5919248"/>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1</a:t>
            </a:r>
          </a:p>
        </p:txBody>
      </p:sp>
      <p:sp>
        <p:nvSpPr>
          <p:cNvPr id="61" name="TextBox 60">
            <a:extLst>
              <a:ext uri="{FF2B5EF4-FFF2-40B4-BE49-F238E27FC236}">
                <a16:creationId xmlns:a16="http://schemas.microsoft.com/office/drawing/2014/main" id="{C664CD96-8014-642E-B3BC-86905FB1B2B2}"/>
              </a:ext>
            </a:extLst>
          </p:cNvPr>
          <p:cNvSpPr txBox="1"/>
          <p:nvPr/>
        </p:nvSpPr>
        <p:spPr>
          <a:xfrm>
            <a:off x="8711910" y="5916681"/>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2</a:t>
            </a:r>
          </a:p>
        </p:txBody>
      </p:sp>
      <p:sp>
        <p:nvSpPr>
          <p:cNvPr id="62" name="TextBox 61">
            <a:extLst>
              <a:ext uri="{FF2B5EF4-FFF2-40B4-BE49-F238E27FC236}">
                <a16:creationId xmlns:a16="http://schemas.microsoft.com/office/drawing/2014/main" id="{13EAEAE3-102F-D0EA-85C7-0100F0DD3794}"/>
              </a:ext>
            </a:extLst>
          </p:cNvPr>
          <p:cNvSpPr txBox="1"/>
          <p:nvPr/>
        </p:nvSpPr>
        <p:spPr>
          <a:xfrm>
            <a:off x="9267510" y="5919248"/>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3</a:t>
            </a:r>
          </a:p>
        </p:txBody>
      </p:sp>
      <p:sp>
        <p:nvSpPr>
          <p:cNvPr id="63" name="TextBox 62">
            <a:extLst>
              <a:ext uri="{FF2B5EF4-FFF2-40B4-BE49-F238E27FC236}">
                <a16:creationId xmlns:a16="http://schemas.microsoft.com/office/drawing/2014/main" id="{CE980009-17E1-520F-7792-ABCE202F7D62}"/>
              </a:ext>
            </a:extLst>
          </p:cNvPr>
          <p:cNvSpPr txBox="1"/>
          <p:nvPr/>
        </p:nvSpPr>
        <p:spPr>
          <a:xfrm>
            <a:off x="9904627" y="5926447"/>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1</a:t>
            </a:r>
          </a:p>
        </p:txBody>
      </p:sp>
      <p:sp>
        <p:nvSpPr>
          <p:cNvPr id="64" name="TextBox 63">
            <a:extLst>
              <a:ext uri="{FF2B5EF4-FFF2-40B4-BE49-F238E27FC236}">
                <a16:creationId xmlns:a16="http://schemas.microsoft.com/office/drawing/2014/main" id="{25301AF7-0A36-A7B2-C80D-769825513485}"/>
              </a:ext>
            </a:extLst>
          </p:cNvPr>
          <p:cNvSpPr txBox="1"/>
          <p:nvPr/>
        </p:nvSpPr>
        <p:spPr>
          <a:xfrm>
            <a:off x="10576048" y="5933405"/>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2</a:t>
            </a:r>
          </a:p>
        </p:txBody>
      </p:sp>
      <p:sp>
        <p:nvSpPr>
          <p:cNvPr id="65" name="TextBox 64">
            <a:extLst>
              <a:ext uri="{FF2B5EF4-FFF2-40B4-BE49-F238E27FC236}">
                <a16:creationId xmlns:a16="http://schemas.microsoft.com/office/drawing/2014/main" id="{82146214-F99E-D2EF-58D7-DD590636032B}"/>
              </a:ext>
            </a:extLst>
          </p:cNvPr>
          <p:cNvSpPr txBox="1"/>
          <p:nvPr/>
        </p:nvSpPr>
        <p:spPr>
          <a:xfrm>
            <a:off x="11131648" y="5926447"/>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3</a:t>
            </a:r>
          </a:p>
        </p:txBody>
      </p:sp>
    </p:spTree>
    <p:extLst>
      <p:ext uri="{BB962C8B-B14F-4D97-AF65-F5344CB8AC3E}">
        <p14:creationId xmlns:p14="http://schemas.microsoft.com/office/powerpoint/2010/main" val="5906768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3895C-F7FF-DC7B-D3EA-359523B9761F}"/>
              </a:ext>
            </a:extLst>
          </p:cNvPr>
          <p:cNvSpPr>
            <a:spLocks noGrp="1"/>
          </p:cNvSpPr>
          <p:nvPr>
            <p:ph type="title"/>
          </p:nvPr>
        </p:nvSpPr>
        <p:spPr>
          <a:xfrm>
            <a:off x="420244" y="343215"/>
            <a:ext cx="11779552" cy="775597"/>
          </a:xfrm>
        </p:spPr>
        <p:txBody>
          <a:bodyPr/>
          <a:lstStyle/>
          <a:p>
            <a:r>
              <a:rPr lang="en-GB" dirty="0"/>
              <a:t>LIPEX® SheaLuxe TR in haircare – in formulation</a:t>
            </a:r>
            <a:br>
              <a:rPr lang="en-GB" dirty="0"/>
            </a:br>
            <a:r>
              <a:rPr lang="en-GB" sz="2000" dirty="0"/>
              <a:t>Has a superior short- and long-term anti-frizzing effect to dimethicone</a:t>
            </a:r>
            <a:endParaRPr lang="sv-SE" sz="2000" dirty="0"/>
          </a:p>
        </p:txBody>
      </p:sp>
      <p:sp>
        <p:nvSpPr>
          <p:cNvPr id="4" name="Footer Placeholder 3">
            <a:extLst>
              <a:ext uri="{FF2B5EF4-FFF2-40B4-BE49-F238E27FC236}">
                <a16:creationId xmlns:a16="http://schemas.microsoft.com/office/drawing/2014/main" id="{6DFBCE54-52DE-35A5-4BEC-474109D37246}"/>
              </a:ext>
            </a:extLst>
          </p:cNvPr>
          <p:cNvSpPr>
            <a:spLocks noGrp="1"/>
          </p:cNvSpPr>
          <p:nvPr>
            <p:ph type="ftr" sz="quarter" idx="11"/>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t>The Co-Development Company</a:t>
            </a:r>
            <a:endParaRPr lang="en-US" sz="1000" noProof="0"/>
          </a:p>
        </p:txBody>
      </p:sp>
      <p:sp>
        <p:nvSpPr>
          <p:cNvPr id="5" name="Slide Number Placeholder 4">
            <a:extLst>
              <a:ext uri="{FF2B5EF4-FFF2-40B4-BE49-F238E27FC236}">
                <a16:creationId xmlns:a16="http://schemas.microsoft.com/office/drawing/2014/main" id="{96C9EDFE-185D-5C09-A2E7-62B039D283DE}"/>
              </a:ext>
            </a:extLst>
          </p:cNvPr>
          <p:cNvSpPr>
            <a:spLocks noGrp="1"/>
          </p:cNvSpPr>
          <p:nvPr>
            <p:ph type="sldNum" sz="quarter" idx="12"/>
          </p:nvPr>
        </p:nvSpPr>
        <p:spPr>
          <a:xfrm>
            <a:off x="11376660" y="6472030"/>
            <a:ext cx="372428" cy="153888"/>
          </a:xfrm>
          <a:prstGeom prst="rect">
            <a:avLst/>
          </a:prstGeom>
        </p:spPr>
        <p:txBody>
          <a:bodyPr vert="horz" wrap="squar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03DD7B-12C8-43B8-9F45-989336E79744}" type="slidenum">
              <a:rPr lang="en-US" sz="1000" smtClean="0"/>
              <a:pPr/>
              <a:t>32</a:t>
            </a:fld>
            <a:endParaRPr lang="en-US" sz="1000" noProof="0"/>
          </a:p>
        </p:txBody>
      </p:sp>
      <p:sp>
        <p:nvSpPr>
          <p:cNvPr id="26" name="TextBox 25">
            <a:extLst>
              <a:ext uri="{FF2B5EF4-FFF2-40B4-BE49-F238E27FC236}">
                <a16:creationId xmlns:a16="http://schemas.microsoft.com/office/drawing/2014/main" id="{26521C73-157D-F8FA-7EF4-5F7E1CAC9089}"/>
              </a:ext>
            </a:extLst>
          </p:cNvPr>
          <p:cNvSpPr txBox="1"/>
          <p:nvPr/>
        </p:nvSpPr>
        <p:spPr>
          <a:xfrm>
            <a:off x="319946" y="5177287"/>
            <a:ext cx="6097772" cy="1169551"/>
          </a:xfrm>
          <a:prstGeom prst="rect">
            <a:avLst/>
          </a:prstGeom>
          <a:noFill/>
          <a:ln>
            <a:noFill/>
          </a:ln>
        </p:spPr>
        <p:txBody>
          <a:bodyPr wrap="square">
            <a:spAutoFit/>
          </a:bodyPr>
          <a:lstStyle/>
          <a:p>
            <a:pPr algn="just"/>
            <a:r>
              <a:rPr lang="en-US" sz="1000" b="1" dirty="0">
                <a:effectLst/>
                <a:ea typeface="Times New Roman" panose="02020603050405020304" pitchFamily="18" charset="0"/>
                <a:cs typeface="Times New Roman" panose="02020603050405020304" pitchFamily="18" charset="0"/>
              </a:rPr>
              <a:t>Procedure: </a:t>
            </a:r>
          </a:p>
          <a:p>
            <a:pPr algn="just"/>
            <a:r>
              <a:rPr lang="sv-SE" sz="1000" dirty="0" err="1">
                <a:effectLst/>
                <a:ea typeface="Times New Roman" panose="02020603050405020304" pitchFamily="18" charset="0"/>
                <a:cs typeface="Times New Roman" panose="02020603050405020304" pitchFamily="18" charset="0"/>
              </a:rPr>
              <a:t>See</a:t>
            </a:r>
            <a:r>
              <a:rPr lang="sv-SE" sz="1000" dirty="0">
                <a:effectLst/>
                <a:ea typeface="Times New Roman" panose="02020603050405020304" pitchFamily="18" charset="0"/>
                <a:cs typeface="Times New Roman" panose="02020603050405020304" pitchFamily="18" charset="0"/>
              </a:rPr>
              <a:t> </a:t>
            </a:r>
            <a:r>
              <a:rPr lang="sv-SE" sz="1000" dirty="0" err="1">
                <a:effectLst/>
                <a:ea typeface="Times New Roman" panose="02020603050405020304" pitchFamily="18" charset="0"/>
                <a:cs typeface="Times New Roman" panose="02020603050405020304" pitchFamily="18" charset="0"/>
              </a:rPr>
              <a:t>previous</a:t>
            </a:r>
            <a:r>
              <a:rPr lang="sv-SE" sz="1000" dirty="0">
                <a:effectLst/>
                <a:ea typeface="Times New Roman" panose="02020603050405020304" pitchFamily="18" charset="0"/>
                <a:cs typeface="Times New Roman" panose="02020603050405020304" pitchFamily="18" charset="0"/>
              </a:rPr>
              <a:t> </a:t>
            </a:r>
            <a:r>
              <a:rPr lang="sv-SE" sz="1000" dirty="0" err="1">
                <a:effectLst/>
                <a:ea typeface="Times New Roman" panose="02020603050405020304" pitchFamily="18" charset="0"/>
                <a:cs typeface="Times New Roman" panose="02020603050405020304" pitchFamily="18" charset="0"/>
              </a:rPr>
              <a:t>slide</a:t>
            </a:r>
            <a:endParaRPr lang="en-US" sz="1000" dirty="0">
              <a:effectLst/>
              <a:ea typeface="Times New Roman" panose="02020603050405020304" pitchFamily="18" charset="0"/>
              <a:cs typeface="Times New Roman" panose="02020603050405020304" pitchFamily="18" charset="0"/>
            </a:endParaRPr>
          </a:p>
          <a:p>
            <a:pPr marL="171450" indent="-171450" algn="just">
              <a:buFontTx/>
              <a:buChar char="-"/>
            </a:pPr>
            <a:endParaRPr lang="sv-SE" sz="1000" dirty="0">
              <a:ea typeface="Times New Roman" panose="02020603050405020304" pitchFamily="18" charset="0"/>
              <a:cs typeface="Times New Roman" panose="02020603050405020304" pitchFamily="18" charset="0"/>
            </a:endParaRPr>
          </a:p>
          <a:p>
            <a:pPr algn="l">
              <a:buClr>
                <a:schemeClr val="tx2"/>
              </a:buClr>
            </a:pPr>
            <a:r>
              <a:rPr lang="sv-SE" sz="1000" b="1" spc="-30" dirty="0" err="1">
                <a:solidFill>
                  <a:schemeClr val="tx2"/>
                </a:solidFill>
              </a:rPr>
              <a:t>Formulation</a:t>
            </a:r>
            <a:r>
              <a:rPr lang="sv-SE" sz="1000" b="1" spc="-30" dirty="0">
                <a:solidFill>
                  <a:schemeClr val="tx2"/>
                </a:solidFill>
              </a:rPr>
              <a:t>: </a:t>
            </a:r>
          </a:p>
          <a:p>
            <a:pPr algn="l">
              <a:buClr>
                <a:schemeClr val="tx2"/>
              </a:buClr>
            </a:pPr>
            <a:r>
              <a:rPr lang="sv-SE" sz="1000" spc="-30" dirty="0" err="1">
                <a:solidFill>
                  <a:schemeClr val="tx2"/>
                </a:solidFill>
              </a:rPr>
              <a:t>Hair</a:t>
            </a:r>
            <a:r>
              <a:rPr lang="sv-SE" sz="1000" spc="-30" dirty="0">
                <a:solidFill>
                  <a:schemeClr val="tx2"/>
                </a:solidFill>
              </a:rPr>
              <a:t> </a:t>
            </a:r>
            <a:r>
              <a:rPr lang="sv-SE" sz="1000" spc="-30" dirty="0" err="1">
                <a:solidFill>
                  <a:schemeClr val="tx2"/>
                </a:solidFill>
              </a:rPr>
              <a:t>oil</a:t>
            </a:r>
            <a:r>
              <a:rPr lang="sv-SE" sz="1000" spc="-30" dirty="0">
                <a:solidFill>
                  <a:schemeClr val="tx2"/>
                </a:solidFill>
              </a:rPr>
              <a:t> </a:t>
            </a:r>
            <a:r>
              <a:rPr lang="sv-SE" sz="1000" spc="-30" dirty="0" err="1">
                <a:solidFill>
                  <a:schemeClr val="tx2"/>
                </a:solidFill>
              </a:rPr>
              <a:t>inspired</a:t>
            </a:r>
            <a:r>
              <a:rPr lang="sv-SE" sz="1000" spc="-30" dirty="0">
                <a:solidFill>
                  <a:schemeClr val="tx2"/>
                </a:solidFill>
              </a:rPr>
              <a:t> from a market </a:t>
            </a:r>
            <a:r>
              <a:rPr lang="sv-SE" sz="1000" spc="-30" dirty="0" err="1">
                <a:solidFill>
                  <a:schemeClr val="tx2"/>
                </a:solidFill>
              </a:rPr>
              <a:t>product</a:t>
            </a:r>
            <a:r>
              <a:rPr lang="sv-SE" sz="1000" spc="-30" dirty="0">
                <a:solidFill>
                  <a:schemeClr val="tx2"/>
                </a:solidFill>
              </a:rPr>
              <a:t>: 20% </a:t>
            </a:r>
            <a:r>
              <a:rPr lang="sv-SE" sz="1000" spc="-30" dirty="0" err="1">
                <a:solidFill>
                  <a:schemeClr val="tx2"/>
                </a:solidFill>
              </a:rPr>
              <a:t>Canola</a:t>
            </a:r>
            <a:r>
              <a:rPr lang="sv-SE" sz="1000" spc="-30" dirty="0">
                <a:solidFill>
                  <a:schemeClr val="tx2"/>
                </a:solidFill>
              </a:rPr>
              <a:t> </a:t>
            </a:r>
            <a:r>
              <a:rPr lang="sv-SE" sz="1000" spc="-30" dirty="0" err="1">
                <a:solidFill>
                  <a:schemeClr val="tx2"/>
                </a:solidFill>
              </a:rPr>
              <a:t>oil</a:t>
            </a:r>
            <a:r>
              <a:rPr lang="sv-SE" sz="1000" spc="-30" dirty="0">
                <a:solidFill>
                  <a:schemeClr val="tx2"/>
                </a:solidFill>
              </a:rPr>
              <a:t>, 20% </a:t>
            </a:r>
            <a:r>
              <a:rPr lang="sv-SE" sz="1000" spc="-30" dirty="0" err="1">
                <a:solidFill>
                  <a:schemeClr val="tx2"/>
                </a:solidFill>
              </a:rPr>
              <a:t>Argania</a:t>
            </a:r>
            <a:r>
              <a:rPr lang="sv-SE" sz="1000" spc="-30" dirty="0">
                <a:solidFill>
                  <a:schemeClr val="tx2"/>
                </a:solidFill>
              </a:rPr>
              <a:t> </a:t>
            </a:r>
            <a:r>
              <a:rPr lang="sv-SE" sz="1000" spc="-30" dirty="0" err="1">
                <a:solidFill>
                  <a:schemeClr val="tx2"/>
                </a:solidFill>
              </a:rPr>
              <a:t>spinosa</a:t>
            </a:r>
            <a:r>
              <a:rPr lang="sv-SE" sz="1000" spc="-30" dirty="0">
                <a:solidFill>
                  <a:schemeClr val="tx2"/>
                </a:solidFill>
              </a:rPr>
              <a:t> </a:t>
            </a:r>
            <a:r>
              <a:rPr lang="sv-SE" sz="1000" spc="-30" dirty="0" err="1">
                <a:solidFill>
                  <a:schemeClr val="tx2"/>
                </a:solidFill>
              </a:rPr>
              <a:t>kernel</a:t>
            </a:r>
            <a:r>
              <a:rPr lang="sv-SE" sz="1000" spc="-30" dirty="0">
                <a:solidFill>
                  <a:schemeClr val="tx2"/>
                </a:solidFill>
              </a:rPr>
              <a:t> (Argan) </a:t>
            </a:r>
            <a:r>
              <a:rPr lang="sv-SE" sz="1000" spc="-30" dirty="0" err="1">
                <a:solidFill>
                  <a:schemeClr val="tx2"/>
                </a:solidFill>
              </a:rPr>
              <a:t>oil</a:t>
            </a:r>
            <a:r>
              <a:rPr lang="sv-SE" sz="1000" spc="-30" dirty="0">
                <a:solidFill>
                  <a:schemeClr val="tx2"/>
                </a:solidFill>
              </a:rPr>
              <a:t>, 10% </a:t>
            </a:r>
            <a:r>
              <a:rPr lang="sv-SE" sz="1000" spc="-30" dirty="0" err="1">
                <a:solidFill>
                  <a:schemeClr val="tx2"/>
                </a:solidFill>
              </a:rPr>
              <a:t>Ricinus</a:t>
            </a:r>
            <a:r>
              <a:rPr lang="sv-SE" sz="1000" spc="-30" dirty="0">
                <a:solidFill>
                  <a:schemeClr val="tx2"/>
                </a:solidFill>
              </a:rPr>
              <a:t> </a:t>
            </a:r>
            <a:r>
              <a:rPr lang="sv-SE" sz="1000" spc="-30" dirty="0" err="1">
                <a:solidFill>
                  <a:schemeClr val="tx2"/>
                </a:solidFill>
              </a:rPr>
              <a:t>Communis</a:t>
            </a:r>
            <a:r>
              <a:rPr lang="sv-SE" sz="1000" spc="-30" dirty="0">
                <a:solidFill>
                  <a:schemeClr val="tx2"/>
                </a:solidFill>
              </a:rPr>
              <a:t> (Castor) </a:t>
            </a:r>
            <a:r>
              <a:rPr lang="sv-SE" sz="1000" spc="-30" dirty="0" err="1">
                <a:solidFill>
                  <a:schemeClr val="tx2"/>
                </a:solidFill>
              </a:rPr>
              <a:t>Seed</a:t>
            </a:r>
            <a:r>
              <a:rPr lang="sv-SE" sz="1000" spc="-30" dirty="0">
                <a:solidFill>
                  <a:schemeClr val="tx2"/>
                </a:solidFill>
              </a:rPr>
              <a:t> </a:t>
            </a:r>
            <a:r>
              <a:rPr lang="sv-SE" sz="1000" spc="-30" dirty="0" err="1">
                <a:solidFill>
                  <a:schemeClr val="tx2"/>
                </a:solidFill>
              </a:rPr>
              <a:t>oil</a:t>
            </a:r>
            <a:r>
              <a:rPr lang="sv-SE" sz="1000" spc="-30" dirty="0">
                <a:solidFill>
                  <a:schemeClr val="tx2"/>
                </a:solidFill>
              </a:rPr>
              <a:t>, 10% </a:t>
            </a:r>
            <a:r>
              <a:rPr lang="sv-SE" sz="1000" spc="-30" dirty="0" err="1">
                <a:solidFill>
                  <a:schemeClr val="tx2"/>
                </a:solidFill>
              </a:rPr>
              <a:t>Prunus</a:t>
            </a:r>
            <a:r>
              <a:rPr lang="sv-SE" sz="1000" spc="-30" dirty="0">
                <a:solidFill>
                  <a:schemeClr val="tx2"/>
                </a:solidFill>
              </a:rPr>
              <a:t> </a:t>
            </a:r>
            <a:r>
              <a:rPr lang="sv-SE" sz="1000" spc="-30" dirty="0" err="1">
                <a:solidFill>
                  <a:schemeClr val="tx2"/>
                </a:solidFill>
              </a:rPr>
              <a:t>Armeniaca</a:t>
            </a:r>
            <a:r>
              <a:rPr lang="sv-SE" sz="1000" spc="-30" dirty="0">
                <a:solidFill>
                  <a:schemeClr val="tx2"/>
                </a:solidFill>
              </a:rPr>
              <a:t> (Apricot) </a:t>
            </a:r>
            <a:r>
              <a:rPr lang="sv-SE" sz="1000" spc="-30" dirty="0" err="1">
                <a:solidFill>
                  <a:schemeClr val="tx2"/>
                </a:solidFill>
              </a:rPr>
              <a:t>Kernel</a:t>
            </a:r>
            <a:r>
              <a:rPr lang="sv-SE" sz="1000" spc="-30" dirty="0">
                <a:solidFill>
                  <a:schemeClr val="tx2"/>
                </a:solidFill>
              </a:rPr>
              <a:t> Oil, 25% Test Product</a:t>
            </a:r>
          </a:p>
          <a:p>
            <a:pPr algn="just"/>
            <a:endParaRPr lang="en-US" sz="1000" dirty="0">
              <a:ea typeface="Times New Roman" panose="02020603050405020304" pitchFamily="18" charset="0"/>
              <a:cs typeface="Times New Roman" panose="02020603050405020304" pitchFamily="18" charset="0"/>
            </a:endParaRPr>
          </a:p>
        </p:txBody>
      </p:sp>
      <p:graphicFrame>
        <p:nvGraphicFramePr>
          <p:cNvPr id="8" name="Chart 7">
            <a:extLst>
              <a:ext uri="{FF2B5EF4-FFF2-40B4-BE49-F238E27FC236}">
                <a16:creationId xmlns:a16="http://schemas.microsoft.com/office/drawing/2014/main" id="{5FF5952E-3CA5-42AD-BF8F-9B616E6B7249}"/>
              </a:ext>
            </a:extLst>
          </p:cNvPr>
          <p:cNvGraphicFramePr>
            <a:graphicFrameLocks/>
          </p:cNvGraphicFramePr>
          <p:nvPr/>
        </p:nvGraphicFramePr>
        <p:xfrm>
          <a:off x="409301" y="1258566"/>
          <a:ext cx="7030371" cy="3125156"/>
        </p:xfrm>
        <a:graphic>
          <a:graphicData uri="http://schemas.openxmlformats.org/drawingml/2006/chart">
            <c:chart xmlns:c="http://schemas.openxmlformats.org/drawingml/2006/chart" xmlns:r="http://schemas.openxmlformats.org/officeDocument/2006/relationships" r:id="rId2"/>
          </a:graphicData>
        </a:graphic>
      </p:graphicFrame>
      <p:sp>
        <p:nvSpPr>
          <p:cNvPr id="38" name="TextBox 37">
            <a:extLst>
              <a:ext uri="{FF2B5EF4-FFF2-40B4-BE49-F238E27FC236}">
                <a16:creationId xmlns:a16="http://schemas.microsoft.com/office/drawing/2014/main" id="{6F5DA177-93AC-1B58-E72F-17B14252FE95}"/>
              </a:ext>
            </a:extLst>
          </p:cNvPr>
          <p:cNvSpPr txBox="1"/>
          <p:nvPr/>
        </p:nvSpPr>
        <p:spPr>
          <a:xfrm>
            <a:off x="8423877" y="6207288"/>
            <a:ext cx="2404483" cy="461665"/>
          </a:xfrm>
          <a:prstGeom prst="rect">
            <a:avLst/>
          </a:prstGeom>
          <a:noFill/>
          <a:ln>
            <a:noFill/>
          </a:ln>
        </p:spPr>
        <p:txBody>
          <a:bodyPr wrap="square" lIns="0" tIns="0" rIns="0" bIns="0" rtlCol="0">
            <a:spAutoFit/>
          </a:bodyPr>
          <a:lstStyle/>
          <a:p>
            <a:pPr marL="342900" indent="-342900" algn="l">
              <a:buClr>
                <a:schemeClr val="tx2"/>
              </a:buClr>
              <a:buFont typeface="+mj-lt"/>
              <a:buAutoNum type="arabicPeriod"/>
            </a:pPr>
            <a:r>
              <a:rPr lang="sv-SE" sz="1000" spc="-30" dirty="0">
                <a:solidFill>
                  <a:schemeClr val="tx2"/>
                </a:solidFill>
              </a:rPr>
              <a:t>Control (</a:t>
            </a:r>
            <a:r>
              <a:rPr lang="sv-SE" sz="1000" spc="-30" dirty="0" err="1">
                <a:solidFill>
                  <a:schemeClr val="tx2"/>
                </a:solidFill>
              </a:rPr>
              <a:t>vegetable</a:t>
            </a:r>
            <a:r>
              <a:rPr lang="sv-SE" sz="1000" spc="-30" dirty="0">
                <a:solidFill>
                  <a:schemeClr val="tx2"/>
                </a:solidFill>
              </a:rPr>
              <a:t> </a:t>
            </a:r>
            <a:r>
              <a:rPr lang="sv-SE" sz="1000" spc="-30" dirty="0" err="1">
                <a:solidFill>
                  <a:schemeClr val="tx2"/>
                </a:solidFill>
              </a:rPr>
              <a:t>oil</a:t>
            </a:r>
            <a:r>
              <a:rPr lang="sv-SE" sz="1000" spc="-30" dirty="0">
                <a:solidFill>
                  <a:schemeClr val="tx2"/>
                </a:solidFill>
              </a:rPr>
              <a:t>)</a:t>
            </a:r>
          </a:p>
          <a:p>
            <a:pPr marL="342900" indent="-342900" algn="l">
              <a:buClr>
                <a:schemeClr val="tx2"/>
              </a:buClr>
              <a:buFont typeface="+mj-lt"/>
              <a:buAutoNum type="arabicPeriod"/>
            </a:pPr>
            <a:r>
              <a:rPr lang="sv-SE" sz="1000" spc="-30" dirty="0">
                <a:solidFill>
                  <a:schemeClr val="tx2"/>
                </a:solidFill>
              </a:rPr>
              <a:t>Dimethicone 5mPa.s</a:t>
            </a:r>
          </a:p>
          <a:p>
            <a:pPr marL="342900" indent="-342900" algn="l">
              <a:buClr>
                <a:schemeClr val="tx2"/>
              </a:buClr>
              <a:buFont typeface="+mj-lt"/>
              <a:buAutoNum type="arabicPeriod"/>
            </a:pPr>
            <a:r>
              <a:rPr lang="sv-SE" sz="1000" spc="-30" dirty="0">
                <a:solidFill>
                  <a:schemeClr val="tx2"/>
                </a:solidFill>
              </a:rPr>
              <a:t>LIPEX SheaLuxe TR</a:t>
            </a:r>
          </a:p>
        </p:txBody>
      </p:sp>
      <p:sp>
        <p:nvSpPr>
          <p:cNvPr id="39" name="TextBox 38">
            <a:extLst>
              <a:ext uri="{FF2B5EF4-FFF2-40B4-BE49-F238E27FC236}">
                <a16:creationId xmlns:a16="http://schemas.microsoft.com/office/drawing/2014/main" id="{27B2FF3B-F758-1D69-52D7-47EEF401700E}"/>
              </a:ext>
            </a:extLst>
          </p:cNvPr>
          <p:cNvSpPr txBox="1"/>
          <p:nvPr/>
        </p:nvSpPr>
        <p:spPr>
          <a:xfrm>
            <a:off x="420244" y="4438623"/>
            <a:ext cx="6935915" cy="738664"/>
          </a:xfrm>
          <a:prstGeom prst="rect">
            <a:avLst/>
          </a:prstGeom>
          <a:noFill/>
          <a:ln>
            <a:noFill/>
          </a:ln>
        </p:spPr>
        <p:txBody>
          <a:bodyPr wrap="square" lIns="0" tIns="0" rIns="0" bIns="0" rtlCol="0">
            <a:spAutoFit/>
          </a:bodyPr>
          <a:lstStyle/>
          <a:p>
            <a:pPr algn="l">
              <a:buClr>
                <a:schemeClr val="tx2"/>
              </a:buClr>
            </a:pPr>
            <a:r>
              <a:rPr lang="en-GB" sz="1600" spc="-30" dirty="0">
                <a:solidFill>
                  <a:srgbClr val="2067CA"/>
                </a:solidFill>
              </a:rPr>
              <a:t>LIPEX® SheaLuxe TR has a superior effect reducing frizz at application, </a:t>
            </a:r>
          </a:p>
          <a:p>
            <a:pPr algn="l">
              <a:buClr>
                <a:schemeClr val="tx2"/>
              </a:buClr>
            </a:pPr>
            <a:r>
              <a:rPr lang="en-GB" sz="1600" spc="-30" dirty="0">
                <a:solidFill>
                  <a:srgbClr val="2067CA"/>
                </a:solidFill>
              </a:rPr>
              <a:t>and is the only one able to prevent frizz generation over time in a humid environment</a:t>
            </a:r>
          </a:p>
        </p:txBody>
      </p:sp>
      <p:pic>
        <p:nvPicPr>
          <p:cNvPr id="66" name="Picture 1">
            <a:extLst>
              <a:ext uri="{FF2B5EF4-FFF2-40B4-BE49-F238E27FC236}">
                <a16:creationId xmlns:a16="http://schemas.microsoft.com/office/drawing/2014/main" id="{6283B289-568D-B012-FF83-F6AD01B8A6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01166" y="1087115"/>
            <a:ext cx="638984" cy="2400035"/>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2">
            <a:extLst>
              <a:ext uri="{FF2B5EF4-FFF2-40B4-BE49-F238E27FC236}">
                <a16:creationId xmlns:a16="http://schemas.microsoft.com/office/drawing/2014/main" id="{B533AEF4-035B-CF97-5ACF-43DE252D762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40150" y="1087116"/>
            <a:ext cx="560030" cy="2400035"/>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a:extLst>
              <a:ext uri="{FF2B5EF4-FFF2-40B4-BE49-F238E27FC236}">
                <a16:creationId xmlns:a16="http://schemas.microsoft.com/office/drawing/2014/main" id="{633B3733-520C-5009-981C-41B6AA63C25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 r="-6054" b="555"/>
          <a:stretch/>
        </p:blipFill>
        <p:spPr bwMode="auto">
          <a:xfrm>
            <a:off x="8900181" y="1087115"/>
            <a:ext cx="560029" cy="2400035"/>
          </a:xfrm>
          <a:prstGeom prst="rect">
            <a:avLst/>
          </a:prstGeom>
          <a:noFill/>
          <a:extLst>
            <a:ext uri="{909E8E84-426E-40DD-AFC4-6F175D3DCCD1}">
              <a14:hiddenFill xmlns:a14="http://schemas.microsoft.com/office/drawing/2010/main">
                <a:solidFill>
                  <a:srgbClr val="FFFFFF"/>
                </a:solidFill>
              </a14:hiddenFill>
            </a:ext>
          </a:extLst>
        </p:spPr>
      </p:pic>
      <p:sp>
        <p:nvSpPr>
          <p:cNvPr id="69" name="TextBox 68">
            <a:extLst>
              <a:ext uri="{FF2B5EF4-FFF2-40B4-BE49-F238E27FC236}">
                <a16:creationId xmlns:a16="http://schemas.microsoft.com/office/drawing/2014/main" id="{27BFA27D-CBE9-0E03-27B1-F6721CFA94E5}"/>
              </a:ext>
            </a:extLst>
          </p:cNvPr>
          <p:cNvSpPr txBox="1"/>
          <p:nvPr/>
        </p:nvSpPr>
        <p:spPr>
          <a:xfrm>
            <a:off x="8057943" y="1092380"/>
            <a:ext cx="1184366" cy="246221"/>
          </a:xfrm>
          <a:prstGeom prst="rect">
            <a:avLst/>
          </a:prstGeom>
          <a:solidFill>
            <a:schemeClr val="bg1"/>
          </a:solidFill>
          <a:ln>
            <a:noFill/>
          </a:ln>
        </p:spPr>
        <p:txBody>
          <a:bodyPr wrap="square" lIns="0" tIns="0" rIns="0" bIns="0" rtlCol="0">
            <a:spAutoFit/>
          </a:bodyPr>
          <a:lstStyle/>
          <a:p>
            <a:pPr algn="ctr">
              <a:buClr>
                <a:schemeClr val="tx2"/>
              </a:buClr>
            </a:pPr>
            <a:r>
              <a:rPr lang="en-GB" sz="1600" spc="-30">
                <a:solidFill>
                  <a:schemeClr val="tx2"/>
                </a:solidFill>
              </a:rPr>
              <a:t>Untreated</a:t>
            </a:r>
          </a:p>
        </p:txBody>
      </p:sp>
      <p:pic>
        <p:nvPicPr>
          <p:cNvPr id="70" name="Picture 8">
            <a:extLst>
              <a:ext uri="{FF2B5EF4-FFF2-40B4-BE49-F238E27FC236}">
                <a16:creationId xmlns:a16="http://schemas.microsoft.com/office/drawing/2014/main" id="{4E388319-8B2F-305A-07C3-0F3278CC06A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6852"/>
          <a:stretch/>
        </p:blipFill>
        <p:spPr bwMode="auto">
          <a:xfrm>
            <a:off x="9599086" y="1087421"/>
            <a:ext cx="570136" cy="2399729"/>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9">
            <a:extLst>
              <a:ext uri="{FF2B5EF4-FFF2-40B4-BE49-F238E27FC236}">
                <a16:creationId xmlns:a16="http://schemas.microsoft.com/office/drawing/2014/main" id="{106A9E9E-B67B-BADB-9D12-A8B99DA3B8B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69222" y="1087115"/>
            <a:ext cx="495491" cy="2399729"/>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10">
            <a:extLst>
              <a:ext uri="{FF2B5EF4-FFF2-40B4-BE49-F238E27FC236}">
                <a16:creationId xmlns:a16="http://schemas.microsoft.com/office/drawing/2014/main" id="{6C4272CE-106C-28B9-88EE-8FE4FA5B699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664713" y="1097755"/>
            <a:ext cx="412052" cy="240363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1">
            <a:extLst>
              <a:ext uri="{FF2B5EF4-FFF2-40B4-BE49-F238E27FC236}">
                <a16:creationId xmlns:a16="http://schemas.microsoft.com/office/drawing/2014/main" id="{8A7EB85F-D065-185C-CB1D-A5221FCF25F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0969"/>
          <a:stretch/>
        </p:blipFill>
        <p:spPr bwMode="auto">
          <a:xfrm>
            <a:off x="7731407" y="3701893"/>
            <a:ext cx="570382" cy="2388870"/>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2">
            <a:extLst>
              <a:ext uri="{FF2B5EF4-FFF2-40B4-BE49-F238E27FC236}">
                <a16:creationId xmlns:a16="http://schemas.microsoft.com/office/drawing/2014/main" id="{5E6E7966-9188-E1EC-1790-E360CD524FE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94601" y="3692365"/>
            <a:ext cx="581216" cy="2389442"/>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3">
            <a:extLst>
              <a:ext uri="{FF2B5EF4-FFF2-40B4-BE49-F238E27FC236}">
                <a16:creationId xmlns:a16="http://schemas.microsoft.com/office/drawing/2014/main" id="{3E77FB52-8213-7927-9754-EC6E8FAEC50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875038" y="3704959"/>
            <a:ext cx="492443" cy="2378393"/>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8">
            <a:extLst>
              <a:ext uri="{FF2B5EF4-FFF2-40B4-BE49-F238E27FC236}">
                <a16:creationId xmlns:a16="http://schemas.microsoft.com/office/drawing/2014/main" id="{605E6D5B-2D88-0950-E6B1-A0B97E317FAF}"/>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17447" r="8517"/>
          <a:stretch/>
        </p:blipFill>
        <p:spPr bwMode="auto">
          <a:xfrm>
            <a:off x="9594533" y="3714478"/>
            <a:ext cx="573745" cy="2367915"/>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9">
            <a:extLst>
              <a:ext uri="{FF2B5EF4-FFF2-40B4-BE49-F238E27FC236}">
                <a16:creationId xmlns:a16="http://schemas.microsoft.com/office/drawing/2014/main" id="{2C157179-729D-9494-CD71-061BE9C8D4F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156276" y="3714476"/>
            <a:ext cx="672084" cy="2357628"/>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10">
            <a:extLst>
              <a:ext uri="{FF2B5EF4-FFF2-40B4-BE49-F238E27FC236}">
                <a16:creationId xmlns:a16="http://schemas.microsoft.com/office/drawing/2014/main" id="{37ED6CA4-FB39-B773-E1B3-5C269052A7E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786550" y="3714474"/>
            <a:ext cx="555498" cy="2355723"/>
          </a:xfrm>
          <a:prstGeom prst="rect">
            <a:avLst/>
          </a:prstGeom>
          <a:noFill/>
          <a:extLst>
            <a:ext uri="{909E8E84-426E-40DD-AFC4-6F175D3DCCD1}">
              <a14:hiddenFill xmlns:a14="http://schemas.microsoft.com/office/drawing/2010/main">
                <a:solidFill>
                  <a:srgbClr val="FFFFFF"/>
                </a:solidFill>
              </a14:hiddenFill>
            </a:ext>
          </a:extLst>
        </p:spPr>
      </p:pic>
      <p:sp>
        <p:nvSpPr>
          <p:cNvPr id="79" name="TextBox 78">
            <a:extLst>
              <a:ext uri="{FF2B5EF4-FFF2-40B4-BE49-F238E27FC236}">
                <a16:creationId xmlns:a16="http://schemas.microsoft.com/office/drawing/2014/main" id="{3F1FCFDF-4DA7-72CA-07BC-8A68FBD0D459}"/>
              </a:ext>
            </a:extLst>
          </p:cNvPr>
          <p:cNvSpPr txBox="1"/>
          <p:nvPr/>
        </p:nvSpPr>
        <p:spPr>
          <a:xfrm>
            <a:off x="9802340" y="1092380"/>
            <a:ext cx="1184366" cy="246221"/>
          </a:xfrm>
          <a:prstGeom prst="rect">
            <a:avLst/>
          </a:prstGeom>
          <a:solidFill>
            <a:schemeClr val="bg1"/>
          </a:solidFill>
          <a:ln>
            <a:noFill/>
          </a:ln>
        </p:spPr>
        <p:txBody>
          <a:bodyPr wrap="square" lIns="0" tIns="0" rIns="0" bIns="0" rtlCol="0">
            <a:spAutoFit/>
          </a:bodyPr>
          <a:lstStyle/>
          <a:p>
            <a:pPr algn="ctr">
              <a:buClr>
                <a:schemeClr val="tx2"/>
              </a:buClr>
            </a:pPr>
            <a:r>
              <a:rPr lang="en-GB" sz="1600" spc="-30">
                <a:solidFill>
                  <a:schemeClr val="tx2"/>
                </a:solidFill>
              </a:rPr>
              <a:t>T=0</a:t>
            </a:r>
          </a:p>
        </p:txBody>
      </p:sp>
      <p:sp>
        <p:nvSpPr>
          <p:cNvPr id="80" name="TextBox 79">
            <a:extLst>
              <a:ext uri="{FF2B5EF4-FFF2-40B4-BE49-F238E27FC236}">
                <a16:creationId xmlns:a16="http://schemas.microsoft.com/office/drawing/2014/main" id="{CDAD3C42-6756-A930-2167-8E0914F4ED87}"/>
              </a:ext>
            </a:extLst>
          </p:cNvPr>
          <p:cNvSpPr txBox="1"/>
          <p:nvPr/>
        </p:nvSpPr>
        <p:spPr>
          <a:xfrm>
            <a:off x="7990092" y="3693395"/>
            <a:ext cx="1184366" cy="246221"/>
          </a:xfrm>
          <a:prstGeom prst="rect">
            <a:avLst/>
          </a:prstGeom>
          <a:solidFill>
            <a:schemeClr val="bg1"/>
          </a:solidFill>
          <a:ln>
            <a:noFill/>
          </a:ln>
        </p:spPr>
        <p:txBody>
          <a:bodyPr wrap="square" lIns="0" tIns="0" rIns="0" bIns="0" rtlCol="0">
            <a:spAutoFit/>
          </a:bodyPr>
          <a:lstStyle/>
          <a:p>
            <a:pPr algn="ctr">
              <a:buClr>
                <a:schemeClr val="tx2"/>
              </a:buClr>
            </a:pPr>
            <a:r>
              <a:rPr lang="en-GB" sz="1600" spc="-30">
                <a:solidFill>
                  <a:schemeClr val="tx2"/>
                </a:solidFill>
              </a:rPr>
              <a:t>T=1</a:t>
            </a:r>
          </a:p>
        </p:txBody>
      </p:sp>
      <p:sp>
        <p:nvSpPr>
          <p:cNvPr id="81" name="TextBox 80">
            <a:extLst>
              <a:ext uri="{FF2B5EF4-FFF2-40B4-BE49-F238E27FC236}">
                <a16:creationId xmlns:a16="http://schemas.microsoft.com/office/drawing/2014/main" id="{DEEFEE73-D1A4-94B2-B3E4-D9FBEBC745E9}"/>
              </a:ext>
            </a:extLst>
          </p:cNvPr>
          <p:cNvSpPr txBox="1"/>
          <p:nvPr/>
        </p:nvSpPr>
        <p:spPr>
          <a:xfrm>
            <a:off x="9824784" y="3693395"/>
            <a:ext cx="1184366" cy="246221"/>
          </a:xfrm>
          <a:prstGeom prst="rect">
            <a:avLst/>
          </a:prstGeom>
          <a:solidFill>
            <a:schemeClr val="bg1"/>
          </a:solidFill>
          <a:ln>
            <a:noFill/>
          </a:ln>
        </p:spPr>
        <p:txBody>
          <a:bodyPr wrap="square" lIns="0" tIns="0" rIns="0" bIns="0" rtlCol="0">
            <a:spAutoFit/>
          </a:bodyPr>
          <a:lstStyle/>
          <a:p>
            <a:pPr algn="ctr">
              <a:buClr>
                <a:schemeClr val="tx2"/>
              </a:buClr>
            </a:pPr>
            <a:r>
              <a:rPr lang="en-GB" sz="1600" spc="-30">
                <a:solidFill>
                  <a:schemeClr val="tx2"/>
                </a:solidFill>
              </a:rPr>
              <a:t>T=8</a:t>
            </a:r>
          </a:p>
        </p:txBody>
      </p:sp>
      <p:sp>
        <p:nvSpPr>
          <p:cNvPr id="82" name="TextBox 81">
            <a:extLst>
              <a:ext uri="{FF2B5EF4-FFF2-40B4-BE49-F238E27FC236}">
                <a16:creationId xmlns:a16="http://schemas.microsoft.com/office/drawing/2014/main" id="{7EF20DE6-316B-4D13-16A0-054447849E1D}"/>
              </a:ext>
            </a:extLst>
          </p:cNvPr>
          <p:cNvSpPr txBox="1"/>
          <p:nvPr/>
        </p:nvSpPr>
        <p:spPr>
          <a:xfrm>
            <a:off x="7685368" y="3236572"/>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1</a:t>
            </a:r>
          </a:p>
        </p:txBody>
      </p:sp>
      <p:sp>
        <p:nvSpPr>
          <p:cNvPr id="83" name="TextBox 82">
            <a:extLst>
              <a:ext uri="{FF2B5EF4-FFF2-40B4-BE49-F238E27FC236}">
                <a16:creationId xmlns:a16="http://schemas.microsoft.com/office/drawing/2014/main" id="{29C43F1F-1508-598B-72EB-4AE9B73241E5}"/>
              </a:ext>
            </a:extLst>
          </p:cNvPr>
          <p:cNvSpPr txBox="1"/>
          <p:nvPr/>
        </p:nvSpPr>
        <p:spPr>
          <a:xfrm>
            <a:off x="8356789" y="3243530"/>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2</a:t>
            </a:r>
          </a:p>
        </p:txBody>
      </p:sp>
      <p:sp>
        <p:nvSpPr>
          <p:cNvPr id="84" name="TextBox 83">
            <a:extLst>
              <a:ext uri="{FF2B5EF4-FFF2-40B4-BE49-F238E27FC236}">
                <a16:creationId xmlns:a16="http://schemas.microsoft.com/office/drawing/2014/main" id="{79B322E7-0EAE-1D15-381C-36F2E9A4FB99}"/>
              </a:ext>
            </a:extLst>
          </p:cNvPr>
          <p:cNvSpPr txBox="1"/>
          <p:nvPr/>
        </p:nvSpPr>
        <p:spPr>
          <a:xfrm>
            <a:off x="8912389" y="3236572"/>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3</a:t>
            </a:r>
          </a:p>
        </p:txBody>
      </p:sp>
      <p:sp>
        <p:nvSpPr>
          <p:cNvPr id="85" name="TextBox 84">
            <a:extLst>
              <a:ext uri="{FF2B5EF4-FFF2-40B4-BE49-F238E27FC236}">
                <a16:creationId xmlns:a16="http://schemas.microsoft.com/office/drawing/2014/main" id="{C21D9274-C2AD-1D25-AED8-05DEAE155CBB}"/>
              </a:ext>
            </a:extLst>
          </p:cNvPr>
          <p:cNvSpPr txBox="1"/>
          <p:nvPr/>
        </p:nvSpPr>
        <p:spPr>
          <a:xfrm>
            <a:off x="9586423" y="3238148"/>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1</a:t>
            </a:r>
          </a:p>
        </p:txBody>
      </p:sp>
      <p:sp>
        <p:nvSpPr>
          <p:cNvPr id="86" name="TextBox 85">
            <a:extLst>
              <a:ext uri="{FF2B5EF4-FFF2-40B4-BE49-F238E27FC236}">
                <a16:creationId xmlns:a16="http://schemas.microsoft.com/office/drawing/2014/main" id="{AB5834CF-6119-797E-05F4-BB4499BDD8E7}"/>
              </a:ext>
            </a:extLst>
          </p:cNvPr>
          <p:cNvSpPr txBox="1"/>
          <p:nvPr/>
        </p:nvSpPr>
        <p:spPr>
          <a:xfrm>
            <a:off x="10175681" y="3246114"/>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2</a:t>
            </a:r>
          </a:p>
        </p:txBody>
      </p:sp>
      <p:sp>
        <p:nvSpPr>
          <p:cNvPr id="87" name="TextBox 86">
            <a:extLst>
              <a:ext uri="{FF2B5EF4-FFF2-40B4-BE49-F238E27FC236}">
                <a16:creationId xmlns:a16="http://schemas.microsoft.com/office/drawing/2014/main" id="{B7F785D4-3148-C8D8-E086-FC85E0053127}"/>
              </a:ext>
            </a:extLst>
          </p:cNvPr>
          <p:cNvSpPr txBox="1"/>
          <p:nvPr/>
        </p:nvSpPr>
        <p:spPr>
          <a:xfrm>
            <a:off x="10665593" y="3259033"/>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3</a:t>
            </a:r>
          </a:p>
        </p:txBody>
      </p:sp>
      <p:sp>
        <p:nvSpPr>
          <p:cNvPr id="88" name="TextBox 87">
            <a:extLst>
              <a:ext uri="{FF2B5EF4-FFF2-40B4-BE49-F238E27FC236}">
                <a16:creationId xmlns:a16="http://schemas.microsoft.com/office/drawing/2014/main" id="{55C26F44-E893-4BB7-3987-33F33F6B64FB}"/>
              </a:ext>
            </a:extLst>
          </p:cNvPr>
          <p:cNvSpPr txBox="1"/>
          <p:nvPr/>
        </p:nvSpPr>
        <p:spPr>
          <a:xfrm>
            <a:off x="7697589" y="5852573"/>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1</a:t>
            </a:r>
          </a:p>
        </p:txBody>
      </p:sp>
      <p:sp>
        <p:nvSpPr>
          <p:cNvPr id="89" name="TextBox 88">
            <a:extLst>
              <a:ext uri="{FF2B5EF4-FFF2-40B4-BE49-F238E27FC236}">
                <a16:creationId xmlns:a16="http://schemas.microsoft.com/office/drawing/2014/main" id="{11315CA9-87EB-62B9-39C9-BDF485739268}"/>
              </a:ext>
            </a:extLst>
          </p:cNvPr>
          <p:cNvSpPr txBox="1"/>
          <p:nvPr/>
        </p:nvSpPr>
        <p:spPr>
          <a:xfrm>
            <a:off x="8304801" y="5844651"/>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2</a:t>
            </a:r>
          </a:p>
        </p:txBody>
      </p:sp>
      <p:sp>
        <p:nvSpPr>
          <p:cNvPr id="90" name="TextBox 89">
            <a:extLst>
              <a:ext uri="{FF2B5EF4-FFF2-40B4-BE49-F238E27FC236}">
                <a16:creationId xmlns:a16="http://schemas.microsoft.com/office/drawing/2014/main" id="{16AB1108-48F3-ABCE-5997-A74CD64D32EA}"/>
              </a:ext>
            </a:extLst>
          </p:cNvPr>
          <p:cNvSpPr txBox="1"/>
          <p:nvPr/>
        </p:nvSpPr>
        <p:spPr>
          <a:xfrm>
            <a:off x="8877729" y="5844650"/>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3</a:t>
            </a:r>
          </a:p>
        </p:txBody>
      </p:sp>
      <p:sp>
        <p:nvSpPr>
          <p:cNvPr id="91" name="TextBox 90">
            <a:extLst>
              <a:ext uri="{FF2B5EF4-FFF2-40B4-BE49-F238E27FC236}">
                <a16:creationId xmlns:a16="http://schemas.microsoft.com/office/drawing/2014/main" id="{0665ED1B-3804-9E51-AD6A-9A8DA2E08901}"/>
              </a:ext>
            </a:extLst>
          </p:cNvPr>
          <p:cNvSpPr txBox="1"/>
          <p:nvPr/>
        </p:nvSpPr>
        <p:spPr>
          <a:xfrm>
            <a:off x="9598671" y="5869297"/>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1</a:t>
            </a:r>
          </a:p>
        </p:txBody>
      </p:sp>
      <p:sp>
        <p:nvSpPr>
          <p:cNvPr id="92" name="TextBox 91">
            <a:extLst>
              <a:ext uri="{FF2B5EF4-FFF2-40B4-BE49-F238E27FC236}">
                <a16:creationId xmlns:a16="http://schemas.microsoft.com/office/drawing/2014/main" id="{7A05FCA5-6779-7CA0-919D-3BAF1F98E6D4}"/>
              </a:ext>
            </a:extLst>
          </p:cNvPr>
          <p:cNvSpPr txBox="1"/>
          <p:nvPr/>
        </p:nvSpPr>
        <p:spPr>
          <a:xfrm>
            <a:off x="10184918" y="5852573"/>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2</a:t>
            </a:r>
          </a:p>
        </p:txBody>
      </p:sp>
      <p:sp>
        <p:nvSpPr>
          <p:cNvPr id="93" name="TextBox 92">
            <a:extLst>
              <a:ext uri="{FF2B5EF4-FFF2-40B4-BE49-F238E27FC236}">
                <a16:creationId xmlns:a16="http://schemas.microsoft.com/office/drawing/2014/main" id="{896D1CDE-75D7-29F1-18D8-880312728125}"/>
              </a:ext>
            </a:extLst>
          </p:cNvPr>
          <p:cNvSpPr txBox="1"/>
          <p:nvPr/>
        </p:nvSpPr>
        <p:spPr>
          <a:xfrm>
            <a:off x="10780655" y="5835124"/>
            <a:ext cx="203115" cy="246221"/>
          </a:xfrm>
          <a:prstGeom prst="rect">
            <a:avLst/>
          </a:prstGeom>
          <a:solidFill>
            <a:schemeClr val="bg1"/>
          </a:solidFill>
          <a:ln>
            <a:noFill/>
          </a:ln>
        </p:spPr>
        <p:txBody>
          <a:bodyPr wrap="square" lIns="0" tIns="0" rIns="0" bIns="0" rtlCol="0">
            <a:spAutoFit/>
          </a:bodyPr>
          <a:lstStyle/>
          <a:p>
            <a:pPr algn="ctr">
              <a:buClr>
                <a:schemeClr val="tx2"/>
              </a:buClr>
            </a:pPr>
            <a:r>
              <a:rPr lang="sv-SE" sz="1600" spc="-30">
                <a:solidFill>
                  <a:schemeClr val="tx2"/>
                </a:solidFill>
              </a:rPr>
              <a:t>3</a:t>
            </a:r>
          </a:p>
        </p:txBody>
      </p:sp>
    </p:spTree>
    <p:extLst>
      <p:ext uri="{BB962C8B-B14F-4D97-AF65-F5344CB8AC3E}">
        <p14:creationId xmlns:p14="http://schemas.microsoft.com/office/powerpoint/2010/main" val="35087443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A3D5502-C0F2-CFCB-7F6E-EA18461A5E96}"/>
              </a:ext>
            </a:extLst>
          </p:cNvPr>
          <p:cNvSpPr>
            <a:spLocks noGrp="1"/>
          </p:cNvSpPr>
          <p:nvPr>
            <p:ph type="ftr" sz="quarter" idx="11"/>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t>The Co-Development Company</a:t>
            </a:r>
            <a:endParaRPr lang="en-US" sz="1000" noProof="0"/>
          </a:p>
        </p:txBody>
      </p:sp>
      <p:sp>
        <p:nvSpPr>
          <p:cNvPr id="4" name="Slide Number Placeholder 3">
            <a:extLst>
              <a:ext uri="{FF2B5EF4-FFF2-40B4-BE49-F238E27FC236}">
                <a16:creationId xmlns:a16="http://schemas.microsoft.com/office/drawing/2014/main" id="{005B26C0-CFA5-FD37-9A77-3F6F45AF06C3}"/>
              </a:ext>
            </a:extLst>
          </p:cNvPr>
          <p:cNvSpPr>
            <a:spLocks noGrp="1"/>
          </p:cNvSpPr>
          <p:nvPr>
            <p:ph type="sldNum" sz="quarter" idx="12"/>
          </p:nvPr>
        </p:nvSpPr>
        <p:spPr>
          <a:xfrm>
            <a:off x="11376660" y="6472030"/>
            <a:ext cx="372428" cy="153888"/>
          </a:xfrm>
          <a:prstGeom prst="rect">
            <a:avLst/>
          </a:prstGeom>
        </p:spPr>
        <p:txBody>
          <a:bodyPr vert="horz" wrap="squar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03DD7B-12C8-43B8-9F45-989336E79744}" type="slidenum">
              <a:rPr lang="en-US" sz="1000" smtClean="0"/>
              <a:pPr/>
              <a:t>33</a:t>
            </a:fld>
            <a:endParaRPr lang="en-US" sz="1000"/>
          </a:p>
        </p:txBody>
      </p:sp>
      <p:sp>
        <p:nvSpPr>
          <p:cNvPr id="6" name="Title 5">
            <a:extLst>
              <a:ext uri="{FF2B5EF4-FFF2-40B4-BE49-F238E27FC236}">
                <a16:creationId xmlns:a16="http://schemas.microsoft.com/office/drawing/2014/main" id="{9438C0E4-6ACE-6CBF-284E-BD8AE26B3223}"/>
              </a:ext>
            </a:extLst>
          </p:cNvPr>
          <p:cNvSpPr>
            <a:spLocks noGrp="1"/>
          </p:cNvSpPr>
          <p:nvPr>
            <p:ph type="title"/>
          </p:nvPr>
        </p:nvSpPr>
        <p:spPr>
          <a:xfrm>
            <a:off x="4335325" y="216693"/>
            <a:ext cx="7413763" cy="775597"/>
          </a:xfrm>
        </p:spPr>
        <p:txBody>
          <a:bodyPr/>
          <a:lstStyle/>
          <a:p>
            <a:r>
              <a:rPr lang="sv-SE" dirty="0"/>
              <a:t>LIPEX® SheaLuxe TR in </a:t>
            </a:r>
            <a:r>
              <a:rPr lang="sv-SE" dirty="0" err="1"/>
              <a:t>haircare</a:t>
            </a:r>
            <a:r>
              <a:rPr lang="sv-SE" dirty="0"/>
              <a:t> </a:t>
            </a:r>
            <a:br>
              <a:rPr lang="sv-SE" dirty="0"/>
            </a:br>
            <a:r>
              <a:rPr lang="sv-SE" sz="2000" dirty="0"/>
              <a:t>A </a:t>
            </a:r>
            <a:r>
              <a:rPr lang="sv-SE" sz="2000" dirty="0" err="1"/>
              <a:t>higher</a:t>
            </a:r>
            <a:r>
              <a:rPr lang="sv-SE" sz="2000" dirty="0"/>
              <a:t> long-term </a:t>
            </a:r>
            <a:r>
              <a:rPr lang="sv-SE" sz="2000" dirty="0" err="1"/>
              <a:t>shine</a:t>
            </a:r>
            <a:r>
              <a:rPr lang="sv-SE" sz="2000" dirty="0"/>
              <a:t> </a:t>
            </a:r>
            <a:r>
              <a:rPr lang="sv-SE" sz="2000" dirty="0" err="1"/>
              <a:t>effect</a:t>
            </a:r>
            <a:r>
              <a:rPr lang="sv-SE" sz="2000" dirty="0"/>
              <a:t> </a:t>
            </a:r>
            <a:r>
              <a:rPr lang="sv-SE" sz="2000" dirty="0" err="1"/>
              <a:t>than</a:t>
            </a:r>
            <a:r>
              <a:rPr lang="sv-SE" sz="2000" dirty="0"/>
              <a:t> </a:t>
            </a:r>
            <a:r>
              <a:rPr lang="sv-SE" sz="2000" dirty="0" err="1"/>
              <a:t>dimethicone</a:t>
            </a:r>
            <a:endParaRPr lang="sv-SE" sz="2000" dirty="0"/>
          </a:p>
        </p:txBody>
      </p:sp>
      <p:sp>
        <p:nvSpPr>
          <p:cNvPr id="7" name="Date Placeholder 6">
            <a:extLst>
              <a:ext uri="{FF2B5EF4-FFF2-40B4-BE49-F238E27FC236}">
                <a16:creationId xmlns:a16="http://schemas.microsoft.com/office/drawing/2014/main" id="{90050396-7D91-B161-85C6-A15E147BE69F}"/>
              </a:ext>
            </a:extLst>
          </p:cNvPr>
          <p:cNvSpPr>
            <a:spLocks noGrp="1"/>
          </p:cNvSpPr>
          <p:nvPr>
            <p:ph type="dt" sz="half" idx="10"/>
          </p:nvPr>
        </p:nvSpPr>
        <p:spPr>
          <a:xfrm>
            <a:off x="10542897" y="6472030"/>
            <a:ext cx="626774"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B407145-F454-4517-906C-5560136B93BA}" type="datetime1">
              <a:rPr lang="en-GB" sz="1000" smtClean="0"/>
              <a:pPr/>
              <a:t>18/06/2025</a:t>
            </a:fld>
            <a:endParaRPr lang="en-US" sz="1000"/>
          </a:p>
        </p:txBody>
      </p:sp>
      <p:sp>
        <p:nvSpPr>
          <p:cNvPr id="22" name="TextBox 21">
            <a:extLst>
              <a:ext uri="{FF2B5EF4-FFF2-40B4-BE49-F238E27FC236}">
                <a16:creationId xmlns:a16="http://schemas.microsoft.com/office/drawing/2014/main" id="{8BBA3FFE-32EC-2A5D-F164-2989725F5219}"/>
              </a:ext>
            </a:extLst>
          </p:cNvPr>
          <p:cNvSpPr txBox="1"/>
          <p:nvPr/>
        </p:nvSpPr>
        <p:spPr>
          <a:xfrm>
            <a:off x="4390125" y="5094215"/>
            <a:ext cx="6566253" cy="1338828"/>
          </a:xfrm>
          <a:prstGeom prst="rect">
            <a:avLst/>
          </a:prstGeom>
          <a:noFill/>
          <a:ln>
            <a:noFill/>
          </a:ln>
        </p:spPr>
        <p:txBody>
          <a:bodyPr wrap="square">
            <a:spAutoFit/>
          </a:bodyPr>
          <a:lstStyle/>
          <a:p>
            <a:pPr algn="just"/>
            <a:r>
              <a:rPr lang="en-US" sz="900" b="1" dirty="0">
                <a:cs typeface="Times New Roman" panose="02020603050405020304" pitchFamily="18" charset="0"/>
              </a:rPr>
              <a:t>Procedure: </a:t>
            </a:r>
          </a:p>
          <a:p>
            <a:pPr marL="171450" indent="-171450" algn="just">
              <a:buFontTx/>
              <a:buChar char="-"/>
            </a:pPr>
            <a:r>
              <a:rPr lang="en-US" sz="900" dirty="0">
                <a:cs typeface="Times New Roman" panose="02020603050405020304" pitchFamily="18" charset="0"/>
              </a:rPr>
              <a:t>Clean a Caucasian hair tress of 7g with 1mL sodium </a:t>
            </a:r>
            <a:r>
              <a:rPr lang="en-US" sz="900" dirty="0" err="1">
                <a:cs typeface="Times New Roman" panose="02020603050405020304" pitchFamily="18" charset="0"/>
              </a:rPr>
              <a:t>laureth</a:t>
            </a:r>
            <a:r>
              <a:rPr lang="en-US" sz="900" dirty="0">
                <a:cs typeface="Times New Roman" panose="02020603050405020304" pitchFamily="18" charset="0"/>
              </a:rPr>
              <a:t> sulfate Solution pH 5,5.</a:t>
            </a:r>
            <a:endParaRPr lang="sv-SE" sz="900" dirty="0">
              <a:cs typeface="Times New Roman" panose="02020603050405020304" pitchFamily="18" charset="0"/>
            </a:endParaRPr>
          </a:p>
          <a:p>
            <a:pPr marL="171450" indent="-171450" algn="just">
              <a:buFontTx/>
              <a:buChar char="-"/>
            </a:pPr>
            <a:r>
              <a:rPr lang="en-US" sz="900" dirty="0">
                <a:cs typeface="Times New Roman" panose="02020603050405020304" pitchFamily="18" charset="0"/>
              </a:rPr>
              <a:t>Dry the hair tress with a hairdryer for 5 minutes</a:t>
            </a:r>
            <a:endParaRPr lang="sv-SE" sz="900" dirty="0">
              <a:cs typeface="Times New Roman" panose="02020603050405020304" pitchFamily="18" charset="0"/>
            </a:endParaRPr>
          </a:p>
          <a:p>
            <a:pPr marL="171450" indent="-171450" algn="just">
              <a:buFontTx/>
              <a:buChar char="-"/>
            </a:pPr>
            <a:r>
              <a:rPr lang="en-US" sz="900" dirty="0">
                <a:cs typeface="Times New Roman" panose="02020603050405020304" pitchFamily="18" charset="0"/>
              </a:rPr>
              <a:t>Comb and Straighten the hair 4 times</a:t>
            </a:r>
            <a:endParaRPr lang="sv-SE" sz="900" dirty="0">
              <a:cs typeface="Times New Roman" panose="02020603050405020304" pitchFamily="18" charset="0"/>
            </a:endParaRPr>
          </a:p>
          <a:p>
            <a:pPr marL="171450" indent="-171450" algn="just">
              <a:buFontTx/>
              <a:buChar char="-"/>
            </a:pPr>
            <a:r>
              <a:rPr lang="en-US" sz="900" dirty="0">
                <a:cs typeface="Times New Roman" panose="02020603050405020304" pitchFamily="18" charset="0"/>
              </a:rPr>
              <a:t>Take a photo of the clean hair tress = T0 under a light box with fixed “natural” light</a:t>
            </a:r>
            <a:endParaRPr lang="sv-SE" sz="900" dirty="0">
              <a:cs typeface="Times New Roman" panose="02020603050405020304" pitchFamily="18" charset="0"/>
            </a:endParaRPr>
          </a:p>
          <a:p>
            <a:pPr marL="171450" indent="-171450" algn="just">
              <a:buFontTx/>
              <a:buChar char="-"/>
            </a:pPr>
            <a:r>
              <a:rPr lang="en-US" sz="900" dirty="0">
                <a:cs typeface="Times New Roman" panose="02020603050405020304" pitchFamily="18" charset="0"/>
              </a:rPr>
              <a:t>Apply 4 drops (0.1g) of hair serum or of the pure raw material on a clean hair tress of 7g</a:t>
            </a:r>
            <a:endParaRPr lang="sv-SE" sz="900" dirty="0">
              <a:cs typeface="Times New Roman" panose="02020603050405020304" pitchFamily="18" charset="0"/>
            </a:endParaRPr>
          </a:p>
          <a:p>
            <a:pPr marL="171450" indent="-171450" algn="just">
              <a:buFontTx/>
              <a:buChar char="-"/>
            </a:pPr>
            <a:r>
              <a:rPr lang="en-US" sz="900" dirty="0">
                <a:cs typeface="Times New Roman" panose="02020603050405020304" pitchFamily="18" charset="0"/>
              </a:rPr>
              <a:t>Place the hair tress for 8 hours in a humid chamber at 25°C with 85% humidity</a:t>
            </a:r>
            <a:endParaRPr lang="sv-SE" sz="900" dirty="0">
              <a:cs typeface="Times New Roman" panose="02020603050405020304" pitchFamily="18" charset="0"/>
            </a:endParaRPr>
          </a:p>
          <a:p>
            <a:pPr marL="171450" indent="-171450" algn="just">
              <a:buFontTx/>
              <a:buChar char="-"/>
            </a:pPr>
            <a:r>
              <a:rPr lang="en-US" sz="900" dirty="0">
                <a:effectLst/>
                <a:ea typeface="Times New Roman" panose="02020603050405020304" pitchFamily="18" charset="0"/>
                <a:cs typeface="Times New Roman" panose="02020603050405020304" pitchFamily="18" charset="0"/>
              </a:rPr>
              <a:t>Take a photo of the hair tress after 8 hours under a light box with fixed “natural” light</a:t>
            </a:r>
            <a:endParaRPr lang="sv-SE" sz="900" dirty="0">
              <a:ea typeface="Times New Roman" panose="02020603050405020304" pitchFamily="18" charset="0"/>
              <a:cs typeface="Times New Roman" panose="02020603050405020304" pitchFamily="18" charset="0"/>
            </a:endParaRPr>
          </a:p>
          <a:p>
            <a:pPr marL="171450" indent="-171450" algn="just">
              <a:buFontTx/>
              <a:buChar char="-"/>
            </a:pPr>
            <a:r>
              <a:rPr lang="en-US" sz="900" dirty="0">
                <a:effectLst/>
                <a:ea typeface="Times New Roman" panose="02020603050405020304" pitchFamily="18" charset="0"/>
                <a:cs typeface="Times New Roman" panose="02020603050405020304" pitchFamily="18" charset="0"/>
              </a:rPr>
              <a:t>The shine property of the materials is assessed by looking at the photos. </a:t>
            </a:r>
            <a:endParaRPr lang="sv-SE" sz="900" dirty="0">
              <a:effectLst/>
              <a:ea typeface="Times New Roman" panose="02020603050405020304" pitchFamily="18" charset="0"/>
              <a:cs typeface="Times New Roman" panose="02020603050405020304" pitchFamily="18" charset="0"/>
            </a:endParaRPr>
          </a:p>
        </p:txBody>
      </p:sp>
      <p:sp>
        <p:nvSpPr>
          <p:cNvPr id="23" name="TextBox 22">
            <a:extLst>
              <a:ext uri="{FF2B5EF4-FFF2-40B4-BE49-F238E27FC236}">
                <a16:creationId xmlns:a16="http://schemas.microsoft.com/office/drawing/2014/main" id="{66EBE177-1537-080C-4901-DF3AC9E6BA6F}"/>
              </a:ext>
            </a:extLst>
          </p:cNvPr>
          <p:cNvSpPr txBox="1"/>
          <p:nvPr/>
        </p:nvSpPr>
        <p:spPr>
          <a:xfrm>
            <a:off x="9291589" y="2111805"/>
            <a:ext cx="2671145" cy="2323713"/>
          </a:xfrm>
          <a:prstGeom prst="rect">
            <a:avLst/>
          </a:prstGeom>
          <a:noFill/>
          <a:ln>
            <a:noFill/>
          </a:ln>
        </p:spPr>
        <p:txBody>
          <a:bodyPr wrap="square" lIns="0" tIns="0" rIns="0" bIns="0" rtlCol="0">
            <a:spAutoFit/>
          </a:bodyPr>
          <a:lstStyle/>
          <a:p>
            <a:pPr marL="285750" indent="-285750" algn="l">
              <a:buClr>
                <a:schemeClr val="tx2"/>
              </a:buClr>
              <a:buFont typeface="Arial" panose="020B0604020202020204" pitchFamily="34" charset="0"/>
              <a:buChar char="•"/>
            </a:pPr>
            <a:r>
              <a:rPr lang="en-GB" sz="1500" spc="-30" dirty="0">
                <a:solidFill>
                  <a:schemeClr val="tx2"/>
                </a:solidFill>
              </a:rPr>
              <a:t>Right after application dimethicone delivers the highest shine – but both solutions deliver a good level of shine</a:t>
            </a:r>
          </a:p>
          <a:p>
            <a:pPr marL="285750" indent="-285750" algn="l">
              <a:buClr>
                <a:schemeClr val="tx2"/>
              </a:buClr>
              <a:buFont typeface="Arial" panose="020B0604020202020204" pitchFamily="34" charset="0"/>
              <a:buChar char="•"/>
            </a:pPr>
            <a:endParaRPr lang="en-GB" sz="1500" spc="-30" dirty="0">
              <a:solidFill>
                <a:schemeClr val="tx2"/>
              </a:solidFill>
            </a:endParaRPr>
          </a:p>
          <a:p>
            <a:pPr marL="285750" indent="-285750">
              <a:buClr>
                <a:schemeClr val="tx2"/>
              </a:buClr>
              <a:buFont typeface="Arial" panose="020B0604020202020204" pitchFamily="34" charset="0"/>
              <a:buChar char="•"/>
            </a:pPr>
            <a:r>
              <a:rPr lang="en-GB" sz="1500" spc="-30" dirty="0">
                <a:solidFill>
                  <a:schemeClr val="tx2"/>
                </a:solidFill>
              </a:rPr>
              <a:t>After 8 hours in a humid chamber LIPEX SheaLuxe TR delivers higher shine</a:t>
            </a:r>
          </a:p>
          <a:p>
            <a:pPr algn="l">
              <a:buClr>
                <a:schemeClr val="tx2"/>
              </a:buClr>
            </a:pPr>
            <a:endParaRPr lang="en-GB" sz="1600" spc="-30" dirty="0">
              <a:solidFill>
                <a:schemeClr val="tx2"/>
              </a:solidFill>
            </a:endParaRPr>
          </a:p>
        </p:txBody>
      </p:sp>
      <p:pic>
        <p:nvPicPr>
          <p:cNvPr id="8" name="Picture Placeholder 7">
            <a:extLst>
              <a:ext uri="{FF2B5EF4-FFF2-40B4-BE49-F238E27FC236}">
                <a16:creationId xmlns:a16="http://schemas.microsoft.com/office/drawing/2014/main" id="{63B35232-AC3E-DB43-3326-0CE25EF38671}"/>
              </a:ext>
            </a:extLst>
          </p:cNvPr>
          <p:cNvPicPr>
            <a:picLocks noChangeAspect="1"/>
          </p:cNvPicPr>
          <p:nvPr/>
        </p:nvPicPr>
        <p:blipFill>
          <a:blip r:embed="rId2"/>
          <a:srcRect l="10463" r="10463"/>
          <a:stretch>
            <a:fillRect/>
          </a:stretch>
        </p:blipFill>
        <p:spPr>
          <a:xfrm>
            <a:off x="-13862" y="0"/>
            <a:ext cx="4065588" cy="6858000"/>
          </a:xfrm>
          <a:custGeom>
            <a:avLst/>
            <a:gdLst>
              <a:gd name="connsiteX0" fmla="*/ 813178 w 4065588"/>
              <a:gd name="connsiteY0" fmla="*/ 6423839 h 6858000"/>
              <a:gd name="connsiteX1" fmla="*/ 814139 w 4065588"/>
              <a:gd name="connsiteY1" fmla="*/ 6425983 h 6858000"/>
              <a:gd name="connsiteX2" fmla="*/ 844574 w 4065588"/>
              <a:gd name="connsiteY2" fmla="*/ 6528784 h 6858000"/>
              <a:gd name="connsiteX3" fmla="*/ 843672 w 4065588"/>
              <a:gd name="connsiteY3" fmla="*/ 6530809 h 6858000"/>
              <a:gd name="connsiteX4" fmla="*/ 842969 w 4065588"/>
              <a:gd name="connsiteY4" fmla="*/ 6530906 h 6858000"/>
              <a:gd name="connsiteX5" fmla="*/ 783397 w 4065588"/>
              <a:gd name="connsiteY5" fmla="*/ 6530906 h 6858000"/>
              <a:gd name="connsiteX6" fmla="*/ 781698 w 4065588"/>
              <a:gd name="connsiteY6" fmla="*/ 6529469 h 6858000"/>
              <a:gd name="connsiteX7" fmla="*/ 781792 w 4065588"/>
              <a:gd name="connsiteY7" fmla="*/ 6528784 h 6858000"/>
              <a:gd name="connsiteX8" fmla="*/ 812228 w 4065588"/>
              <a:gd name="connsiteY8" fmla="*/ 6425983 h 6858000"/>
              <a:gd name="connsiteX9" fmla="*/ 813178 w 4065588"/>
              <a:gd name="connsiteY9" fmla="*/ 6423839 h 6858000"/>
              <a:gd name="connsiteX10" fmla="*/ 589279 w 4065588"/>
              <a:gd name="connsiteY10" fmla="*/ 6423839 h 6858000"/>
              <a:gd name="connsiteX11" fmla="*/ 590229 w 4065588"/>
              <a:gd name="connsiteY11" fmla="*/ 6425983 h 6858000"/>
              <a:gd name="connsiteX12" fmla="*/ 620665 w 4065588"/>
              <a:gd name="connsiteY12" fmla="*/ 6528784 h 6858000"/>
              <a:gd name="connsiteX13" fmla="*/ 619786 w 4065588"/>
              <a:gd name="connsiteY13" fmla="*/ 6530804 h 6858000"/>
              <a:gd name="connsiteX14" fmla="*/ 619071 w 4065588"/>
              <a:gd name="connsiteY14" fmla="*/ 6530906 h 6858000"/>
              <a:gd name="connsiteX15" fmla="*/ 559499 w 4065588"/>
              <a:gd name="connsiteY15" fmla="*/ 6530906 h 6858000"/>
              <a:gd name="connsiteX16" fmla="*/ 557798 w 4065588"/>
              <a:gd name="connsiteY16" fmla="*/ 6529478 h 6858000"/>
              <a:gd name="connsiteX17" fmla="*/ 557894 w 4065588"/>
              <a:gd name="connsiteY17" fmla="*/ 6528784 h 6858000"/>
              <a:gd name="connsiteX18" fmla="*/ 588340 w 4065588"/>
              <a:gd name="connsiteY18" fmla="*/ 6425983 h 6858000"/>
              <a:gd name="connsiteX19" fmla="*/ 589279 w 4065588"/>
              <a:gd name="connsiteY19" fmla="*/ 6423839 h 6858000"/>
              <a:gd name="connsiteX20" fmla="*/ 545405 w 4065588"/>
              <a:gd name="connsiteY20" fmla="*/ 6352465 h 6858000"/>
              <a:gd name="connsiteX21" fmla="*/ 542449 w 4065588"/>
              <a:gd name="connsiteY21" fmla="*/ 6354577 h 6858000"/>
              <a:gd name="connsiteX22" fmla="*/ 444641 w 4065588"/>
              <a:gd name="connsiteY22" fmla="*/ 6633486 h 6858000"/>
              <a:gd name="connsiteX23" fmla="*/ 445355 w 4065588"/>
              <a:gd name="connsiteY23" fmla="*/ 6635455 h 6858000"/>
              <a:gd name="connsiteX24" fmla="*/ 446130 w 4065588"/>
              <a:gd name="connsiteY24" fmla="*/ 6635587 h 6858000"/>
              <a:gd name="connsiteX25" fmla="*/ 523331 w 4065588"/>
              <a:gd name="connsiteY25" fmla="*/ 6635587 h 6858000"/>
              <a:gd name="connsiteX26" fmla="*/ 526192 w 4065588"/>
              <a:gd name="connsiteY26" fmla="*/ 6633454 h 6858000"/>
              <a:gd name="connsiteX27" fmla="*/ 538691 w 4065588"/>
              <a:gd name="connsiteY27" fmla="*/ 6591713 h 6858000"/>
              <a:gd name="connsiteX28" fmla="*/ 541563 w 4065588"/>
              <a:gd name="connsiteY28" fmla="*/ 6589581 h 6858000"/>
              <a:gd name="connsiteX29" fmla="*/ 637006 w 4065588"/>
              <a:gd name="connsiteY29" fmla="*/ 6589581 h 6858000"/>
              <a:gd name="connsiteX30" fmla="*/ 639867 w 4065588"/>
              <a:gd name="connsiteY30" fmla="*/ 6591713 h 6858000"/>
              <a:gd name="connsiteX31" fmla="*/ 652377 w 4065588"/>
              <a:gd name="connsiteY31" fmla="*/ 6633454 h 6858000"/>
              <a:gd name="connsiteX32" fmla="*/ 655238 w 4065588"/>
              <a:gd name="connsiteY32" fmla="*/ 6635587 h 6858000"/>
              <a:gd name="connsiteX33" fmla="*/ 747230 w 4065588"/>
              <a:gd name="connsiteY33" fmla="*/ 6635587 h 6858000"/>
              <a:gd name="connsiteX34" fmla="*/ 750090 w 4065588"/>
              <a:gd name="connsiteY34" fmla="*/ 6633454 h 6858000"/>
              <a:gd name="connsiteX35" fmla="*/ 762600 w 4065588"/>
              <a:gd name="connsiteY35" fmla="*/ 6591713 h 6858000"/>
              <a:gd name="connsiteX36" fmla="*/ 765461 w 4065588"/>
              <a:gd name="connsiteY36" fmla="*/ 6589581 h 6858000"/>
              <a:gd name="connsiteX37" fmla="*/ 860915 w 4065588"/>
              <a:gd name="connsiteY37" fmla="*/ 6589581 h 6858000"/>
              <a:gd name="connsiteX38" fmla="*/ 863776 w 4065588"/>
              <a:gd name="connsiteY38" fmla="*/ 6591713 h 6858000"/>
              <a:gd name="connsiteX39" fmla="*/ 876265 w 4065588"/>
              <a:gd name="connsiteY39" fmla="*/ 6633454 h 6858000"/>
              <a:gd name="connsiteX40" fmla="*/ 879126 w 4065588"/>
              <a:gd name="connsiteY40" fmla="*/ 6635587 h 6858000"/>
              <a:gd name="connsiteX41" fmla="*/ 1011476 w 4065588"/>
              <a:gd name="connsiteY41" fmla="*/ 6635587 h 6858000"/>
              <a:gd name="connsiteX42" fmla="*/ 1013714 w 4065588"/>
              <a:gd name="connsiteY42" fmla="*/ 6633359 h 6858000"/>
              <a:gd name="connsiteX43" fmla="*/ 1013714 w 4065588"/>
              <a:gd name="connsiteY43" fmla="*/ 6558121 h 6858000"/>
              <a:gd name="connsiteX44" fmla="*/ 1015266 w 4065588"/>
              <a:gd name="connsiteY44" fmla="*/ 6554289 h 6858000"/>
              <a:gd name="connsiteX45" fmla="*/ 1044498 w 4065588"/>
              <a:gd name="connsiteY45" fmla="*/ 6524182 h 6858000"/>
              <a:gd name="connsiteX46" fmla="*/ 1046852 w 4065588"/>
              <a:gd name="connsiteY46" fmla="*/ 6523986 h 6858000"/>
              <a:gd name="connsiteX47" fmla="*/ 1047242 w 4065588"/>
              <a:gd name="connsiteY47" fmla="*/ 6524467 h 6858000"/>
              <a:gd name="connsiteX48" fmla="*/ 1115629 w 4065588"/>
              <a:gd name="connsiteY48" fmla="*/ 6633698 h 6858000"/>
              <a:gd name="connsiteX49" fmla="*/ 1119130 w 4065588"/>
              <a:gd name="connsiteY49" fmla="*/ 6635587 h 6858000"/>
              <a:gd name="connsiteX50" fmla="*/ 1216415 w 4065588"/>
              <a:gd name="connsiteY50" fmla="*/ 6635587 h 6858000"/>
              <a:gd name="connsiteX51" fmla="*/ 1217428 w 4065588"/>
              <a:gd name="connsiteY51" fmla="*/ 6633718 h 6858000"/>
              <a:gd name="connsiteX52" fmla="*/ 1108430 w 4065588"/>
              <a:gd name="connsiteY52" fmla="*/ 6465760 h 6858000"/>
              <a:gd name="connsiteX53" fmla="*/ 1108736 w 4065588"/>
              <a:gd name="connsiteY53" fmla="*/ 6462277 h 6858000"/>
              <a:gd name="connsiteX54" fmla="*/ 1209120 w 4065588"/>
              <a:gd name="connsiteY54" fmla="*/ 6354102 h 6858000"/>
              <a:gd name="connsiteX55" fmla="*/ 1208413 w 4065588"/>
              <a:gd name="connsiteY55" fmla="*/ 6352465 h 6858000"/>
              <a:gd name="connsiteX56" fmla="*/ 1111354 w 4065588"/>
              <a:gd name="connsiteY56" fmla="*/ 6352465 h 6858000"/>
              <a:gd name="connsiteX57" fmla="*/ 1107680 w 4065588"/>
              <a:gd name="connsiteY57" fmla="*/ 6354165 h 6858000"/>
              <a:gd name="connsiteX58" fmla="*/ 1015161 w 4065588"/>
              <a:gd name="connsiteY58" fmla="*/ 6461812 h 6858000"/>
              <a:gd name="connsiteX59" fmla="*/ 1013714 w 4065588"/>
              <a:gd name="connsiteY59" fmla="*/ 6461263 h 6858000"/>
              <a:gd name="connsiteX60" fmla="*/ 1013714 w 4065588"/>
              <a:gd name="connsiteY60" fmla="*/ 6354693 h 6858000"/>
              <a:gd name="connsiteX61" fmla="*/ 1011476 w 4065588"/>
              <a:gd name="connsiteY61" fmla="*/ 6352465 h 6858000"/>
              <a:gd name="connsiteX62" fmla="*/ 939722 w 4065588"/>
              <a:gd name="connsiteY62" fmla="*/ 6352465 h 6858000"/>
              <a:gd name="connsiteX63" fmla="*/ 937505 w 4065588"/>
              <a:gd name="connsiteY63" fmla="*/ 6354693 h 6858000"/>
              <a:gd name="connsiteX64" fmla="*/ 937505 w 4065588"/>
              <a:gd name="connsiteY64" fmla="*/ 6531687 h 6858000"/>
              <a:gd name="connsiteX65" fmla="*/ 956169 w 4065588"/>
              <a:gd name="connsiteY65" fmla="*/ 6580597 h 6858000"/>
              <a:gd name="connsiteX66" fmla="*/ 933757 w 4065588"/>
              <a:gd name="connsiteY66" fmla="*/ 6622233 h 6858000"/>
              <a:gd name="connsiteX67" fmla="*/ 911229 w 4065588"/>
              <a:gd name="connsiteY67" fmla="*/ 6578211 h 6858000"/>
              <a:gd name="connsiteX68" fmla="*/ 911229 w 4065588"/>
              <a:gd name="connsiteY68" fmla="*/ 6499616 h 6858000"/>
              <a:gd name="connsiteX69" fmla="*/ 860979 w 4065588"/>
              <a:gd name="connsiteY69" fmla="*/ 6354587 h 6858000"/>
              <a:gd name="connsiteX70" fmla="*/ 858023 w 4065588"/>
              <a:gd name="connsiteY70" fmla="*/ 6352465 h 6858000"/>
              <a:gd name="connsiteX71" fmla="*/ 769304 w 4065588"/>
              <a:gd name="connsiteY71" fmla="*/ 6352465 h 6858000"/>
              <a:gd name="connsiteX72" fmla="*/ 766348 w 4065588"/>
              <a:gd name="connsiteY72" fmla="*/ 6354577 h 6858000"/>
              <a:gd name="connsiteX73" fmla="*/ 702131 w 4065588"/>
              <a:gd name="connsiteY73" fmla="*/ 6537684 h 6858000"/>
              <a:gd name="connsiteX74" fmla="*/ 700674 w 4065588"/>
              <a:gd name="connsiteY74" fmla="*/ 6537684 h 6858000"/>
              <a:gd name="connsiteX75" fmla="*/ 637070 w 4065588"/>
              <a:gd name="connsiteY75" fmla="*/ 6354587 h 6858000"/>
              <a:gd name="connsiteX76" fmla="*/ 634114 w 4065588"/>
              <a:gd name="connsiteY76" fmla="*/ 6352465 h 6858000"/>
              <a:gd name="connsiteX77" fmla="*/ 0 w 4065588"/>
              <a:gd name="connsiteY77" fmla="*/ 0 h 6858000"/>
              <a:gd name="connsiteX78" fmla="*/ 3674155 w 4065588"/>
              <a:gd name="connsiteY78" fmla="*/ 0 h 6858000"/>
              <a:gd name="connsiteX79" fmla="*/ 3712291 w 4065588"/>
              <a:gd name="connsiteY79" fmla="*/ 3409950 h 6858000"/>
              <a:gd name="connsiteX80" fmla="*/ 3145020 w 4065588"/>
              <a:gd name="connsiteY80" fmla="*/ 6858000 h 6858000"/>
              <a:gd name="connsiteX81" fmla="*/ 21930 w 4065588"/>
              <a:gd name="connsiteY81" fmla="*/ 6858000 h 6858000"/>
              <a:gd name="connsiteX82" fmla="*/ 0 w 4065588"/>
              <a:gd name="connsiteY8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065588" h="6858000">
                <a:moveTo>
                  <a:pt x="813178" y="6423839"/>
                </a:moveTo>
                <a:cubicBezTo>
                  <a:pt x="813368" y="6423840"/>
                  <a:pt x="813800" y="6424811"/>
                  <a:pt x="814139" y="6425983"/>
                </a:cubicBezTo>
                <a:lnTo>
                  <a:pt x="844574" y="6528784"/>
                </a:lnTo>
                <a:cubicBezTo>
                  <a:pt x="844884" y="6529592"/>
                  <a:pt x="844480" y="6530499"/>
                  <a:pt x="843672" y="6530809"/>
                </a:cubicBezTo>
                <a:cubicBezTo>
                  <a:pt x="843448" y="6530894"/>
                  <a:pt x="843208" y="6530928"/>
                  <a:pt x="842969" y="6530906"/>
                </a:cubicBezTo>
                <a:lnTo>
                  <a:pt x="783397" y="6530906"/>
                </a:lnTo>
                <a:cubicBezTo>
                  <a:pt x="782531" y="6530979"/>
                  <a:pt x="781770" y="6530335"/>
                  <a:pt x="781698" y="6529469"/>
                </a:cubicBezTo>
                <a:cubicBezTo>
                  <a:pt x="781678" y="6529236"/>
                  <a:pt x="781711" y="6529003"/>
                  <a:pt x="781792" y="6528784"/>
                </a:cubicBezTo>
                <a:lnTo>
                  <a:pt x="812228" y="6425983"/>
                </a:lnTo>
                <a:cubicBezTo>
                  <a:pt x="812371" y="6425203"/>
                  <a:pt x="812697" y="6424469"/>
                  <a:pt x="813178" y="6423839"/>
                </a:cubicBezTo>
                <a:close/>
                <a:moveTo>
                  <a:pt x="589279" y="6423839"/>
                </a:moveTo>
                <a:cubicBezTo>
                  <a:pt x="589760" y="6424469"/>
                  <a:pt x="590086" y="6425203"/>
                  <a:pt x="590229" y="6425983"/>
                </a:cubicBezTo>
                <a:lnTo>
                  <a:pt x="620665" y="6528784"/>
                </a:lnTo>
                <a:cubicBezTo>
                  <a:pt x="620980" y="6529585"/>
                  <a:pt x="620587" y="6530489"/>
                  <a:pt x="619786" y="6530804"/>
                </a:cubicBezTo>
                <a:cubicBezTo>
                  <a:pt x="619559" y="6530894"/>
                  <a:pt x="619314" y="6530929"/>
                  <a:pt x="619071" y="6530906"/>
                </a:cubicBezTo>
                <a:lnTo>
                  <a:pt x="559499" y="6530906"/>
                </a:lnTo>
                <a:cubicBezTo>
                  <a:pt x="558635" y="6530981"/>
                  <a:pt x="557873" y="6530342"/>
                  <a:pt x="557798" y="6529478"/>
                </a:cubicBezTo>
                <a:cubicBezTo>
                  <a:pt x="557777" y="6529243"/>
                  <a:pt x="557810" y="6529005"/>
                  <a:pt x="557894" y="6528784"/>
                </a:cubicBezTo>
                <a:lnTo>
                  <a:pt x="588340" y="6425983"/>
                </a:lnTo>
                <a:cubicBezTo>
                  <a:pt x="588487" y="6425207"/>
                  <a:pt x="588808" y="6424474"/>
                  <a:pt x="589279" y="6423839"/>
                </a:cubicBezTo>
                <a:close/>
                <a:moveTo>
                  <a:pt x="545405" y="6352465"/>
                </a:moveTo>
                <a:cubicBezTo>
                  <a:pt x="544090" y="6352525"/>
                  <a:pt x="542932" y="6353352"/>
                  <a:pt x="542449" y="6354577"/>
                </a:cubicBezTo>
                <a:lnTo>
                  <a:pt x="444641" y="6633486"/>
                </a:lnTo>
                <a:cubicBezTo>
                  <a:pt x="444294" y="6634227"/>
                  <a:pt x="444614" y="6635108"/>
                  <a:pt x="445355" y="6635455"/>
                </a:cubicBezTo>
                <a:cubicBezTo>
                  <a:pt x="445596" y="6635568"/>
                  <a:pt x="445864" y="6635614"/>
                  <a:pt x="446130" y="6635587"/>
                </a:cubicBezTo>
                <a:lnTo>
                  <a:pt x="523331" y="6635587"/>
                </a:lnTo>
                <a:cubicBezTo>
                  <a:pt x="524632" y="6635530"/>
                  <a:pt x="525766" y="6634685"/>
                  <a:pt x="526192" y="6633454"/>
                </a:cubicBezTo>
                <a:lnTo>
                  <a:pt x="538691" y="6591713"/>
                </a:lnTo>
                <a:cubicBezTo>
                  <a:pt x="539119" y="6590480"/>
                  <a:pt x="540258" y="6589634"/>
                  <a:pt x="541563" y="6589581"/>
                </a:cubicBezTo>
                <a:lnTo>
                  <a:pt x="637006" y="6589581"/>
                </a:lnTo>
                <a:cubicBezTo>
                  <a:pt x="638306" y="6589641"/>
                  <a:pt x="639438" y="6590485"/>
                  <a:pt x="639867" y="6591713"/>
                </a:cubicBezTo>
                <a:lnTo>
                  <a:pt x="652377" y="6633454"/>
                </a:lnTo>
                <a:cubicBezTo>
                  <a:pt x="652806" y="6634683"/>
                  <a:pt x="653938" y="6635527"/>
                  <a:pt x="655238" y="6635587"/>
                </a:cubicBezTo>
                <a:lnTo>
                  <a:pt x="747230" y="6635587"/>
                </a:lnTo>
                <a:cubicBezTo>
                  <a:pt x="748530" y="6635530"/>
                  <a:pt x="749664" y="6634685"/>
                  <a:pt x="750090" y="6633454"/>
                </a:cubicBezTo>
                <a:lnTo>
                  <a:pt x="762600" y="6591713"/>
                </a:lnTo>
                <a:cubicBezTo>
                  <a:pt x="763021" y="6590479"/>
                  <a:pt x="764158" y="6589631"/>
                  <a:pt x="765461" y="6589581"/>
                </a:cubicBezTo>
                <a:lnTo>
                  <a:pt x="860915" y="6589581"/>
                </a:lnTo>
                <a:cubicBezTo>
                  <a:pt x="862215" y="6589641"/>
                  <a:pt x="863347" y="6590485"/>
                  <a:pt x="863776" y="6591713"/>
                </a:cubicBezTo>
                <a:lnTo>
                  <a:pt x="876265" y="6633454"/>
                </a:lnTo>
                <a:cubicBezTo>
                  <a:pt x="876696" y="6634681"/>
                  <a:pt x="877827" y="6635524"/>
                  <a:pt x="879126" y="6635587"/>
                </a:cubicBezTo>
                <a:lnTo>
                  <a:pt x="1011476" y="6635587"/>
                </a:lnTo>
                <a:cubicBezTo>
                  <a:pt x="1012707" y="6635584"/>
                  <a:pt x="1013705" y="6634590"/>
                  <a:pt x="1013714" y="6633359"/>
                </a:cubicBezTo>
                <a:lnTo>
                  <a:pt x="1013714" y="6558121"/>
                </a:lnTo>
                <a:cubicBezTo>
                  <a:pt x="1013784" y="6556706"/>
                  <a:pt x="1014331" y="6555355"/>
                  <a:pt x="1015266" y="6554289"/>
                </a:cubicBezTo>
                <a:lnTo>
                  <a:pt x="1044498" y="6524182"/>
                </a:lnTo>
                <a:cubicBezTo>
                  <a:pt x="1045094" y="6523478"/>
                  <a:pt x="1046148" y="6523390"/>
                  <a:pt x="1046852" y="6523986"/>
                </a:cubicBezTo>
                <a:cubicBezTo>
                  <a:pt x="1047011" y="6524121"/>
                  <a:pt x="1047143" y="6524284"/>
                  <a:pt x="1047242" y="6524467"/>
                </a:cubicBezTo>
                <a:lnTo>
                  <a:pt x="1115629" y="6633698"/>
                </a:lnTo>
                <a:cubicBezTo>
                  <a:pt x="1116385" y="6634897"/>
                  <a:pt x="1117713" y="6635613"/>
                  <a:pt x="1119130" y="6635587"/>
                </a:cubicBezTo>
                <a:lnTo>
                  <a:pt x="1216415" y="6635587"/>
                </a:lnTo>
                <a:cubicBezTo>
                  <a:pt x="1217650" y="6635587"/>
                  <a:pt x="1218104" y="6634743"/>
                  <a:pt x="1217428" y="6633718"/>
                </a:cubicBezTo>
                <a:lnTo>
                  <a:pt x="1108430" y="6465760"/>
                </a:lnTo>
                <a:cubicBezTo>
                  <a:pt x="1107760" y="6464657"/>
                  <a:pt x="1107884" y="6463247"/>
                  <a:pt x="1108736" y="6462277"/>
                </a:cubicBezTo>
                <a:lnTo>
                  <a:pt x="1209120" y="6354102"/>
                </a:lnTo>
                <a:cubicBezTo>
                  <a:pt x="1209954" y="6353204"/>
                  <a:pt x="1209637" y="6352465"/>
                  <a:pt x="1208413" y="6352465"/>
                </a:cubicBezTo>
                <a:lnTo>
                  <a:pt x="1111354" y="6352465"/>
                </a:lnTo>
                <a:cubicBezTo>
                  <a:pt x="1109958" y="6352546"/>
                  <a:pt x="1108645" y="6353153"/>
                  <a:pt x="1107680" y="6354165"/>
                </a:cubicBezTo>
                <a:lnTo>
                  <a:pt x="1015161" y="6461812"/>
                </a:lnTo>
                <a:cubicBezTo>
                  <a:pt x="1014358" y="6462741"/>
                  <a:pt x="1013714" y="6462488"/>
                  <a:pt x="1013714" y="6461263"/>
                </a:cubicBezTo>
                <a:lnTo>
                  <a:pt x="1013714" y="6354693"/>
                </a:lnTo>
                <a:cubicBezTo>
                  <a:pt x="1013705" y="6353462"/>
                  <a:pt x="1012707" y="6352468"/>
                  <a:pt x="1011476" y="6352465"/>
                </a:cubicBezTo>
                <a:lnTo>
                  <a:pt x="939722" y="6352465"/>
                </a:lnTo>
                <a:cubicBezTo>
                  <a:pt x="938499" y="6352478"/>
                  <a:pt x="937511" y="6353469"/>
                  <a:pt x="937505" y="6354693"/>
                </a:cubicBezTo>
                <a:lnTo>
                  <a:pt x="937505" y="6531687"/>
                </a:lnTo>
                <a:cubicBezTo>
                  <a:pt x="937114" y="6564445"/>
                  <a:pt x="944441" y="6560317"/>
                  <a:pt x="956169" y="6580597"/>
                </a:cubicBezTo>
                <a:cubicBezTo>
                  <a:pt x="965786" y="6597192"/>
                  <a:pt x="957584" y="6620596"/>
                  <a:pt x="933757" y="6622233"/>
                </a:cubicBezTo>
                <a:cubicBezTo>
                  <a:pt x="913879" y="6623605"/>
                  <a:pt x="896386" y="6600940"/>
                  <a:pt x="911229" y="6578211"/>
                </a:cubicBezTo>
                <a:cubicBezTo>
                  <a:pt x="926906" y="6554247"/>
                  <a:pt x="933483" y="6565342"/>
                  <a:pt x="911229" y="6499616"/>
                </a:cubicBezTo>
                <a:lnTo>
                  <a:pt x="860979" y="6354587"/>
                </a:lnTo>
                <a:cubicBezTo>
                  <a:pt x="860500" y="6353357"/>
                  <a:pt x="859341" y="6352525"/>
                  <a:pt x="858023" y="6352465"/>
                </a:cubicBezTo>
                <a:lnTo>
                  <a:pt x="769304" y="6352465"/>
                </a:lnTo>
                <a:cubicBezTo>
                  <a:pt x="767988" y="6352525"/>
                  <a:pt x="766831" y="6353352"/>
                  <a:pt x="766348" y="6354577"/>
                </a:cubicBezTo>
                <a:lnTo>
                  <a:pt x="702131" y="6537684"/>
                </a:lnTo>
                <a:cubicBezTo>
                  <a:pt x="701719" y="6538845"/>
                  <a:pt x="701065" y="6538845"/>
                  <a:pt x="700674" y="6537684"/>
                </a:cubicBezTo>
                <a:lnTo>
                  <a:pt x="637070" y="6354587"/>
                </a:lnTo>
                <a:cubicBezTo>
                  <a:pt x="636591" y="6353357"/>
                  <a:pt x="635432" y="6352525"/>
                  <a:pt x="634114" y="6352465"/>
                </a:cubicBezTo>
                <a:close/>
                <a:moveTo>
                  <a:pt x="0" y="0"/>
                </a:moveTo>
                <a:lnTo>
                  <a:pt x="3674155" y="0"/>
                </a:lnTo>
                <a:cubicBezTo>
                  <a:pt x="3883902" y="438150"/>
                  <a:pt x="4417803" y="1833563"/>
                  <a:pt x="3712291" y="3409950"/>
                </a:cubicBezTo>
                <a:cubicBezTo>
                  <a:pt x="2963875" y="5086350"/>
                  <a:pt x="2968642" y="6186488"/>
                  <a:pt x="3145020" y="6858000"/>
                </a:cubicBezTo>
                <a:cubicBezTo>
                  <a:pt x="1482835" y="6858000"/>
                  <a:pt x="547856" y="6858000"/>
                  <a:pt x="21930" y="6858000"/>
                </a:cubicBezTo>
                <a:lnTo>
                  <a:pt x="0" y="6858000"/>
                </a:lnTo>
                <a:close/>
              </a:path>
            </a:pathLst>
          </a:custGeom>
          <a:noFill/>
        </p:spPr>
      </p:pic>
      <p:graphicFrame>
        <p:nvGraphicFramePr>
          <p:cNvPr id="9" name="Content Placeholder 19">
            <a:extLst>
              <a:ext uri="{FF2B5EF4-FFF2-40B4-BE49-F238E27FC236}">
                <a16:creationId xmlns:a16="http://schemas.microsoft.com/office/drawing/2014/main" id="{B104AAAC-0E9E-B839-3FE8-1D3F8B5FF7E9}"/>
              </a:ext>
            </a:extLst>
          </p:cNvPr>
          <p:cNvGraphicFramePr>
            <a:graphicFrameLocks noGrp="1"/>
          </p:cNvGraphicFramePr>
          <p:nvPr>
            <p:ph sz="quarter" idx="13"/>
          </p:nvPr>
        </p:nvGraphicFramePr>
        <p:xfrm>
          <a:off x="4431851" y="1074165"/>
          <a:ext cx="4784119" cy="3938175"/>
        </p:xfrm>
        <a:graphic>
          <a:graphicData uri="http://schemas.openxmlformats.org/drawingml/2006/table">
            <a:tbl>
              <a:tblPr firstRow="1" bandRow="1">
                <a:tableStyleId>{69012ECD-51FC-41F1-AA8D-1B2483CD663E}</a:tableStyleId>
              </a:tblPr>
              <a:tblGrid>
                <a:gridCol w="664302">
                  <a:extLst>
                    <a:ext uri="{9D8B030D-6E8A-4147-A177-3AD203B41FA5}">
                      <a16:colId xmlns:a16="http://schemas.microsoft.com/office/drawing/2014/main" val="3801190194"/>
                    </a:ext>
                  </a:extLst>
                </a:gridCol>
                <a:gridCol w="1325130">
                  <a:extLst>
                    <a:ext uri="{9D8B030D-6E8A-4147-A177-3AD203B41FA5}">
                      <a16:colId xmlns:a16="http://schemas.microsoft.com/office/drawing/2014/main" val="4269475678"/>
                    </a:ext>
                  </a:extLst>
                </a:gridCol>
                <a:gridCol w="1391189">
                  <a:extLst>
                    <a:ext uri="{9D8B030D-6E8A-4147-A177-3AD203B41FA5}">
                      <a16:colId xmlns:a16="http://schemas.microsoft.com/office/drawing/2014/main" val="3512671122"/>
                    </a:ext>
                  </a:extLst>
                </a:gridCol>
                <a:gridCol w="1403498">
                  <a:extLst>
                    <a:ext uri="{9D8B030D-6E8A-4147-A177-3AD203B41FA5}">
                      <a16:colId xmlns:a16="http://schemas.microsoft.com/office/drawing/2014/main" val="423283504"/>
                    </a:ext>
                  </a:extLst>
                </a:gridCol>
              </a:tblGrid>
              <a:tr h="565812">
                <a:tc>
                  <a:txBody>
                    <a:bodyPr/>
                    <a:lstStyle/>
                    <a:p>
                      <a:endParaRPr lang="sv-SE" dirty="0"/>
                    </a:p>
                  </a:txBody>
                  <a:tcP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solidFill>
                      <a:srgbClr val="8FB3E4"/>
                    </a:solidFill>
                  </a:tcPr>
                </a:tc>
                <a:tc>
                  <a:txBody>
                    <a:bodyPr/>
                    <a:lstStyle/>
                    <a:p>
                      <a:pPr algn="ctr"/>
                      <a:r>
                        <a:rPr lang="sv-SE" sz="1500" b="0" dirty="0" err="1">
                          <a:latin typeface="Work Sans Medium" pitchFamily="2" charset="0"/>
                        </a:rPr>
                        <a:t>Untreated</a:t>
                      </a:r>
                      <a:endParaRPr lang="sv-SE" sz="1500" b="0" dirty="0">
                        <a:latin typeface="Work Sans Medium" pitchFamily="2" charset="0"/>
                      </a:endParaRPr>
                    </a:p>
                  </a:txBody>
                  <a:tcPr anchor="ct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solidFill>
                      <a:srgbClr val="8FB3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500" b="0" dirty="0">
                          <a:latin typeface="Work Sans Medium" pitchFamily="2" charset="0"/>
                        </a:rPr>
                        <a:t>Dimethicone 5mPa.s</a:t>
                      </a:r>
                    </a:p>
                  </a:txBody>
                  <a:tcPr anchor="ct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solidFill>
                      <a:srgbClr val="8FB3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500" b="0" dirty="0">
                          <a:latin typeface="Work Sans Medium" pitchFamily="2" charset="0"/>
                        </a:rPr>
                        <a:t>LIPEX® SheaLuxe TR</a:t>
                      </a:r>
                    </a:p>
                  </a:txBody>
                  <a:tcPr anchor="ct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solidFill>
                      <a:srgbClr val="8FB3E4"/>
                    </a:solidFill>
                  </a:tcPr>
                </a:tc>
                <a:extLst>
                  <a:ext uri="{0D108BD9-81ED-4DB2-BD59-A6C34878D82A}">
                    <a16:rowId xmlns:a16="http://schemas.microsoft.com/office/drawing/2014/main" val="3158039058"/>
                  </a:ext>
                </a:extLst>
              </a:tr>
              <a:tr h="1661328">
                <a:tc>
                  <a:txBody>
                    <a:bodyPr/>
                    <a:lstStyle/>
                    <a:p>
                      <a:r>
                        <a:rPr lang="sv-SE" sz="1400" dirty="0"/>
                        <a:t>T=0</a:t>
                      </a:r>
                    </a:p>
                  </a:txBody>
                  <a:tcPr anchor="ct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tcPr>
                </a:tc>
                <a:tc>
                  <a:txBody>
                    <a:bodyPr/>
                    <a:lstStyle/>
                    <a:p>
                      <a:endParaRPr lang="sv-SE"/>
                    </a:p>
                  </a:txBody>
                  <a:tcP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tcPr>
                </a:tc>
                <a:tc>
                  <a:txBody>
                    <a:bodyPr/>
                    <a:lstStyle/>
                    <a:p>
                      <a:endParaRPr lang="sv-SE"/>
                    </a:p>
                  </a:txBody>
                  <a:tcP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tcPr>
                </a:tc>
                <a:tc>
                  <a:txBody>
                    <a:bodyPr/>
                    <a:lstStyle/>
                    <a:p>
                      <a:endParaRPr lang="sv-SE"/>
                    </a:p>
                  </a:txBody>
                  <a:tcP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tcPr>
                </a:tc>
                <a:extLst>
                  <a:ext uri="{0D108BD9-81ED-4DB2-BD59-A6C34878D82A}">
                    <a16:rowId xmlns:a16="http://schemas.microsoft.com/office/drawing/2014/main" val="2429236027"/>
                  </a:ext>
                </a:extLst>
              </a:tr>
              <a:tr h="17110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400" dirty="0"/>
                        <a:t>T=8</a:t>
                      </a:r>
                    </a:p>
                    <a:p>
                      <a:endParaRPr lang="sv-SE" sz="1400" dirty="0"/>
                    </a:p>
                  </a:txBody>
                  <a:tcPr anchor="ct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tcPr>
                </a:tc>
                <a:tc>
                  <a:txBody>
                    <a:bodyPr/>
                    <a:lstStyle/>
                    <a:p>
                      <a:endParaRPr lang="sv-SE"/>
                    </a:p>
                  </a:txBody>
                  <a:tcP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tcPr>
                </a:tc>
                <a:tc>
                  <a:txBody>
                    <a:bodyPr/>
                    <a:lstStyle/>
                    <a:p>
                      <a:endParaRPr lang="sv-SE"/>
                    </a:p>
                  </a:txBody>
                  <a:tcP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tcPr>
                </a:tc>
                <a:tc>
                  <a:txBody>
                    <a:bodyPr/>
                    <a:lstStyle/>
                    <a:p>
                      <a:endParaRPr lang="sv-SE" dirty="0"/>
                    </a:p>
                  </a:txBody>
                  <a:tcP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tcPr>
                </a:tc>
                <a:extLst>
                  <a:ext uri="{0D108BD9-81ED-4DB2-BD59-A6C34878D82A}">
                    <a16:rowId xmlns:a16="http://schemas.microsoft.com/office/drawing/2014/main" val="3282275852"/>
                  </a:ext>
                </a:extLst>
              </a:tr>
            </a:tbl>
          </a:graphicData>
        </a:graphic>
      </p:graphicFrame>
      <p:pic>
        <p:nvPicPr>
          <p:cNvPr id="10" name="Image 11">
            <a:extLst>
              <a:ext uri="{FF2B5EF4-FFF2-40B4-BE49-F238E27FC236}">
                <a16:creationId xmlns:a16="http://schemas.microsoft.com/office/drawing/2014/main" id="{0E6A5AB1-4A95-83BB-E52B-F37A64997305}"/>
              </a:ext>
            </a:extLst>
          </p:cNvPr>
          <p:cNvPicPr>
            <a:picLocks noChangeAspect="1"/>
          </p:cNvPicPr>
          <p:nvPr/>
        </p:nvPicPr>
        <p:blipFill>
          <a:blip r:embed="rId3"/>
          <a:stretch>
            <a:fillRect/>
          </a:stretch>
        </p:blipFill>
        <p:spPr>
          <a:xfrm>
            <a:off x="5205522" y="1681835"/>
            <a:ext cx="1135859" cy="1615580"/>
          </a:xfrm>
          <a:prstGeom prst="rect">
            <a:avLst/>
          </a:prstGeom>
        </p:spPr>
      </p:pic>
      <p:pic>
        <p:nvPicPr>
          <p:cNvPr id="11" name="Image 2">
            <a:extLst>
              <a:ext uri="{FF2B5EF4-FFF2-40B4-BE49-F238E27FC236}">
                <a16:creationId xmlns:a16="http://schemas.microsoft.com/office/drawing/2014/main" id="{E0D211B7-B0AD-C1FD-EE59-9DA54C959605}"/>
              </a:ext>
            </a:extLst>
          </p:cNvPr>
          <p:cNvPicPr>
            <a:picLocks/>
          </p:cNvPicPr>
          <p:nvPr/>
        </p:nvPicPr>
        <p:blipFill>
          <a:blip r:embed="rId4"/>
          <a:stretch>
            <a:fillRect/>
          </a:stretch>
        </p:blipFill>
        <p:spPr>
          <a:xfrm>
            <a:off x="7929284" y="1678830"/>
            <a:ext cx="1108787" cy="1604615"/>
          </a:xfrm>
          <a:prstGeom prst="rect">
            <a:avLst/>
          </a:prstGeom>
        </p:spPr>
      </p:pic>
      <p:pic>
        <p:nvPicPr>
          <p:cNvPr id="12" name="Image 20">
            <a:extLst>
              <a:ext uri="{FF2B5EF4-FFF2-40B4-BE49-F238E27FC236}">
                <a16:creationId xmlns:a16="http://schemas.microsoft.com/office/drawing/2014/main" id="{8697750D-AE1D-4173-F1C2-5AC8DC91AF09}"/>
              </a:ext>
            </a:extLst>
          </p:cNvPr>
          <p:cNvPicPr>
            <a:picLocks/>
          </p:cNvPicPr>
          <p:nvPr/>
        </p:nvPicPr>
        <p:blipFill>
          <a:blip r:embed="rId5"/>
          <a:stretch>
            <a:fillRect/>
          </a:stretch>
        </p:blipFill>
        <p:spPr>
          <a:xfrm>
            <a:off x="6514454" y="1684359"/>
            <a:ext cx="1192024" cy="1606435"/>
          </a:xfrm>
          <a:prstGeom prst="rect">
            <a:avLst/>
          </a:prstGeom>
        </p:spPr>
      </p:pic>
      <p:pic>
        <p:nvPicPr>
          <p:cNvPr id="13" name="Image 47">
            <a:extLst>
              <a:ext uri="{FF2B5EF4-FFF2-40B4-BE49-F238E27FC236}">
                <a16:creationId xmlns:a16="http://schemas.microsoft.com/office/drawing/2014/main" id="{BB54BF74-3E50-6D14-D434-A2E78B8D516A}"/>
              </a:ext>
            </a:extLst>
          </p:cNvPr>
          <p:cNvPicPr>
            <a:picLocks/>
          </p:cNvPicPr>
          <p:nvPr/>
        </p:nvPicPr>
        <p:blipFill>
          <a:blip r:embed="rId6"/>
          <a:stretch>
            <a:fillRect/>
          </a:stretch>
        </p:blipFill>
        <p:spPr>
          <a:xfrm>
            <a:off x="5205293" y="3343763"/>
            <a:ext cx="1136317" cy="1633717"/>
          </a:xfrm>
          <a:prstGeom prst="rect">
            <a:avLst/>
          </a:prstGeom>
        </p:spPr>
      </p:pic>
      <p:pic>
        <p:nvPicPr>
          <p:cNvPr id="21" name="Image 48">
            <a:extLst>
              <a:ext uri="{FF2B5EF4-FFF2-40B4-BE49-F238E27FC236}">
                <a16:creationId xmlns:a16="http://schemas.microsoft.com/office/drawing/2014/main" id="{C97922CF-4CCA-7AE7-4146-D4619F105CF7}"/>
              </a:ext>
            </a:extLst>
          </p:cNvPr>
          <p:cNvPicPr>
            <a:picLocks/>
          </p:cNvPicPr>
          <p:nvPr/>
        </p:nvPicPr>
        <p:blipFill>
          <a:blip r:embed="rId7"/>
          <a:stretch>
            <a:fillRect/>
          </a:stretch>
        </p:blipFill>
        <p:spPr>
          <a:xfrm>
            <a:off x="6547680" y="3343763"/>
            <a:ext cx="1125572" cy="1628916"/>
          </a:xfrm>
          <a:prstGeom prst="rect">
            <a:avLst/>
          </a:prstGeom>
        </p:spPr>
      </p:pic>
      <p:pic>
        <p:nvPicPr>
          <p:cNvPr id="25" name="Image 43">
            <a:extLst>
              <a:ext uri="{FF2B5EF4-FFF2-40B4-BE49-F238E27FC236}">
                <a16:creationId xmlns:a16="http://schemas.microsoft.com/office/drawing/2014/main" id="{82FEB089-49EB-77CC-63F7-DEE6B38A6749}"/>
              </a:ext>
            </a:extLst>
          </p:cNvPr>
          <p:cNvPicPr>
            <a:picLocks/>
          </p:cNvPicPr>
          <p:nvPr/>
        </p:nvPicPr>
        <p:blipFill>
          <a:blip r:embed="rId8"/>
          <a:stretch>
            <a:fillRect/>
          </a:stretch>
        </p:blipFill>
        <p:spPr>
          <a:xfrm>
            <a:off x="7889266" y="3348564"/>
            <a:ext cx="1188823" cy="1624115"/>
          </a:xfrm>
          <a:prstGeom prst="rect">
            <a:avLst/>
          </a:prstGeom>
        </p:spPr>
      </p:pic>
    </p:spTree>
    <p:extLst>
      <p:ext uri="{BB962C8B-B14F-4D97-AF65-F5344CB8AC3E}">
        <p14:creationId xmlns:p14="http://schemas.microsoft.com/office/powerpoint/2010/main" val="32337799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D2D7022-D547-5B4D-0A26-B412ACD65533}"/>
              </a:ext>
            </a:extLst>
          </p:cNvPr>
          <p:cNvSpPr>
            <a:spLocks noGrp="1"/>
          </p:cNvSpPr>
          <p:nvPr>
            <p:ph type="ftr" sz="quarter" idx="11"/>
          </p:nvPr>
        </p:nvSpPr>
        <p:spPr/>
        <p:txBody>
          <a:bodyPr/>
          <a:lstStyle/>
          <a:p>
            <a:r>
              <a:rPr lang="en-US" noProof="0"/>
              <a:t>The Co-Development Company</a:t>
            </a:r>
          </a:p>
        </p:txBody>
      </p:sp>
      <p:sp>
        <p:nvSpPr>
          <p:cNvPr id="3" name="Content Placeholder 2">
            <a:extLst>
              <a:ext uri="{FF2B5EF4-FFF2-40B4-BE49-F238E27FC236}">
                <a16:creationId xmlns:a16="http://schemas.microsoft.com/office/drawing/2014/main" id="{52374645-368D-B0F2-E4C1-E1844FD9B414}"/>
              </a:ext>
            </a:extLst>
          </p:cNvPr>
          <p:cNvSpPr>
            <a:spLocks noGrp="1"/>
          </p:cNvSpPr>
          <p:nvPr>
            <p:ph sz="quarter" idx="13"/>
          </p:nvPr>
        </p:nvSpPr>
        <p:spPr>
          <a:xfrm>
            <a:off x="159132" y="2726216"/>
            <a:ext cx="2874391" cy="1687984"/>
          </a:xfrm>
        </p:spPr>
        <p:txBody>
          <a:bodyPr/>
          <a:lstStyle/>
          <a:p>
            <a:r>
              <a:rPr lang="en-GB" sz="1500" dirty="0"/>
              <a:t>All solutions deliver high shine, with dimethicone being slightly superior</a:t>
            </a:r>
          </a:p>
          <a:p>
            <a:endParaRPr lang="en-GB" sz="1500" dirty="0"/>
          </a:p>
          <a:p>
            <a:r>
              <a:rPr lang="en-GB" sz="1500" dirty="0"/>
              <a:t>After 8 hours in a humid chamber, LIPEX SheaLuxe TR delivers the highest shine</a:t>
            </a:r>
          </a:p>
          <a:p>
            <a:pPr marL="0" indent="0">
              <a:buNone/>
            </a:pPr>
            <a:endParaRPr lang="en-GB" dirty="0"/>
          </a:p>
        </p:txBody>
      </p:sp>
      <p:sp>
        <p:nvSpPr>
          <p:cNvPr id="4" name="Title 3">
            <a:extLst>
              <a:ext uri="{FF2B5EF4-FFF2-40B4-BE49-F238E27FC236}">
                <a16:creationId xmlns:a16="http://schemas.microsoft.com/office/drawing/2014/main" id="{B4D811F3-11D0-25C9-17F3-FF667F828B53}"/>
              </a:ext>
            </a:extLst>
          </p:cNvPr>
          <p:cNvSpPr>
            <a:spLocks noGrp="1"/>
          </p:cNvSpPr>
          <p:nvPr>
            <p:ph type="title"/>
          </p:nvPr>
        </p:nvSpPr>
        <p:spPr>
          <a:xfrm>
            <a:off x="442912" y="221456"/>
            <a:ext cx="8929687" cy="775597"/>
          </a:xfrm>
        </p:spPr>
        <p:txBody>
          <a:bodyPr/>
          <a:lstStyle/>
          <a:p>
            <a:r>
              <a:rPr lang="sv-SE" dirty="0"/>
              <a:t>LIPEX® SheaLuxe TR in </a:t>
            </a:r>
            <a:r>
              <a:rPr lang="sv-SE" dirty="0" err="1"/>
              <a:t>haircare</a:t>
            </a:r>
            <a:r>
              <a:rPr lang="sv-SE" dirty="0"/>
              <a:t> – in </a:t>
            </a:r>
            <a:r>
              <a:rPr lang="sv-SE" dirty="0" err="1"/>
              <a:t>formulation</a:t>
            </a:r>
            <a:br>
              <a:rPr lang="sv-SE" dirty="0"/>
            </a:br>
            <a:r>
              <a:rPr lang="sv-SE" sz="2000" dirty="0"/>
              <a:t>Has a </a:t>
            </a:r>
            <a:r>
              <a:rPr lang="sv-SE" sz="2000" dirty="0" err="1"/>
              <a:t>higher</a:t>
            </a:r>
            <a:r>
              <a:rPr lang="sv-SE" sz="2000" dirty="0"/>
              <a:t> long-term </a:t>
            </a:r>
            <a:r>
              <a:rPr lang="sv-SE" sz="2000" dirty="0" err="1"/>
              <a:t>shine</a:t>
            </a:r>
            <a:r>
              <a:rPr lang="sv-SE" sz="2000" dirty="0"/>
              <a:t> </a:t>
            </a:r>
            <a:r>
              <a:rPr lang="sv-SE" sz="2000" dirty="0" err="1"/>
              <a:t>effect</a:t>
            </a:r>
            <a:r>
              <a:rPr lang="sv-SE" sz="2000" dirty="0"/>
              <a:t> </a:t>
            </a:r>
            <a:r>
              <a:rPr lang="sv-SE" sz="2000" dirty="0" err="1"/>
              <a:t>than</a:t>
            </a:r>
            <a:r>
              <a:rPr lang="sv-SE" sz="2000" dirty="0"/>
              <a:t> </a:t>
            </a:r>
            <a:r>
              <a:rPr lang="sv-SE" sz="2000" dirty="0" err="1"/>
              <a:t>dimethicone</a:t>
            </a:r>
            <a:endParaRPr lang="sv-SE" sz="2000" dirty="0"/>
          </a:p>
        </p:txBody>
      </p:sp>
      <p:pic>
        <p:nvPicPr>
          <p:cNvPr id="11" name="Picture Placeholder 10">
            <a:extLst>
              <a:ext uri="{FF2B5EF4-FFF2-40B4-BE49-F238E27FC236}">
                <a16:creationId xmlns:a16="http://schemas.microsoft.com/office/drawing/2014/main" id="{AED9B174-FF47-AF04-6304-E8FD1B27DAAA}"/>
              </a:ext>
            </a:extLst>
          </p:cNvPr>
          <p:cNvPicPr>
            <a:picLocks noGrp="1" noChangeAspect="1"/>
          </p:cNvPicPr>
          <p:nvPr>
            <p:ph type="pic" sz="quarter" idx="15"/>
          </p:nvPr>
        </p:nvPicPr>
        <p:blipFill>
          <a:blip r:embed="rId2"/>
          <a:srcRect l="13900" r="13900"/>
          <a:stretch/>
        </p:blipFill>
        <p:spPr>
          <a:xfrm>
            <a:off x="8779197" y="0"/>
            <a:ext cx="3412803" cy="6858000"/>
          </a:xfrm>
        </p:spPr>
      </p:pic>
      <p:sp>
        <p:nvSpPr>
          <p:cNvPr id="6" name="Date Placeholder 5">
            <a:extLst>
              <a:ext uri="{FF2B5EF4-FFF2-40B4-BE49-F238E27FC236}">
                <a16:creationId xmlns:a16="http://schemas.microsoft.com/office/drawing/2014/main" id="{F0918EB2-BEF5-2450-CB61-E61F7DE48662}"/>
              </a:ext>
            </a:extLst>
          </p:cNvPr>
          <p:cNvSpPr>
            <a:spLocks noGrp="1"/>
          </p:cNvSpPr>
          <p:nvPr>
            <p:ph type="dt" sz="half" idx="10"/>
          </p:nvPr>
        </p:nvSpPr>
        <p:spPr/>
        <p:txBody>
          <a:bodyPr/>
          <a:lstStyle/>
          <a:p>
            <a:fld id="{C78DEDC2-ACA1-4EAB-A480-F69E7E2BB7C8}" type="datetime1">
              <a:rPr lang="en-GB" sz="1000" smtClean="0"/>
              <a:t>18/06/2025</a:t>
            </a:fld>
            <a:endParaRPr lang="en-US" sz="1000" dirty="0"/>
          </a:p>
        </p:txBody>
      </p:sp>
      <p:sp>
        <p:nvSpPr>
          <p:cNvPr id="7" name="Slide Number Placeholder 6">
            <a:extLst>
              <a:ext uri="{FF2B5EF4-FFF2-40B4-BE49-F238E27FC236}">
                <a16:creationId xmlns:a16="http://schemas.microsoft.com/office/drawing/2014/main" id="{E56970C1-41E6-C8D2-FB23-509F240B6153}"/>
              </a:ext>
            </a:extLst>
          </p:cNvPr>
          <p:cNvSpPr>
            <a:spLocks noGrp="1"/>
          </p:cNvSpPr>
          <p:nvPr>
            <p:ph type="sldNum" sz="quarter" idx="12"/>
          </p:nvPr>
        </p:nvSpPr>
        <p:spPr/>
        <p:txBody>
          <a:bodyPr/>
          <a:lstStyle/>
          <a:p>
            <a:fld id="{4803DD7B-12C8-43B8-9F45-989336E79744}" type="slidenum">
              <a:rPr lang="en-US" sz="1000" smtClean="0"/>
              <a:pPr/>
              <a:t>34</a:t>
            </a:fld>
            <a:endParaRPr lang="en-US" sz="1000" dirty="0"/>
          </a:p>
        </p:txBody>
      </p:sp>
      <p:sp>
        <p:nvSpPr>
          <p:cNvPr id="24" name="Content Placeholder 2">
            <a:extLst>
              <a:ext uri="{FF2B5EF4-FFF2-40B4-BE49-F238E27FC236}">
                <a16:creationId xmlns:a16="http://schemas.microsoft.com/office/drawing/2014/main" id="{09287506-5B2B-1E1E-EE45-70FEA5FBDE6F}"/>
              </a:ext>
            </a:extLst>
          </p:cNvPr>
          <p:cNvSpPr txBox="1">
            <a:spLocks/>
          </p:cNvSpPr>
          <p:nvPr/>
        </p:nvSpPr>
        <p:spPr>
          <a:xfrm>
            <a:off x="219902" y="4026402"/>
            <a:ext cx="2874391" cy="775597"/>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GB" dirty="0"/>
          </a:p>
        </p:txBody>
      </p:sp>
      <p:sp>
        <p:nvSpPr>
          <p:cNvPr id="26" name="TextBox 25">
            <a:extLst>
              <a:ext uri="{FF2B5EF4-FFF2-40B4-BE49-F238E27FC236}">
                <a16:creationId xmlns:a16="http://schemas.microsoft.com/office/drawing/2014/main" id="{A175108B-497D-40B7-A531-115ACDC7C8C6}"/>
              </a:ext>
            </a:extLst>
          </p:cNvPr>
          <p:cNvSpPr txBox="1"/>
          <p:nvPr/>
        </p:nvSpPr>
        <p:spPr>
          <a:xfrm>
            <a:off x="443287" y="5521028"/>
            <a:ext cx="8126556" cy="692497"/>
          </a:xfrm>
          <a:prstGeom prst="rect">
            <a:avLst/>
          </a:prstGeom>
          <a:noFill/>
          <a:ln>
            <a:noFill/>
          </a:ln>
        </p:spPr>
        <p:txBody>
          <a:bodyPr wrap="square" lIns="0" tIns="0" rIns="0" bIns="0" rtlCol="0">
            <a:spAutoFit/>
          </a:bodyPr>
          <a:lstStyle/>
          <a:p>
            <a:pPr algn="l">
              <a:buClr>
                <a:schemeClr val="tx2"/>
              </a:buClr>
            </a:pPr>
            <a:r>
              <a:rPr lang="sv-SE" sz="900" b="1" spc="-30" dirty="0" err="1">
                <a:solidFill>
                  <a:schemeClr val="tx1">
                    <a:lumMod val="50000"/>
                    <a:lumOff val="50000"/>
                  </a:schemeClr>
                </a:solidFill>
              </a:rPr>
              <a:t>Formulation</a:t>
            </a:r>
            <a:r>
              <a:rPr lang="sv-SE" sz="900" b="1" spc="-30" dirty="0">
                <a:solidFill>
                  <a:schemeClr val="tx1">
                    <a:lumMod val="50000"/>
                    <a:lumOff val="50000"/>
                  </a:schemeClr>
                </a:solidFill>
              </a:rPr>
              <a:t>: </a:t>
            </a:r>
          </a:p>
          <a:p>
            <a:pPr algn="l">
              <a:buClr>
                <a:schemeClr val="tx2"/>
              </a:buClr>
            </a:pPr>
            <a:r>
              <a:rPr lang="sv-SE" sz="900" spc="-30" dirty="0">
                <a:solidFill>
                  <a:schemeClr val="tx1">
                    <a:lumMod val="50000"/>
                    <a:lumOff val="50000"/>
                  </a:schemeClr>
                </a:solidFill>
              </a:rPr>
              <a:t>20% </a:t>
            </a:r>
            <a:r>
              <a:rPr lang="sv-SE" sz="900" spc="-30" dirty="0" err="1">
                <a:solidFill>
                  <a:schemeClr val="tx1">
                    <a:lumMod val="50000"/>
                    <a:lumOff val="50000"/>
                  </a:schemeClr>
                </a:solidFill>
              </a:rPr>
              <a:t>Canola</a:t>
            </a:r>
            <a:r>
              <a:rPr lang="sv-SE" sz="900" spc="-30" dirty="0">
                <a:solidFill>
                  <a:schemeClr val="tx1">
                    <a:lumMod val="50000"/>
                    <a:lumOff val="50000"/>
                  </a:schemeClr>
                </a:solidFill>
              </a:rPr>
              <a:t> </a:t>
            </a:r>
            <a:r>
              <a:rPr lang="sv-SE" sz="900" spc="-30" dirty="0" err="1">
                <a:solidFill>
                  <a:schemeClr val="tx1">
                    <a:lumMod val="50000"/>
                    <a:lumOff val="50000"/>
                  </a:schemeClr>
                </a:solidFill>
              </a:rPr>
              <a:t>oil</a:t>
            </a:r>
            <a:r>
              <a:rPr lang="sv-SE" sz="900" spc="-30" dirty="0">
                <a:solidFill>
                  <a:schemeClr val="tx1">
                    <a:lumMod val="50000"/>
                    <a:lumOff val="50000"/>
                  </a:schemeClr>
                </a:solidFill>
              </a:rPr>
              <a:t>, 20% </a:t>
            </a:r>
            <a:r>
              <a:rPr lang="sv-SE" sz="900" spc="-30" dirty="0" err="1">
                <a:solidFill>
                  <a:schemeClr val="tx1">
                    <a:lumMod val="50000"/>
                    <a:lumOff val="50000"/>
                  </a:schemeClr>
                </a:solidFill>
              </a:rPr>
              <a:t>Argania</a:t>
            </a:r>
            <a:r>
              <a:rPr lang="sv-SE" sz="900" spc="-30" dirty="0">
                <a:solidFill>
                  <a:schemeClr val="tx1">
                    <a:lumMod val="50000"/>
                    <a:lumOff val="50000"/>
                  </a:schemeClr>
                </a:solidFill>
              </a:rPr>
              <a:t> </a:t>
            </a:r>
            <a:r>
              <a:rPr lang="sv-SE" sz="900" spc="-30" dirty="0" err="1">
                <a:solidFill>
                  <a:schemeClr val="tx1">
                    <a:lumMod val="50000"/>
                    <a:lumOff val="50000"/>
                  </a:schemeClr>
                </a:solidFill>
              </a:rPr>
              <a:t>spinosa</a:t>
            </a:r>
            <a:r>
              <a:rPr lang="sv-SE" sz="900" spc="-30" dirty="0">
                <a:solidFill>
                  <a:schemeClr val="tx1">
                    <a:lumMod val="50000"/>
                    <a:lumOff val="50000"/>
                  </a:schemeClr>
                </a:solidFill>
              </a:rPr>
              <a:t> </a:t>
            </a:r>
            <a:r>
              <a:rPr lang="sv-SE" sz="900" spc="-30" dirty="0" err="1">
                <a:solidFill>
                  <a:schemeClr val="tx1">
                    <a:lumMod val="50000"/>
                    <a:lumOff val="50000"/>
                  </a:schemeClr>
                </a:solidFill>
              </a:rPr>
              <a:t>kernel</a:t>
            </a:r>
            <a:r>
              <a:rPr lang="sv-SE" sz="900" spc="-30" dirty="0">
                <a:solidFill>
                  <a:schemeClr val="tx1">
                    <a:lumMod val="50000"/>
                    <a:lumOff val="50000"/>
                  </a:schemeClr>
                </a:solidFill>
              </a:rPr>
              <a:t> (Argan) </a:t>
            </a:r>
            <a:r>
              <a:rPr lang="sv-SE" sz="900" spc="-30" dirty="0" err="1">
                <a:solidFill>
                  <a:schemeClr val="tx1">
                    <a:lumMod val="50000"/>
                    <a:lumOff val="50000"/>
                  </a:schemeClr>
                </a:solidFill>
              </a:rPr>
              <a:t>oil</a:t>
            </a:r>
            <a:r>
              <a:rPr lang="sv-SE" sz="900" spc="-30" dirty="0">
                <a:solidFill>
                  <a:schemeClr val="tx1">
                    <a:lumMod val="50000"/>
                    <a:lumOff val="50000"/>
                  </a:schemeClr>
                </a:solidFill>
              </a:rPr>
              <a:t>, 10% </a:t>
            </a:r>
            <a:r>
              <a:rPr lang="sv-SE" sz="900" spc="-30" dirty="0" err="1">
                <a:solidFill>
                  <a:schemeClr val="tx1">
                    <a:lumMod val="50000"/>
                    <a:lumOff val="50000"/>
                  </a:schemeClr>
                </a:solidFill>
              </a:rPr>
              <a:t>Ricinus</a:t>
            </a:r>
            <a:r>
              <a:rPr lang="sv-SE" sz="900" spc="-30" dirty="0">
                <a:solidFill>
                  <a:schemeClr val="tx1">
                    <a:lumMod val="50000"/>
                    <a:lumOff val="50000"/>
                  </a:schemeClr>
                </a:solidFill>
              </a:rPr>
              <a:t> </a:t>
            </a:r>
            <a:r>
              <a:rPr lang="sv-SE" sz="900" spc="-30" dirty="0" err="1">
                <a:solidFill>
                  <a:schemeClr val="tx1">
                    <a:lumMod val="50000"/>
                    <a:lumOff val="50000"/>
                  </a:schemeClr>
                </a:solidFill>
              </a:rPr>
              <a:t>Communis</a:t>
            </a:r>
            <a:r>
              <a:rPr lang="sv-SE" sz="900" spc="-30" dirty="0">
                <a:solidFill>
                  <a:schemeClr val="tx1">
                    <a:lumMod val="50000"/>
                    <a:lumOff val="50000"/>
                  </a:schemeClr>
                </a:solidFill>
              </a:rPr>
              <a:t> (Castor) </a:t>
            </a:r>
            <a:r>
              <a:rPr lang="sv-SE" sz="900" spc="-30" dirty="0" err="1">
                <a:solidFill>
                  <a:schemeClr val="tx1">
                    <a:lumMod val="50000"/>
                    <a:lumOff val="50000"/>
                  </a:schemeClr>
                </a:solidFill>
              </a:rPr>
              <a:t>Seed</a:t>
            </a:r>
            <a:r>
              <a:rPr lang="sv-SE" sz="900" spc="-30" dirty="0">
                <a:solidFill>
                  <a:schemeClr val="tx1">
                    <a:lumMod val="50000"/>
                    <a:lumOff val="50000"/>
                  </a:schemeClr>
                </a:solidFill>
              </a:rPr>
              <a:t> </a:t>
            </a:r>
            <a:r>
              <a:rPr lang="sv-SE" sz="900" spc="-30" dirty="0" err="1">
                <a:solidFill>
                  <a:schemeClr val="tx1">
                    <a:lumMod val="50000"/>
                    <a:lumOff val="50000"/>
                  </a:schemeClr>
                </a:solidFill>
              </a:rPr>
              <a:t>oil</a:t>
            </a:r>
            <a:r>
              <a:rPr lang="sv-SE" sz="900" spc="-30" dirty="0">
                <a:solidFill>
                  <a:schemeClr val="tx1">
                    <a:lumMod val="50000"/>
                    <a:lumOff val="50000"/>
                  </a:schemeClr>
                </a:solidFill>
              </a:rPr>
              <a:t>, 10% </a:t>
            </a:r>
            <a:r>
              <a:rPr lang="sv-SE" sz="900" spc="-30" dirty="0" err="1">
                <a:solidFill>
                  <a:schemeClr val="tx1">
                    <a:lumMod val="50000"/>
                    <a:lumOff val="50000"/>
                  </a:schemeClr>
                </a:solidFill>
              </a:rPr>
              <a:t>Prunus</a:t>
            </a:r>
            <a:r>
              <a:rPr lang="sv-SE" sz="900" spc="-30" dirty="0">
                <a:solidFill>
                  <a:schemeClr val="tx1">
                    <a:lumMod val="50000"/>
                    <a:lumOff val="50000"/>
                  </a:schemeClr>
                </a:solidFill>
              </a:rPr>
              <a:t> </a:t>
            </a:r>
            <a:r>
              <a:rPr lang="sv-SE" sz="900" spc="-30" dirty="0" err="1">
                <a:solidFill>
                  <a:schemeClr val="tx1">
                    <a:lumMod val="50000"/>
                    <a:lumOff val="50000"/>
                  </a:schemeClr>
                </a:solidFill>
              </a:rPr>
              <a:t>Armeniaca</a:t>
            </a:r>
            <a:r>
              <a:rPr lang="sv-SE" sz="900" spc="-30" dirty="0">
                <a:solidFill>
                  <a:schemeClr val="tx1">
                    <a:lumMod val="50000"/>
                    <a:lumOff val="50000"/>
                  </a:schemeClr>
                </a:solidFill>
              </a:rPr>
              <a:t> (Apricot) </a:t>
            </a:r>
            <a:r>
              <a:rPr lang="sv-SE" sz="900" spc="-30" dirty="0" err="1">
                <a:solidFill>
                  <a:schemeClr val="tx1">
                    <a:lumMod val="50000"/>
                    <a:lumOff val="50000"/>
                  </a:schemeClr>
                </a:solidFill>
              </a:rPr>
              <a:t>Kernel</a:t>
            </a:r>
            <a:r>
              <a:rPr lang="sv-SE" sz="900" spc="-30" dirty="0">
                <a:solidFill>
                  <a:schemeClr val="tx1">
                    <a:lumMod val="50000"/>
                    <a:lumOff val="50000"/>
                  </a:schemeClr>
                </a:solidFill>
              </a:rPr>
              <a:t> Oil, 25% Test Product</a:t>
            </a:r>
          </a:p>
          <a:p>
            <a:pPr algn="l">
              <a:buClr>
                <a:schemeClr val="tx2"/>
              </a:buClr>
            </a:pPr>
            <a:endParaRPr lang="sv-SE" sz="900" spc="-30" dirty="0">
              <a:solidFill>
                <a:schemeClr val="tx1">
                  <a:lumMod val="50000"/>
                  <a:lumOff val="50000"/>
                </a:schemeClr>
              </a:solidFill>
            </a:endParaRPr>
          </a:p>
          <a:p>
            <a:pPr algn="l">
              <a:buClr>
                <a:schemeClr val="tx2"/>
              </a:buClr>
            </a:pPr>
            <a:r>
              <a:rPr lang="sv-SE" sz="900" b="1" spc="-30" dirty="0" err="1">
                <a:solidFill>
                  <a:schemeClr val="tx1">
                    <a:lumMod val="50000"/>
                    <a:lumOff val="50000"/>
                  </a:schemeClr>
                </a:solidFill>
              </a:rPr>
              <a:t>Procedure</a:t>
            </a:r>
            <a:r>
              <a:rPr lang="sv-SE" sz="900" b="1" spc="-30" dirty="0">
                <a:solidFill>
                  <a:schemeClr val="tx1">
                    <a:lumMod val="50000"/>
                    <a:lumOff val="50000"/>
                  </a:schemeClr>
                </a:solidFill>
              </a:rPr>
              <a:t>:</a:t>
            </a:r>
          </a:p>
          <a:p>
            <a:pPr algn="l">
              <a:buClr>
                <a:schemeClr val="tx2"/>
              </a:buClr>
            </a:pPr>
            <a:r>
              <a:rPr lang="sv-SE" sz="900" spc="-30" dirty="0" err="1">
                <a:solidFill>
                  <a:schemeClr val="tx1">
                    <a:lumMod val="50000"/>
                    <a:lumOff val="50000"/>
                  </a:schemeClr>
                </a:solidFill>
              </a:rPr>
              <a:t>See</a:t>
            </a:r>
            <a:r>
              <a:rPr lang="sv-SE" sz="900" spc="-30" dirty="0">
                <a:solidFill>
                  <a:schemeClr val="tx1">
                    <a:lumMod val="50000"/>
                    <a:lumOff val="50000"/>
                  </a:schemeClr>
                </a:solidFill>
              </a:rPr>
              <a:t> </a:t>
            </a:r>
            <a:r>
              <a:rPr lang="sv-SE" sz="900" spc="-30" dirty="0" err="1">
                <a:solidFill>
                  <a:schemeClr val="tx1">
                    <a:lumMod val="50000"/>
                    <a:lumOff val="50000"/>
                  </a:schemeClr>
                </a:solidFill>
              </a:rPr>
              <a:t>previous</a:t>
            </a:r>
            <a:r>
              <a:rPr lang="sv-SE" sz="900" spc="-30" dirty="0">
                <a:solidFill>
                  <a:schemeClr val="tx1">
                    <a:lumMod val="50000"/>
                    <a:lumOff val="50000"/>
                  </a:schemeClr>
                </a:solidFill>
              </a:rPr>
              <a:t> </a:t>
            </a:r>
            <a:r>
              <a:rPr lang="sv-SE" sz="900" spc="-30" dirty="0" err="1">
                <a:solidFill>
                  <a:schemeClr val="tx1">
                    <a:lumMod val="50000"/>
                    <a:lumOff val="50000"/>
                  </a:schemeClr>
                </a:solidFill>
              </a:rPr>
              <a:t>slide</a:t>
            </a:r>
            <a:endParaRPr lang="sv-SE" sz="900" spc="-30" dirty="0">
              <a:solidFill>
                <a:schemeClr val="tx1">
                  <a:lumMod val="50000"/>
                  <a:lumOff val="50000"/>
                </a:schemeClr>
              </a:solidFill>
            </a:endParaRPr>
          </a:p>
        </p:txBody>
      </p:sp>
      <p:graphicFrame>
        <p:nvGraphicFramePr>
          <p:cNvPr id="9" name="Content Placeholder 19">
            <a:extLst>
              <a:ext uri="{FF2B5EF4-FFF2-40B4-BE49-F238E27FC236}">
                <a16:creationId xmlns:a16="http://schemas.microsoft.com/office/drawing/2014/main" id="{8191B7B4-CA7A-7B6F-DC6D-4196DEE3ADAB}"/>
              </a:ext>
            </a:extLst>
          </p:cNvPr>
          <p:cNvGraphicFramePr>
            <a:graphicFrameLocks/>
          </p:cNvGraphicFramePr>
          <p:nvPr/>
        </p:nvGraphicFramePr>
        <p:xfrm>
          <a:off x="3179135" y="1254360"/>
          <a:ext cx="5390708" cy="4204575"/>
        </p:xfrm>
        <a:graphic>
          <a:graphicData uri="http://schemas.openxmlformats.org/drawingml/2006/table">
            <a:tbl>
              <a:tblPr firstRow="1" bandRow="1">
                <a:tableStyleId>{69012ECD-51FC-41F1-AA8D-1B2483CD663E}</a:tableStyleId>
              </a:tblPr>
              <a:tblGrid>
                <a:gridCol w="693680">
                  <a:extLst>
                    <a:ext uri="{9D8B030D-6E8A-4147-A177-3AD203B41FA5}">
                      <a16:colId xmlns:a16="http://schemas.microsoft.com/office/drawing/2014/main" val="3801190194"/>
                    </a:ext>
                  </a:extLst>
                </a:gridCol>
                <a:gridCol w="1143110">
                  <a:extLst>
                    <a:ext uri="{9D8B030D-6E8A-4147-A177-3AD203B41FA5}">
                      <a16:colId xmlns:a16="http://schemas.microsoft.com/office/drawing/2014/main" val="2482723095"/>
                    </a:ext>
                  </a:extLst>
                </a:gridCol>
                <a:gridCol w="1143110">
                  <a:extLst>
                    <a:ext uri="{9D8B030D-6E8A-4147-A177-3AD203B41FA5}">
                      <a16:colId xmlns:a16="http://schemas.microsoft.com/office/drawing/2014/main" val="4269475678"/>
                    </a:ext>
                  </a:extLst>
                </a:gridCol>
                <a:gridCol w="1200095">
                  <a:extLst>
                    <a:ext uri="{9D8B030D-6E8A-4147-A177-3AD203B41FA5}">
                      <a16:colId xmlns:a16="http://schemas.microsoft.com/office/drawing/2014/main" val="3512671122"/>
                    </a:ext>
                  </a:extLst>
                </a:gridCol>
                <a:gridCol w="1210713">
                  <a:extLst>
                    <a:ext uri="{9D8B030D-6E8A-4147-A177-3AD203B41FA5}">
                      <a16:colId xmlns:a16="http://schemas.microsoft.com/office/drawing/2014/main" val="423283504"/>
                    </a:ext>
                  </a:extLst>
                </a:gridCol>
              </a:tblGrid>
              <a:tr h="572463">
                <a:tc>
                  <a:txBody>
                    <a:bodyPr/>
                    <a:lstStyle/>
                    <a:p>
                      <a:endParaRPr lang="sv-SE" dirty="0"/>
                    </a:p>
                  </a:txBody>
                  <a:tcP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solidFill>
                      <a:srgbClr val="8FB3E4"/>
                    </a:solidFill>
                  </a:tcPr>
                </a:tc>
                <a:tc>
                  <a:txBody>
                    <a:bodyPr/>
                    <a:lstStyle/>
                    <a:p>
                      <a:pPr algn="ctr"/>
                      <a:r>
                        <a:rPr lang="sv-SE" sz="1600" dirty="0" err="1"/>
                        <a:t>Untreated</a:t>
                      </a:r>
                      <a:endParaRPr lang="sv-SE" sz="1600" dirty="0"/>
                    </a:p>
                  </a:txBody>
                  <a:tcPr anchor="ct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solidFill>
                      <a:srgbClr val="8FB3E4"/>
                    </a:solidFill>
                  </a:tcPr>
                </a:tc>
                <a:tc>
                  <a:txBody>
                    <a:bodyPr/>
                    <a:lstStyle/>
                    <a:p>
                      <a:pPr algn="ctr"/>
                      <a:r>
                        <a:rPr lang="sv-SE" sz="1600" err="1"/>
                        <a:t>Vegetable</a:t>
                      </a:r>
                      <a:r>
                        <a:rPr lang="sv-SE" sz="1600"/>
                        <a:t> </a:t>
                      </a:r>
                      <a:r>
                        <a:rPr lang="sv-SE" sz="1600" err="1"/>
                        <a:t>oil</a:t>
                      </a:r>
                      <a:r>
                        <a:rPr lang="sv-SE" sz="1600"/>
                        <a:t> </a:t>
                      </a:r>
                    </a:p>
                  </a:txBody>
                  <a:tcPr anchor="ct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solidFill>
                      <a:srgbClr val="8FB3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600" dirty="0"/>
                        <a:t>Dimethicone 5mPa.s</a:t>
                      </a:r>
                    </a:p>
                  </a:txBody>
                  <a:tcPr anchor="ct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solidFill>
                      <a:srgbClr val="8FB3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600" dirty="0"/>
                        <a:t>LIPEX® SheaLuxe TR</a:t>
                      </a:r>
                    </a:p>
                  </a:txBody>
                  <a:tcPr anchor="ct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solidFill>
                      <a:srgbClr val="8FB3E4"/>
                    </a:solidFill>
                  </a:tcPr>
                </a:tc>
                <a:extLst>
                  <a:ext uri="{0D108BD9-81ED-4DB2-BD59-A6C34878D82A}">
                    <a16:rowId xmlns:a16="http://schemas.microsoft.com/office/drawing/2014/main" val="3158039058"/>
                  </a:ext>
                </a:extLst>
              </a:tr>
              <a:tr h="1633201">
                <a:tc>
                  <a:txBody>
                    <a:bodyPr/>
                    <a:lstStyle/>
                    <a:p>
                      <a:r>
                        <a:rPr lang="sv-SE"/>
                        <a:t>T=0</a:t>
                      </a:r>
                    </a:p>
                  </a:txBody>
                  <a:tcPr anchor="ct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tcPr>
                </a:tc>
                <a:tc>
                  <a:txBody>
                    <a:bodyPr/>
                    <a:lstStyle/>
                    <a:p>
                      <a:endParaRPr lang="sv-SE"/>
                    </a:p>
                  </a:txBody>
                  <a:tcP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tcPr>
                </a:tc>
                <a:tc>
                  <a:txBody>
                    <a:bodyPr/>
                    <a:lstStyle/>
                    <a:p>
                      <a:endParaRPr lang="sv-SE"/>
                    </a:p>
                  </a:txBody>
                  <a:tcP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tcPr>
                </a:tc>
                <a:tc>
                  <a:txBody>
                    <a:bodyPr/>
                    <a:lstStyle/>
                    <a:p>
                      <a:endParaRPr lang="sv-SE"/>
                    </a:p>
                  </a:txBody>
                  <a:tcP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tcPr>
                </a:tc>
                <a:tc>
                  <a:txBody>
                    <a:bodyPr/>
                    <a:lstStyle/>
                    <a:p>
                      <a:endParaRPr lang="sv-SE"/>
                    </a:p>
                  </a:txBody>
                  <a:tcP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tcPr>
                </a:tc>
                <a:extLst>
                  <a:ext uri="{0D108BD9-81ED-4DB2-BD59-A6C34878D82A}">
                    <a16:rowId xmlns:a16="http://schemas.microsoft.com/office/drawing/2014/main" val="2429236027"/>
                  </a:ext>
                </a:extLst>
              </a:tr>
              <a:tr h="17484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a:t>T=8</a:t>
                      </a:r>
                    </a:p>
                    <a:p>
                      <a:endParaRPr lang="sv-SE"/>
                    </a:p>
                  </a:txBody>
                  <a:tcPr anchor="ct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tcPr>
                </a:tc>
                <a:tc>
                  <a:txBody>
                    <a:bodyPr/>
                    <a:lstStyle/>
                    <a:p>
                      <a:endParaRPr lang="sv-SE"/>
                    </a:p>
                  </a:txBody>
                  <a:tcP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tcPr>
                </a:tc>
                <a:tc>
                  <a:txBody>
                    <a:bodyPr/>
                    <a:lstStyle/>
                    <a:p>
                      <a:endParaRPr lang="sv-SE"/>
                    </a:p>
                  </a:txBody>
                  <a:tcP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tcPr>
                </a:tc>
                <a:tc>
                  <a:txBody>
                    <a:bodyPr/>
                    <a:lstStyle/>
                    <a:p>
                      <a:endParaRPr lang="sv-SE"/>
                    </a:p>
                  </a:txBody>
                  <a:tcP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tcPr>
                </a:tc>
                <a:tc>
                  <a:txBody>
                    <a:bodyPr/>
                    <a:lstStyle/>
                    <a:p>
                      <a:endParaRPr lang="sv-SE" dirty="0"/>
                    </a:p>
                  </a:txBody>
                  <a:tcPr>
                    <a:lnL w="12700" cap="flat" cmpd="sng" algn="ctr">
                      <a:solidFill>
                        <a:srgbClr val="588DD7"/>
                      </a:solidFill>
                      <a:prstDash val="solid"/>
                      <a:round/>
                      <a:headEnd type="none" w="med" len="med"/>
                      <a:tailEnd type="none" w="med" len="med"/>
                    </a:lnL>
                    <a:lnR w="12700" cap="flat" cmpd="sng" algn="ctr">
                      <a:solidFill>
                        <a:srgbClr val="588DD7"/>
                      </a:solidFill>
                      <a:prstDash val="solid"/>
                      <a:round/>
                      <a:headEnd type="none" w="med" len="med"/>
                      <a:tailEnd type="none" w="med" len="med"/>
                    </a:lnR>
                    <a:lnT w="12700" cap="flat" cmpd="sng" algn="ctr">
                      <a:solidFill>
                        <a:srgbClr val="588DD7"/>
                      </a:solidFill>
                      <a:prstDash val="solid"/>
                      <a:round/>
                      <a:headEnd type="none" w="med" len="med"/>
                      <a:tailEnd type="none" w="med" len="med"/>
                    </a:lnT>
                    <a:lnB w="12700" cap="flat" cmpd="sng" algn="ctr">
                      <a:solidFill>
                        <a:srgbClr val="588DD7"/>
                      </a:solidFill>
                      <a:prstDash val="solid"/>
                      <a:round/>
                      <a:headEnd type="none" w="med" len="med"/>
                      <a:tailEnd type="none" w="med" len="med"/>
                    </a:lnB>
                  </a:tcPr>
                </a:tc>
                <a:extLst>
                  <a:ext uri="{0D108BD9-81ED-4DB2-BD59-A6C34878D82A}">
                    <a16:rowId xmlns:a16="http://schemas.microsoft.com/office/drawing/2014/main" val="3282275852"/>
                  </a:ext>
                </a:extLst>
              </a:tr>
            </a:tbl>
          </a:graphicData>
        </a:graphic>
      </p:graphicFrame>
      <p:pic>
        <p:nvPicPr>
          <p:cNvPr id="10" name="Image 26">
            <a:extLst>
              <a:ext uri="{FF2B5EF4-FFF2-40B4-BE49-F238E27FC236}">
                <a16:creationId xmlns:a16="http://schemas.microsoft.com/office/drawing/2014/main" id="{016644E3-F06C-0CE1-90C5-AD44E8EC2CFF}"/>
              </a:ext>
              <a:ext uri="{147F2762-F138-4A5C-976F-8EAC2B608ADB}">
                <a16:predDERef xmlns:a16="http://schemas.microsoft.com/office/drawing/2014/main" pred="{42F24DD4-8724-5598-873D-DE426BCC46A4}"/>
              </a:ext>
            </a:extLst>
          </p:cNvPr>
          <p:cNvPicPr>
            <a:picLocks/>
          </p:cNvPicPr>
          <p:nvPr/>
        </p:nvPicPr>
        <p:blipFill rotWithShape="1">
          <a:blip r:embed="rId3"/>
          <a:srcRect l="5386" r="11441"/>
          <a:stretch/>
        </p:blipFill>
        <p:spPr>
          <a:xfrm>
            <a:off x="7417882" y="2134814"/>
            <a:ext cx="1096783" cy="1512000"/>
          </a:xfrm>
          <a:prstGeom prst="rect">
            <a:avLst/>
          </a:prstGeom>
        </p:spPr>
      </p:pic>
      <p:pic>
        <p:nvPicPr>
          <p:cNvPr id="16" name="Image 29">
            <a:extLst>
              <a:ext uri="{FF2B5EF4-FFF2-40B4-BE49-F238E27FC236}">
                <a16:creationId xmlns:a16="http://schemas.microsoft.com/office/drawing/2014/main" id="{2828829A-B223-06B8-BB12-805F52B8F616}"/>
              </a:ext>
            </a:extLst>
          </p:cNvPr>
          <p:cNvPicPr>
            <a:picLocks/>
          </p:cNvPicPr>
          <p:nvPr/>
        </p:nvPicPr>
        <p:blipFill rotWithShape="1">
          <a:blip r:embed="rId4"/>
          <a:srcRect l="12711" t="6339"/>
          <a:stretch/>
        </p:blipFill>
        <p:spPr>
          <a:xfrm>
            <a:off x="5075865" y="2156080"/>
            <a:ext cx="1032717" cy="1512000"/>
          </a:xfrm>
          <a:prstGeom prst="rect">
            <a:avLst/>
          </a:prstGeom>
        </p:spPr>
      </p:pic>
      <p:pic>
        <p:nvPicPr>
          <p:cNvPr id="18" name="Image 28">
            <a:extLst>
              <a:ext uri="{FF2B5EF4-FFF2-40B4-BE49-F238E27FC236}">
                <a16:creationId xmlns:a16="http://schemas.microsoft.com/office/drawing/2014/main" id="{DCB9C66F-2B06-51DE-D7DC-9B2077B9F1C6}"/>
              </a:ext>
              <a:ext uri="{147F2762-F138-4A5C-976F-8EAC2B608ADB}">
                <a16:predDERef xmlns:a16="http://schemas.microsoft.com/office/drawing/2014/main" pred="{DCD1ABA1-28B5-7215-EB2E-E47A5CA9F688}"/>
              </a:ext>
            </a:extLst>
          </p:cNvPr>
          <p:cNvPicPr>
            <a:picLocks/>
          </p:cNvPicPr>
          <p:nvPr/>
        </p:nvPicPr>
        <p:blipFill rotWithShape="1">
          <a:blip r:embed="rId5"/>
          <a:srcRect l="6786" t="6666" r="-408"/>
          <a:stretch/>
        </p:blipFill>
        <p:spPr>
          <a:xfrm>
            <a:off x="6189305" y="2134814"/>
            <a:ext cx="1167807" cy="1512000"/>
          </a:xfrm>
          <a:prstGeom prst="rect">
            <a:avLst/>
          </a:prstGeom>
        </p:spPr>
      </p:pic>
      <p:pic>
        <p:nvPicPr>
          <p:cNvPr id="20" name="Image 38">
            <a:extLst>
              <a:ext uri="{FF2B5EF4-FFF2-40B4-BE49-F238E27FC236}">
                <a16:creationId xmlns:a16="http://schemas.microsoft.com/office/drawing/2014/main" id="{24F1BAB4-7F64-433D-14DB-6F9F28639FA5}"/>
              </a:ext>
              <a:ext uri="{147F2762-F138-4A5C-976F-8EAC2B608ADB}">
                <a16:predDERef xmlns:a16="http://schemas.microsoft.com/office/drawing/2014/main" pred="{CE15E8FC-2362-FD4C-8011-5F52E78A37AA}"/>
              </a:ext>
            </a:extLst>
          </p:cNvPr>
          <p:cNvPicPr>
            <a:picLocks/>
          </p:cNvPicPr>
          <p:nvPr/>
        </p:nvPicPr>
        <p:blipFill rotWithShape="1">
          <a:blip r:embed="rId6"/>
          <a:srcRect l="10320" t="337" r="817" b="88"/>
          <a:stretch/>
        </p:blipFill>
        <p:spPr>
          <a:xfrm>
            <a:off x="5055618" y="3818793"/>
            <a:ext cx="1073210" cy="1512000"/>
          </a:xfrm>
          <a:prstGeom prst="rect">
            <a:avLst/>
          </a:prstGeom>
        </p:spPr>
      </p:pic>
      <p:pic>
        <p:nvPicPr>
          <p:cNvPr id="22" name="Image 39">
            <a:extLst>
              <a:ext uri="{FF2B5EF4-FFF2-40B4-BE49-F238E27FC236}">
                <a16:creationId xmlns:a16="http://schemas.microsoft.com/office/drawing/2014/main" id="{28854D55-48ED-B64F-1C7E-1B511B9FAD9C}"/>
              </a:ext>
              <a:ext uri="{147F2762-F138-4A5C-976F-8EAC2B608ADB}">
                <a16:predDERef xmlns:a16="http://schemas.microsoft.com/office/drawing/2014/main" pred="{759017B5-3ECA-D3F8-1D45-38A6A50CE22A}"/>
              </a:ext>
            </a:extLst>
          </p:cNvPr>
          <p:cNvPicPr>
            <a:picLocks/>
          </p:cNvPicPr>
          <p:nvPr/>
        </p:nvPicPr>
        <p:blipFill rotWithShape="1">
          <a:blip r:embed="rId7"/>
          <a:srcRect l="4900" r="12235"/>
          <a:stretch/>
        </p:blipFill>
        <p:spPr>
          <a:xfrm>
            <a:off x="6233208" y="3818793"/>
            <a:ext cx="1080000" cy="1512000"/>
          </a:xfrm>
          <a:prstGeom prst="rect">
            <a:avLst/>
          </a:prstGeom>
        </p:spPr>
      </p:pic>
      <p:pic>
        <p:nvPicPr>
          <p:cNvPr id="23" name="Image 41">
            <a:extLst>
              <a:ext uri="{FF2B5EF4-FFF2-40B4-BE49-F238E27FC236}">
                <a16:creationId xmlns:a16="http://schemas.microsoft.com/office/drawing/2014/main" id="{2D941069-4A3D-C50A-72B2-21DBBB44089E}"/>
              </a:ext>
              <a:ext uri="{147F2762-F138-4A5C-976F-8EAC2B608ADB}">
                <a16:predDERef xmlns:a16="http://schemas.microsoft.com/office/drawing/2014/main" pred="{ACE2808F-99BC-2A2B-6453-D39E3E174BA2}"/>
              </a:ext>
            </a:extLst>
          </p:cNvPr>
          <p:cNvPicPr>
            <a:picLocks/>
          </p:cNvPicPr>
          <p:nvPr/>
        </p:nvPicPr>
        <p:blipFill rotWithShape="1">
          <a:blip r:embed="rId8"/>
          <a:srcRect l="2265" r="10456"/>
          <a:stretch/>
        </p:blipFill>
        <p:spPr>
          <a:xfrm>
            <a:off x="7417882" y="3818793"/>
            <a:ext cx="1096783" cy="1512000"/>
          </a:xfrm>
          <a:prstGeom prst="rect">
            <a:avLst/>
          </a:prstGeom>
        </p:spPr>
      </p:pic>
      <p:pic>
        <p:nvPicPr>
          <p:cNvPr id="25" name="Image 11">
            <a:extLst>
              <a:ext uri="{FF2B5EF4-FFF2-40B4-BE49-F238E27FC236}">
                <a16:creationId xmlns:a16="http://schemas.microsoft.com/office/drawing/2014/main" id="{61404EF9-EA81-E7E1-19D3-09A060837DA8}"/>
              </a:ext>
            </a:extLst>
          </p:cNvPr>
          <p:cNvPicPr>
            <a:picLocks noChangeAspect="1"/>
          </p:cNvPicPr>
          <p:nvPr/>
        </p:nvPicPr>
        <p:blipFill>
          <a:blip r:embed="rId9"/>
          <a:stretch>
            <a:fillRect/>
          </a:stretch>
        </p:blipFill>
        <p:spPr>
          <a:xfrm>
            <a:off x="3897998" y="2134814"/>
            <a:ext cx="1063036" cy="1512000"/>
          </a:xfrm>
          <a:prstGeom prst="rect">
            <a:avLst/>
          </a:prstGeom>
        </p:spPr>
      </p:pic>
      <p:pic>
        <p:nvPicPr>
          <p:cNvPr id="27" name="Image 47">
            <a:extLst>
              <a:ext uri="{FF2B5EF4-FFF2-40B4-BE49-F238E27FC236}">
                <a16:creationId xmlns:a16="http://schemas.microsoft.com/office/drawing/2014/main" id="{213A6DAB-8648-8F46-32CF-3FE1E9A1CB5C}"/>
              </a:ext>
            </a:extLst>
          </p:cNvPr>
          <p:cNvPicPr>
            <a:picLocks noChangeAspect="1"/>
          </p:cNvPicPr>
          <p:nvPr/>
        </p:nvPicPr>
        <p:blipFill>
          <a:blip r:embed="rId10"/>
          <a:stretch>
            <a:fillRect/>
          </a:stretch>
        </p:blipFill>
        <p:spPr>
          <a:xfrm>
            <a:off x="3903687" y="3818793"/>
            <a:ext cx="1051659" cy="1512000"/>
          </a:xfrm>
          <a:prstGeom prst="rect">
            <a:avLst/>
          </a:prstGeom>
        </p:spPr>
      </p:pic>
    </p:spTree>
    <p:extLst>
      <p:ext uri="{BB962C8B-B14F-4D97-AF65-F5344CB8AC3E}">
        <p14:creationId xmlns:p14="http://schemas.microsoft.com/office/powerpoint/2010/main" val="23863089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2122620-BA0A-E9A0-C51A-8C470CC80609}"/>
              </a:ext>
            </a:extLst>
          </p:cNvPr>
          <p:cNvSpPr>
            <a:spLocks noGrp="1"/>
          </p:cNvSpPr>
          <p:nvPr>
            <p:ph sz="quarter" idx="13"/>
          </p:nvPr>
        </p:nvSpPr>
        <p:spPr>
          <a:xfrm>
            <a:off x="4475162" y="1176670"/>
            <a:ext cx="7273925" cy="4910138"/>
          </a:xfrm>
        </p:spPr>
        <p:txBody>
          <a:bodyPr/>
          <a:lstStyle/>
          <a:p>
            <a:pPr marL="0" indent="0">
              <a:buNone/>
            </a:pPr>
            <a:r>
              <a:rPr lang="sv-SE" dirty="0" err="1"/>
              <a:t>Combing</a:t>
            </a:r>
            <a:r>
              <a:rPr lang="sv-SE" dirty="0"/>
              <a:t> </a:t>
            </a:r>
            <a:r>
              <a:rPr lang="sv-SE" dirty="0" err="1"/>
              <a:t>ease</a:t>
            </a:r>
            <a:r>
              <a:rPr lang="sv-SE" dirty="0"/>
              <a:t> as pure </a:t>
            </a:r>
            <a:r>
              <a:rPr lang="sv-SE" dirty="0" err="1"/>
              <a:t>raw</a:t>
            </a:r>
            <a:r>
              <a:rPr lang="sv-SE" dirty="0"/>
              <a:t> materials</a:t>
            </a:r>
            <a:r>
              <a:rPr lang="sv-SE" b="1" dirty="0"/>
              <a:t>: </a:t>
            </a:r>
          </a:p>
        </p:txBody>
      </p:sp>
      <p:sp>
        <p:nvSpPr>
          <p:cNvPr id="4" name="Title 3">
            <a:extLst>
              <a:ext uri="{FF2B5EF4-FFF2-40B4-BE49-F238E27FC236}">
                <a16:creationId xmlns:a16="http://schemas.microsoft.com/office/drawing/2014/main" id="{BA85B0D6-B91F-D205-C2F2-D565F109BC45}"/>
              </a:ext>
            </a:extLst>
          </p:cNvPr>
          <p:cNvSpPr>
            <a:spLocks noGrp="1"/>
          </p:cNvSpPr>
          <p:nvPr>
            <p:ph type="title"/>
          </p:nvPr>
        </p:nvSpPr>
        <p:spPr/>
        <p:txBody>
          <a:bodyPr/>
          <a:lstStyle/>
          <a:p>
            <a:r>
              <a:rPr lang="sv-SE" dirty="0"/>
              <a:t>LIPEX® SheaLuxe TR in </a:t>
            </a:r>
            <a:r>
              <a:rPr lang="sv-SE" dirty="0" err="1"/>
              <a:t>haircare</a:t>
            </a:r>
            <a:br>
              <a:rPr lang="sv-SE" dirty="0"/>
            </a:br>
            <a:r>
              <a:rPr lang="sv-SE" sz="2000" dirty="0"/>
              <a:t>Show a </a:t>
            </a:r>
            <a:r>
              <a:rPr lang="sv-SE" sz="2000" dirty="0" err="1"/>
              <a:t>similar</a:t>
            </a:r>
            <a:r>
              <a:rPr lang="sv-SE" sz="2000" dirty="0"/>
              <a:t> </a:t>
            </a:r>
            <a:r>
              <a:rPr lang="sv-SE" sz="2000" dirty="0" err="1"/>
              <a:t>combing</a:t>
            </a:r>
            <a:r>
              <a:rPr lang="sv-SE" sz="2000" dirty="0"/>
              <a:t> </a:t>
            </a:r>
            <a:r>
              <a:rPr lang="sv-SE" sz="2000" dirty="0" err="1"/>
              <a:t>ease</a:t>
            </a:r>
            <a:r>
              <a:rPr lang="sv-SE" sz="2000" dirty="0"/>
              <a:t> </a:t>
            </a:r>
            <a:r>
              <a:rPr lang="sv-SE" sz="2000" dirty="0" err="1"/>
              <a:t>effect</a:t>
            </a:r>
            <a:r>
              <a:rPr lang="sv-SE" sz="2000" dirty="0"/>
              <a:t> </a:t>
            </a:r>
            <a:r>
              <a:rPr lang="sv-SE" sz="2000" dirty="0" err="1"/>
              <a:t>than</a:t>
            </a:r>
            <a:r>
              <a:rPr lang="sv-SE" sz="2000" dirty="0"/>
              <a:t> </a:t>
            </a:r>
            <a:r>
              <a:rPr lang="sv-SE" sz="2000" dirty="0" err="1"/>
              <a:t>dimethicone</a:t>
            </a:r>
            <a:r>
              <a:rPr lang="sv-SE" sz="2000" dirty="0"/>
              <a:t> </a:t>
            </a:r>
          </a:p>
        </p:txBody>
      </p:sp>
      <p:sp>
        <p:nvSpPr>
          <p:cNvPr id="5" name="Date Placeholder 4">
            <a:extLst>
              <a:ext uri="{FF2B5EF4-FFF2-40B4-BE49-F238E27FC236}">
                <a16:creationId xmlns:a16="http://schemas.microsoft.com/office/drawing/2014/main" id="{8EBEDECB-81AF-0863-2CFE-A5B55C143D1E}"/>
              </a:ext>
            </a:extLst>
          </p:cNvPr>
          <p:cNvSpPr>
            <a:spLocks noGrp="1"/>
          </p:cNvSpPr>
          <p:nvPr>
            <p:ph type="dt" sz="half" idx="15"/>
          </p:nvPr>
        </p:nvSpPr>
        <p:spPr>
          <a:xfrm>
            <a:off x="10542897" y="6472030"/>
            <a:ext cx="626774"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B64C76-99C5-41CE-9E25-38FAAB3AC030}" type="datetime1">
              <a:rPr lang="en-GB" sz="1000" smtClean="0"/>
              <a:pPr/>
              <a:t>18/06/2025</a:t>
            </a:fld>
            <a:endParaRPr lang="en-US" sz="1000"/>
          </a:p>
        </p:txBody>
      </p:sp>
      <p:sp>
        <p:nvSpPr>
          <p:cNvPr id="6" name="Footer Placeholder 5">
            <a:extLst>
              <a:ext uri="{FF2B5EF4-FFF2-40B4-BE49-F238E27FC236}">
                <a16:creationId xmlns:a16="http://schemas.microsoft.com/office/drawing/2014/main" id="{71FF421F-13FE-5136-8EC6-57FEAEE944C5}"/>
              </a:ext>
            </a:extLst>
          </p:cNvPr>
          <p:cNvSpPr>
            <a:spLocks noGrp="1"/>
          </p:cNvSpPr>
          <p:nvPr>
            <p:ph type="ftr" sz="quarter" idx="16"/>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t>The Co-Development Company</a:t>
            </a:r>
          </a:p>
        </p:txBody>
      </p:sp>
      <p:sp>
        <p:nvSpPr>
          <p:cNvPr id="7" name="Slide Number Placeholder 6">
            <a:extLst>
              <a:ext uri="{FF2B5EF4-FFF2-40B4-BE49-F238E27FC236}">
                <a16:creationId xmlns:a16="http://schemas.microsoft.com/office/drawing/2014/main" id="{92000A4C-398B-4885-A6DC-37AEA7ADA090}"/>
              </a:ext>
            </a:extLst>
          </p:cNvPr>
          <p:cNvSpPr>
            <a:spLocks noGrp="1"/>
          </p:cNvSpPr>
          <p:nvPr>
            <p:ph type="sldNum" sz="quarter" idx="17"/>
          </p:nvPr>
        </p:nvSpPr>
        <p:spPr>
          <a:xfrm>
            <a:off x="11376660" y="6472030"/>
            <a:ext cx="372428" cy="153888"/>
          </a:xfrm>
          <a:prstGeom prst="rect">
            <a:avLst/>
          </a:prstGeom>
        </p:spPr>
        <p:txBody>
          <a:bodyPr vert="horz" wrap="squar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03DD7B-12C8-43B8-9F45-989336E79744}" type="slidenum">
              <a:rPr lang="en-US" sz="1000" smtClean="0"/>
              <a:pPr/>
              <a:t>35</a:t>
            </a:fld>
            <a:endParaRPr lang="en-US" sz="1000"/>
          </a:p>
        </p:txBody>
      </p:sp>
      <p:graphicFrame>
        <p:nvGraphicFramePr>
          <p:cNvPr id="10" name="Espace réservé du contenu 5">
            <a:extLst>
              <a:ext uri="{FF2B5EF4-FFF2-40B4-BE49-F238E27FC236}">
                <a16:creationId xmlns:a16="http://schemas.microsoft.com/office/drawing/2014/main" id="{51211821-5A19-2628-3EA5-3A407F38FB1B}"/>
              </a:ext>
            </a:extLst>
          </p:cNvPr>
          <p:cNvGraphicFramePr>
            <a:graphicFrameLocks/>
          </p:cNvGraphicFramePr>
          <p:nvPr/>
        </p:nvGraphicFramePr>
        <p:xfrm>
          <a:off x="5330064" y="1598044"/>
          <a:ext cx="5325374" cy="2959395"/>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09A6A07B-6A32-21B3-2170-A5F6D9F10753}"/>
              </a:ext>
            </a:extLst>
          </p:cNvPr>
          <p:cNvSpPr txBox="1"/>
          <p:nvPr/>
        </p:nvSpPr>
        <p:spPr>
          <a:xfrm>
            <a:off x="4458182" y="4768125"/>
            <a:ext cx="7069138" cy="1107996"/>
          </a:xfrm>
          <a:prstGeom prst="rect">
            <a:avLst/>
          </a:prstGeom>
          <a:noFill/>
          <a:ln>
            <a:noFill/>
          </a:ln>
        </p:spPr>
        <p:txBody>
          <a:bodyPr wrap="square">
            <a:spAutoFit/>
          </a:bodyPr>
          <a:lstStyle/>
          <a:p>
            <a:pPr marL="285750" indent="-285750" algn="l">
              <a:spcAft>
                <a:spcPts val="1200"/>
              </a:spcAft>
              <a:buClr>
                <a:schemeClr val="tx2"/>
              </a:buClr>
              <a:buFont typeface="Arial" panose="020B0604020202020204" pitchFamily="34" charset="0"/>
              <a:buChar char="•"/>
            </a:pPr>
            <a:r>
              <a:rPr lang="en-GB" sz="1400" spc="-30" dirty="0">
                <a:solidFill>
                  <a:schemeClr val="tx2"/>
                </a:solidFill>
              </a:rPr>
              <a:t>On wet combing, LIPEX® </a:t>
            </a:r>
            <a:r>
              <a:rPr lang="en-GB" sz="1400" spc="-30" dirty="0" err="1">
                <a:solidFill>
                  <a:schemeClr val="tx2"/>
                </a:solidFill>
              </a:rPr>
              <a:t>Shealuxe</a:t>
            </a:r>
            <a:r>
              <a:rPr lang="en-GB" sz="1400" spc="-30" dirty="0">
                <a:solidFill>
                  <a:schemeClr val="tx2"/>
                </a:solidFill>
              </a:rPr>
              <a:t> TR and Dimethicone 5mPa.s reduce the force equally </a:t>
            </a:r>
          </a:p>
          <a:p>
            <a:pPr marL="285750" indent="-285750" algn="l">
              <a:buClr>
                <a:schemeClr val="tx2"/>
              </a:buClr>
              <a:buFont typeface="Arial" panose="020B0604020202020204" pitchFamily="34" charset="0"/>
              <a:buChar char="•"/>
            </a:pPr>
            <a:r>
              <a:rPr lang="en-GB" sz="1400" spc="-30" dirty="0">
                <a:solidFill>
                  <a:schemeClr val="tx2"/>
                </a:solidFill>
              </a:rPr>
              <a:t>On dry combing LIPEX® </a:t>
            </a:r>
            <a:r>
              <a:rPr lang="en-GB" sz="1400" spc="-30" dirty="0" err="1">
                <a:solidFill>
                  <a:schemeClr val="tx2"/>
                </a:solidFill>
              </a:rPr>
              <a:t>Shealuxe</a:t>
            </a:r>
            <a:r>
              <a:rPr lang="en-GB" sz="1400" spc="-30" dirty="0">
                <a:solidFill>
                  <a:schemeClr val="tx2"/>
                </a:solidFill>
              </a:rPr>
              <a:t> TR reduces the force needed slightly more than Dimethicone 5mPa.s</a:t>
            </a:r>
          </a:p>
        </p:txBody>
      </p:sp>
      <p:pic>
        <p:nvPicPr>
          <p:cNvPr id="11" name="Picture Placeholder 12">
            <a:extLst>
              <a:ext uri="{FF2B5EF4-FFF2-40B4-BE49-F238E27FC236}">
                <a16:creationId xmlns:a16="http://schemas.microsoft.com/office/drawing/2014/main" id="{5ABA2D5C-9E43-8195-3EC6-1DD3E2334F4A}"/>
              </a:ext>
            </a:extLst>
          </p:cNvPr>
          <p:cNvPicPr>
            <a:picLocks noChangeAspect="1"/>
          </p:cNvPicPr>
          <p:nvPr/>
        </p:nvPicPr>
        <p:blipFill>
          <a:blip r:embed="rId3"/>
          <a:srcRect l="20359" r="20359"/>
          <a:stretch/>
        </p:blipFill>
        <p:spPr>
          <a:xfrm>
            <a:off x="-148150" y="0"/>
            <a:ext cx="4065588" cy="6858000"/>
          </a:xfrm>
          <a:custGeom>
            <a:avLst/>
            <a:gdLst>
              <a:gd name="connsiteX0" fmla="*/ 813178 w 4065588"/>
              <a:gd name="connsiteY0" fmla="*/ 6423839 h 6858000"/>
              <a:gd name="connsiteX1" fmla="*/ 814139 w 4065588"/>
              <a:gd name="connsiteY1" fmla="*/ 6425983 h 6858000"/>
              <a:gd name="connsiteX2" fmla="*/ 844574 w 4065588"/>
              <a:gd name="connsiteY2" fmla="*/ 6528784 h 6858000"/>
              <a:gd name="connsiteX3" fmla="*/ 843672 w 4065588"/>
              <a:gd name="connsiteY3" fmla="*/ 6530809 h 6858000"/>
              <a:gd name="connsiteX4" fmla="*/ 842969 w 4065588"/>
              <a:gd name="connsiteY4" fmla="*/ 6530906 h 6858000"/>
              <a:gd name="connsiteX5" fmla="*/ 783397 w 4065588"/>
              <a:gd name="connsiteY5" fmla="*/ 6530906 h 6858000"/>
              <a:gd name="connsiteX6" fmla="*/ 781698 w 4065588"/>
              <a:gd name="connsiteY6" fmla="*/ 6529469 h 6858000"/>
              <a:gd name="connsiteX7" fmla="*/ 781792 w 4065588"/>
              <a:gd name="connsiteY7" fmla="*/ 6528784 h 6858000"/>
              <a:gd name="connsiteX8" fmla="*/ 812228 w 4065588"/>
              <a:gd name="connsiteY8" fmla="*/ 6425983 h 6858000"/>
              <a:gd name="connsiteX9" fmla="*/ 813178 w 4065588"/>
              <a:gd name="connsiteY9" fmla="*/ 6423839 h 6858000"/>
              <a:gd name="connsiteX10" fmla="*/ 589279 w 4065588"/>
              <a:gd name="connsiteY10" fmla="*/ 6423839 h 6858000"/>
              <a:gd name="connsiteX11" fmla="*/ 590229 w 4065588"/>
              <a:gd name="connsiteY11" fmla="*/ 6425983 h 6858000"/>
              <a:gd name="connsiteX12" fmla="*/ 620665 w 4065588"/>
              <a:gd name="connsiteY12" fmla="*/ 6528784 h 6858000"/>
              <a:gd name="connsiteX13" fmla="*/ 619786 w 4065588"/>
              <a:gd name="connsiteY13" fmla="*/ 6530804 h 6858000"/>
              <a:gd name="connsiteX14" fmla="*/ 619071 w 4065588"/>
              <a:gd name="connsiteY14" fmla="*/ 6530906 h 6858000"/>
              <a:gd name="connsiteX15" fmla="*/ 559499 w 4065588"/>
              <a:gd name="connsiteY15" fmla="*/ 6530906 h 6858000"/>
              <a:gd name="connsiteX16" fmla="*/ 557798 w 4065588"/>
              <a:gd name="connsiteY16" fmla="*/ 6529478 h 6858000"/>
              <a:gd name="connsiteX17" fmla="*/ 557894 w 4065588"/>
              <a:gd name="connsiteY17" fmla="*/ 6528784 h 6858000"/>
              <a:gd name="connsiteX18" fmla="*/ 588340 w 4065588"/>
              <a:gd name="connsiteY18" fmla="*/ 6425983 h 6858000"/>
              <a:gd name="connsiteX19" fmla="*/ 589279 w 4065588"/>
              <a:gd name="connsiteY19" fmla="*/ 6423839 h 6858000"/>
              <a:gd name="connsiteX20" fmla="*/ 545405 w 4065588"/>
              <a:gd name="connsiteY20" fmla="*/ 6352465 h 6858000"/>
              <a:gd name="connsiteX21" fmla="*/ 542449 w 4065588"/>
              <a:gd name="connsiteY21" fmla="*/ 6354577 h 6858000"/>
              <a:gd name="connsiteX22" fmla="*/ 444641 w 4065588"/>
              <a:gd name="connsiteY22" fmla="*/ 6633486 h 6858000"/>
              <a:gd name="connsiteX23" fmla="*/ 445355 w 4065588"/>
              <a:gd name="connsiteY23" fmla="*/ 6635455 h 6858000"/>
              <a:gd name="connsiteX24" fmla="*/ 446130 w 4065588"/>
              <a:gd name="connsiteY24" fmla="*/ 6635587 h 6858000"/>
              <a:gd name="connsiteX25" fmla="*/ 523331 w 4065588"/>
              <a:gd name="connsiteY25" fmla="*/ 6635587 h 6858000"/>
              <a:gd name="connsiteX26" fmla="*/ 526192 w 4065588"/>
              <a:gd name="connsiteY26" fmla="*/ 6633454 h 6858000"/>
              <a:gd name="connsiteX27" fmla="*/ 538691 w 4065588"/>
              <a:gd name="connsiteY27" fmla="*/ 6591713 h 6858000"/>
              <a:gd name="connsiteX28" fmla="*/ 541563 w 4065588"/>
              <a:gd name="connsiteY28" fmla="*/ 6589581 h 6858000"/>
              <a:gd name="connsiteX29" fmla="*/ 637006 w 4065588"/>
              <a:gd name="connsiteY29" fmla="*/ 6589581 h 6858000"/>
              <a:gd name="connsiteX30" fmla="*/ 639867 w 4065588"/>
              <a:gd name="connsiteY30" fmla="*/ 6591713 h 6858000"/>
              <a:gd name="connsiteX31" fmla="*/ 652377 w 4065588"/>
              <a:gd name="connsiteY31" fmla="*/ 6633454 h 6858000"/>
              <a:gd name="connsiteX32" fmla="*/ 655238 w 4065588"/>
              <a:gd name="connsiteY32" fmla="*/ 6635587 h 6858000"/>
              <a:gd name="connsiteX33" fmla="*/ 747230 w 4065588"/>
              <a:gd name="connsiteY33" fmla="*/ 6635587 h 6858000"/>
              <a:gd name="connsiteX34" fmla="*/ 750090 w 4065588"/>
              <a:gd name="connsiteY34" fmla="*/ 6633454 h 6858000"/>
              <a:gd name="connsiteX35" fmla="*/ 762600 w 4065588"/>
              <a:gd name="connsiteY35" fmla="*/ 6591713 h 6858000"/>
              <a:gd name="connsiteX36" fmla="*/ 765461 w 4065588"/>
              <a:gd name="connsiteY36" fmla="*/ 6589581 h 6858000"/>
              <a:gd name="connsiteX37" fmla="*/ 860915 w 4065588"/>
              <a:gd name="connsiteY37" fmla="*/ 6589581 h 6858000"/>
              <a:gd name="connsiteX38" fmla="*/ 863776 w 4065588"/>
              <a:gd name="connsiteY38" fmla="*/ 6591713 h 6858000"/>
              <a:gd name="connsiteX39" fmla="*/ 876265 w 4065588"/>
              <a:gd name="connsiteY39" fmla="*/ 6633454 h 6858000"/>
              <a:gd name="connsiteX40" fmla="*/ 879126 w 4065588"/>
              <a:gd name="connsiteY40" fmla="*/ 6635587 h 6858000"/>
              <a:gd name="connsiteX41" fmla="*/ 1011476 w 4065588"/>
              <a:gd name="connsiteY41" fmla="*/ 6635587 h 6858000"/>
              <a:gd name="connsiteX42" fmla="*/ 1013714 w 4065588"/>
              <a:gd name="connsiteY42" fmla="*/ 6633359 h 6858000"/>
              <a:gd name="connsiteX43" fmla="*/ 1013714 w 4065588"/>
              <a:gd name="connsiteY43" fmla="*/ 6558121 h 6858000"/>
              <a:gd name="connsiteX44" fmla="*/ 1015266 w 4065588"/>
              <a:gd name="connsiteY44" fmla="*/ 6554289 h 6858000"/>
              <a:gd name="connsiteX45" fmla="*/ 1044498 w 4065588"/>
              <a:gd name="connsiteY45" fmla="*/ 6524182 h 6858000"/>
              <a:gd name="connsiteX46" fmla="*/ 1046852 w 4065588"/>
              <a:gd name="connsiteY46" fmla="*/ 6523986 h 6858000"/>
              <a:gd name="connsiteX47" fmla="*/ 1047242 w 4065588"/>
              <a:gd name="connsiteY47" fmla="*/ 6524467 h 6858000"/>
              <a:gd name="connsiteX48" fmla="*/ 1115629 w 4065588"/>
              <a:gd name="connsiteY48" fmla="*/ 6633698 h 6858000"/>
              <a:gd name="connsiteX49" fmla="*/ 1119130 w 4065588"/>
              <a:gd name="connsiteY49" fmla="*/ 6635587 h 6858000"/>
              <a:gd name="connsiteX50" fmla="*/ 1216415 w 4065588"/>
              <a:gd name="connsiteY50" fmla="*/ 6635587 h 6858000"/>
              <a:gd name="connsiteX51" fmla="*/ 1217428 w 4065588"/>
              <a:gd name="connsiteY51" fmla="*/ 6633718 h 6858000"/>
              <a:gd name="connsiteX52" fmla="*/ 1108430 w 4065588"/>
              <a:gd name="connsiteY52" fmla="*/ 6465760 h 6858000"/>
              <a:gd name="connsiteX53" fmla="*/ 1108736 w 4065588"/>
              <a:gd name="connsiteY53" fmla="*/ 6462277 h 6858000"/>
              <a:gd name="connsiteX54" fmla="*/ 1209120 w 4065588"/>
              <a:gd name="connsiteY54" fmla="*/ 6354102 h 6858000"/>
              <a:gd name="connsiteX55" fmla="*/ 1208413 w 4065588"/>
              <a:gd name="connsiteY55" fmla="*/ 6352465 h 6858000"/>
              <a:gd name="connsiteX56" fmla="*/ 1111354 w 4065588"/>
              <a:gd name="connsiteY56" fmla="*/ 6352465 h 6858000"/>
              <a:gd name="connsiteX57" fmla="*/ 1107680 w 4065588"/>
              <a:gd name="connsiteY57" fmla="*/ 6354165 h 6858000"/>
              <a:gd name="connsiteX58" fmla="*/ 1015161 w 4065588"/>
              <a:gd name="connsiteY58" fmla="*/ 6461812 h 6858000"/>
              <a:gd name="connsiteX59" fmla="*/ 1013714 w 4065588"/>
              <a:gd name="connsiteY59" fmla="*/ 6461263 h 6858000"/>
              <a:gd name="connsiteX60" fmla="*/ 1013714 w 4065588"/>
              <a:gd name="connsiteY60" fmla="*/ 6354693 h 6858000"/>
              <a:gd name="connsiteX61" fmla="*/ 1011476 w 4065588"/>
              <a:gd name="connsiteY61" fmla="*/ 6352465 h 6858000"/>
              <a:gd name="connsiteX62" fmla="*/ 939722 w 4065588"/>
              <a:gd name="connsiteY62" fmla="*/ 6352465 h 6858000"/>
              <a:gd name="connsiteX63" fmla="*/ 937505 w 4065588"/>
              <a:gd name="connsiteY63" fmla="*/ 6354693 h 6858000"/>
              <a:gd name="connsiteX64" fmla="*/ 937505 w 4065588"/>
              <a:gd name="connsiteY64" fmla="*/ 6531687 h 6858000"/>
              <a:gd name="connsiteX65" fmla="*/ 956169 w 4065588"/>
              <a:gd name="connsiteY65" fmla="*/ 6580597 h 6858000"/>
              <a:gd name="connsiteX66" fmla="*/ 933757 w 4065588"/>
              <a:gd name="connsiteY66" fmla="*/ 6622233 h 6858000"/>
              <a:gd name="connsiteX67" fmla="*/ 911229 w 4065588"/>
              <a:gd name="connsiteY67" fmla="*/ 6578211 h 6858000"/>
              <a:gd name="connsiteX68" fmla="*/ 911229 w 4065588"/>
              <a:gd name="connsiteY68" fmla="*/ 6499616 h 6858000"/>
              <a:gd name="connsiteX69" fmla="*/ 860979 w 4065588"/>
              <a:gd name="connsiteY69" fmla="*/ 6354587 h 6858000"/>
              <a:gd name="connsiteX70" fmla="*/ 858023 w 4065588"/>
              <a:gd name="connsiteY70" fmla="*/ 6352465 h 6858000"/>
              <a:gd name="connsiteX71" fmla="*/ 769304 w 4065588"/>
              <a:gd name="connsiteY71" fmla="*/ 6352465 h 6858000"/>
              <a:gd name="connsiteX72" fmla="*/ 766348 w 4065588"/>
              <a:gd name="connsiteY72" fmla="*/ 6354577 h 6858000"/>
              <a:gd name="connsiteX73" fmla="*/ 702131 w 4065588"/>
              <a:gd name="connsiteY73" fmla="*/ 6537684 h 6858000"/>
              <a:gd name="connsiteX74" fmla="*/ 700674 w 4065588"/>
              <a:gd name="connsiteY74" fmla="*/ 6537684 h 6858000"/>
              <a:gd name="connsiteX75" fmla="*/ 637070 w 4065588"/>
              <a:gd name="connsiteY75" fmla="*/ 6354587 h 6858000"/>
              <a:gd name="connsiteX76" fmla="*/ 634114 w 4065588"/>
              <a:gd name="connsiteY76" fmla="*/ 6352465 h 6858000"/>
              <a:gd name="connsiteX77" fmla="*/ 0 w 4065588"/>
              <a:gd name="connsiteY77" fmla="*/ 0 h 6858000"/>
              <a:gd name="connsiteX78" fmla="*/ 3674155 w 4065588"/>
              <a:gd name="connsiteY78" fmla="*/ 0 h 6858000"/>
              <a:gd name="connsiteX79" fmla="*/ 3712291 w 4065588"/>
              <a:gd name="connsiteY79" fmla="*/ 3409950 h 6858000"/>
              <a:gd name="connsiteX80" fmla="*/ 3145020 w 4065588"/>
              <a:gd name="connsiteY80" fmla="*/ 6858000 h 6858000"/>
              <a:gd name="connsiteX81" fmla="*/ 21930 w 4065588"/>
              <a:gd name="connsiteY81" fmla="*/ 6858000 h 6858000"/>
              <a:gd name="connsiteX82" fmla="*/ 0 w 4065588"/>
              <a:gd name="connsiteY8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065588" h="6858000">
                <a:moveTo>
                  <a:pt x="813178" y="6423839"/>
                </a:moveTo>
                <a:cubicBezTo>
                  <a:pt x="813368" y="6423840"/>
                  <a:pt x="813800" y="6424811"/>
                  <a:pt x="814139" y="6425983"/>
                </a:cubicBezTo>
                <a:lnTo>
                  <a:pt x="844574" y="6528784"/>
                </a:lnTo>
                <a:cubicBezTo>
                  <a:pt x="844884" y="6529592"/>
                  <a:pt x="844480" y="6530499"/>
                  <a:pt x="843672" y="6530809"/>
                </a:cubicBezTo>
                <a:cubicBezTo>
                  <a:pt x="843448" y="6530894"/>
                  <a:pt x="843208" y="6530928"/>
                  <a:pt x="842969" y="6530906"/>
                </a:cubicBezTo>
                <a:lnTo>
                  <a:pt x="783397" y="6530906"/>
                </a:lnTo>
                <a:cubicBezTo>
                  <a:pt x="782531" y="6530979"/>
                  <a:pt x="781770" y="6530335"/>
                  <a:pt x="781698" y="6529469"/>
                </a:cubicBezTo>
                <a:cubicBezTo>
                  <a:pt x="781678" y="6529236"/>
                  <a:pt x="781711" y="6529003"/>
                  <a:pt x="781792" y="6528784"/>
                </a:cubicBezTo>
                <a:lnTo>
                  <a:pt x="812228" y="6425983"/>
                </a:lnTo>
                <a:cubicBezTo>
                  <a:pt x="812371" y="6425203"/>
                  <a:pt x="812697" y="6424469"/>
                  <a:pt x="813178" y="6423839"/>
                </a:cubicBezTo>
                <a:close/>
                <a:moveTo>
                  <a:pt x="589279" y="6423839"/>
                </a:moveTo>
                <a:cubicBezTo>
                  <a:pt x="589760" y="6424469"/>
                  <a:pt x="590086" y="6425203"/>
                  <a:pt x="590229" y="6425983"/>
                </a:cubicBezTo>
                <a:lnTo>
                  <a:pt x="620665" y="6528784"/>
                </a:lnTo>
                <a:cubicBezTo>
                  <a:pt x="620980" y="6529585"/>
                  <a:pt x="620587" y="6530489"/>
                  <a:pt x="619786" y="6530804"/>
                </a:cubicBezTo>
                <a:cubicBezTo>
                  <a:pt x="619559" y="6530894"/>
                  <a:pt x="619314" y="6530929"/>
                  <a:pt x="619071" y="6530906"/>
                </a:cubicBezTo>
                <a:lnTo>
                  <a:pt x="559499" y="6530906"/>
                </a:lnTo>
                <a:cubicBezTo>
                  <a:pt x="558635" y="6530981"/>
                  <a:pt x="557873" y="6530342"/>
                  <a:pt x="557798" y="6529478"/>
                </a:cubicBezTo>
                <a:cubicBezTo>
                  <a:pt x="557777" y="6529243"/>
                  <a:pt x="557810" y="6529005"/>
                  <a:pt x="557894" y="6528784"/>
                </a:cubicBezTo>
                <a:lnTo>
                  <a:pt x="588340" y="6425983"/>
                </a:lnTo>
                <a:cubicBezTo>
                  <a:pt x="588487" y="6425207"/>
                  <a:pt x="588808" y="6424474"/>
                  <a:pt x="589279" y="6423839"/>
                </a:cubicBezTo>
                <a:close/>
                <a:moveTo>
                  <a:pt x="545405" y="6352465"/>
                </a:moveTo>
                <a:cubicBezTo>
                  <a:pt x="544090" y="6352525"/>
                  <a:pt x="542932" y="6353352"/>
                  <a:pt x="542449" y="6354577"/>
                </a:cubicBezTo>
                <a:lnTo>
                  <a:pt x="444641" y="6633486"/>
                </a:lnTo>
                <a:cubicBezTo>
                  <a:pt x="444294" y="6634227"/>
                  <a:pt x="444614" y="6635108"/>
                  <a:pt x="445355" y="6635455"/>
                </a:cubicBezTo>
                <a:cubicBezTo>
                  <a:pt x="445596" y="6635568"/>
                  <a:pt x="445864" y="6635614"/>
                  <a:pt x="446130" y="6635587"/>
                </a:cubicBezTo>
                <a:lnTo>
                  <a:pt x="523331" y="6635587"/>
                </a:lnTo>
                <a:cubicBezTo>
                  <a:pt x="524632" y="6635530"/>
                  <a:pt x="525766" y="6634685"/>
                  <a:pt x="526192" y="6633454"/>
                </a:cubicBezTo>
                <a:lnTo>
                  <a:pt x="538691" y="6591713"/>
                </a:lnTo>
                <a:cubicBezTo>
                  <a:pt x="539119" y="6590480"/>
                  <a:pt x="540258" y="6589634"/>
                  <a:pt x="541563" y="6589581"/>
                </a:cubicBezTo>
                <a:lnTo>
                  <a:pt x="637006" y="6589581"/>
                </a:lnTo>
                <a:cubicBezTo>
                  <a:pt x="638306" y="6589641"/>
                  <a:pt x="639438" y="6590485"/>
                  <a:pt x="639867" y="6591713"/>
                </a:cubicBezTo>
                <a:lnTo>
                  <a:pt x="652377" y="6633454"/>
                </a:lnTo>
                <a:cubicBezTo>
                  <a:pt x="652806" y="6634683"/>
                  <a:pt x="653938" y="6635527"/>
                  <a:pt x="655238" y="6635587"/>
                </a:cubicBezTo>
                <a:lnTo>
                  <a:pt x="747230" y="6635587"/>
                </a:lnTo>
                <a:cubicBezTo>
                  <a:pt x="748530" y="6635530"/>
                  <a:pt x="749664" y="6634685"/>
                  <a:pt x="750090" y="6633454"/>
                </a:cubicBezTo>
                <a:lnTo>
                  <a:pt x="762600" y="6591713"/>
                </a:lnTo>
                <a:cubicBezTo>
                  <a:pt x="763021" y="6590479"/>
                  <a:pt x="764158" y="6589631"/>
                  <a:pt x="765461" y="6589581"/>
                </a:cubicBezTo>
                <a:lnTo>
                  <a:pt x="860915" y="6589581"/>
                </a:lnTo>
                <a:cubicBezTo>
                  <a:pt x="862215" y="6589641"/>
                  <a:pt x="863347" y="6590485"/>
                  <a:pt x="863776" y="6591713"/>
                </a:cubicBezTo>
                <a:lnTo>
                  <a:pt x="876265" y="6633454"/>
                </a:lnTo>
                <a:cubicBezTo>
                  <a:pt x="876696" y="6634681"/>
                  <a:pt x="877827" y="6635524"/>
                  <a:pt x="879126" y="6635587"/>
                </a:cubicBezTo>
                <a:lnTo>
                  <a:pt x="1011476" y="6635587"/>
                </a:lnTo>
                <a:cubicBezTo>
                  <a:pt x="1012707" y="6635584"/>
                  <a:pt x="1013705" y="6634590"/>
                  <a:pt x="1013714" y="6633359"/>
                </a:cubicBezTo>
                <a:lnTo>
                  <a:pt x="1013714" y="6558121"/>
                </a:lnTo>
                <a:cubicBezTo>
                  <a:pt x="1013784" y="6556706"/>
                  <a:pt x="1014331" y="6555355"/>
                  <a:pt x="1015266" y="6554289"/>
                </a:cubicBezTo>
                <a:lnTo>
                  <a:pt x="1044498" y="6524182"/>
                </a:lnTo>
                <a:cubicBezTo>
                  <a:pt x="1045094" y="6523478"/>
                  <a:pt x="1046148" y="6523390"/>
                  <a:pt x="1046852" y="6523986"/>
                </a:cubicBezTo>
                <a:cubicBezTo>
                  <a:pt x="1047011" y="6524121"/>
                  <a:pt x="1047143" y="6524284"/>
                  <a:pt x="1047242" y="6524467"/>
                </a:cubicBezTo>
                <a:lnTo>
                  <a:pt x="1115629" y="6633698"/>
                </a:lnTo>
                <a:cubicBezTo>
                  <a:pt x="1116385" y="6634897"/>
                  <a:pt x="1117713" y="6635613"/>
                  <a:pt x="1119130" y="6635587"/>
                </a:cubicBezTo>
                <a:lnTo>
                  <a:pt x="1216415" y="6635587"/>
                </a:lnTo>
                <a:cubicBezTo>
                  <a:pt x="1217650" y="6635587"/>
                  <a:pt x="1218104" y="6634743"/>
                  <a:pt x="1217428" y="6633718"/>
                </a:cubicBezTo>
                <a:lnTo>
                  <a:pt x="1108430" y="6465760"/>
                </a:lnTo>
                <a:cubicBezTo>
                  <a:pt x="1107760" y="6464657"/>
                  <a:pt x="1107884" y="6463247"/>
                  <a:pt x="1108736" y="6462277"/>
                </a:cubicBezTo>
                <a:lnTo>
                  <a:pt x="1209120" y="6354102"/>
                </a:lnTo>
                <a:cubicBezTo>
                  <a:pt x="1209954" y="6353204"/>
                  <a:pt x="1209637" y="6352465"/>
                  <a:pt x="1208413" y="6352465"/>
                </a:cubicBezTo>
                <a:lnTo>
                  <a:pt x="1111354" y="6352465"/>
                </a:lnTo>
                <a:cubicBezTo>
                  <a:pt x="1109958" y="6352546"/>
                  <a:pt x="1108645" y="6353153"/>
                  <a:pt x="1107680" y="6354165"/>
                </a:cubicBezTo>
                <a:lnTo>
                  <a:pt x="1015161" y="6461812"/>
                </a:lnTo>
                <a:cubicBezTo>
                  <a:pt x="1014358" y="6462741"/>
                  <a:pt x="1013714" y="6462488"/>
                  <a:pt x="1013714" y="6461263"/>
                </a:cubicBezTo>
                <a:lnTo>
                  <a:pt x="1013714" y="6354693"/>
                </a:lnTo>
                <a:cubicBezTo>
                  <a:pt x="1013705" y="6353462"/>
                  <a:pt x="1012707" y="6352468"/>
                  <a:pt x="1011476" y="6352465"/>
                </a:cubicBezTo>
                <a:lnTo>
                  <a:pt x="939722" y="6352465"/>
                </a:lnTo>
                <a:cubicBezTo>
                  <a:pt x="938499" y="6352478"/>
                  <a:pt x="937511" y="6353469"/>
                  <a:pt x="937505" y="6354693"/>
                </a:cubicBezTo>
                <a:lnTo>
                  <a:pt x="937505" y="6531687"/>
                </a:lnTo>
                <a:cubicBezTo>
                  <a:pt x="937114" y="6564445"/>
                  <a:pt x="944441" y="6560317"/>
                  <a:pt x="956169" y="6580597"/>
                </a:cubicBezTo>
                <a:cubicBezTo>
                  <a:pt x="965786" y="6597192"/>
                  <a:pt x="957584" y="6620596"/>
                  <a:pt x="933757" y="6622233"/>
                </a:cubicBezTo>
                <a:cubicBezTo>
                  <a:pt x="913879" y="6623605"/>
                  <a:pt x="896386" y="6600940"/>
                  <a:pt x="911229" y="6578211"/>
                </a:cubicBezTo>
                <a:cubicBezTo>
                  <a:pt x="926906" y="6554247"/>
                  <a:pt x="933483" y="6565342"/>
                  <a:pt x="911229" y="6499616"/>
                </a:cubicBezTo>
                <a:lnTo>
                  <a:pt x="860979" y="6354587"/>
                </a:lnTo>
                <a:cubicBezTo>
                  <a:pt x="860500" y="6353357"/>
                  <a:pt x="859341" y="6352525"/>
                  <a:pt x="858023" y="6352465"/>
                </a:cubicBezTo>
                <a:lnTo>
                  <a:pt x="769304" y="6352465"/>
                </a:lnTo>
                <a:cubicBezTo>
                  <a:pt x="767988" y="6352525"/>
                  <a:pt x="766831" y="6353352"/>
                  <a:pt x="766348" y="6354577"/>
                </a:cubicBezTo>
                <a:lnTo>
                  <a:pt x="702131" y="6537684"/>
                </a:lnTo>
                <a:cubicBezTo>
                  <a:pt x="701719" y="6538845"/>
                  <a:pt x="701065" y="6538845"/>
                  <a:pt x="700674" y="6537684"/>
                </a:cubicBezTo>
                <a:lnTo>
                  <a:pt x="637070" y="6354587"/>
                </a:lnTo>
                <a:cubicBezTo>
                  <a:pt x="636591" y="6353357"/>
                  <a:pt x="635432" y="6352525"/>
                  <a:pt x="634114" y="6352465"/>
                </a:cubicBezTo>
                <a:close/>
                <a:moveTo>
                  <a:pt x="0" y="0"/>
                </a:moveTo>
                <a:lnTo>
                  <a:pt x="3674155" y="0"/>
                </a:lnTo>
                <a:cubicBezTo>
                  <a:pt x="3883902" y="438150"/>
                  <a:pt x="4417803" y="1833563"/>
                  <a:pt x="3712291" y="3409950"/>
                </a:cubicBezTo>
                <a:cubicBezTo>
                  <a:pt x="2963875" y="5086350"/>
                  <a:pt x="2968642" y="6186488"/>
                  <a:pt x="3145020" y="6858000"/>
                </a:cubicBezTo>
                <a:cubicBezTo>
                  <a:pt x="1482835" y="6858000"/>
                  <a:pt x="547856" y="6858000"/>
                  <a:pt x="21930" y="6858000"/>
                </a:cubicBezTo>
                <a:lnTo>
                  <a:pt x="0" y="6858000"/>
                </a:lnTo>
                <a:close/>
              </a:path>
            </a:pathLst>
          </a:custGeom>
          <a:noFill/>
        </p:spPr>
      </p:pic>
    </p:spTree>
    <p:extLst>
      <p:ext uri="{BB962C8B-B14F-4D97-AF65-F5344CB8AC3E}">
        <p14:creationId xmlns:p14="http://schemas.microsoft.com/office/powerpoint/2010/main" val="20116339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FB703B-4FBF-6CE0-9E29-E04A5828F3D5}"/>
            </a:ext>
          </a:extLst>
        </p:cNvPr>
        <p:cNvGrpSpPr/>
        <p:nvPr/>
      </p:nvGrpSpPr>
      <p:grpSpPr>
        <a:xfrm>
          <a:off x="0" y="0"/>
          <a:ext cx="0" cy="0"/>
          <a:chOff x="0" y="0"/>
          <a:chExt cx="0" cy="0"/>
        </a:xfrm>
      </p:grpSpPr>
      <p:pic>
        <p:nvPicPr>
          <p:cNvPr id="11" name="Picture Placeholder 10">
            <a:extLst>
              <a:ext uri="{FF2B5EF4-FFF2-40B4-BE49-F238E27FC236}">
                <a16:creationId xmlns:a16="http://schemas.microsoft.com/office/drawing/2014/main" id="{7AAE61F4-85BB-9A5D-E3CA-2473ED1FD7A3}"/>
              </a:ext>
            </a:extLst>
          </p:cNvPr>
          <p:cNvPicPr>
            <a:picLocks noGrp="1" noChangeAspect="1"/>
          </p:cNvPicPr>
          <p:nvPr>
            <p:ph type="pic" sz="quarter" idx="15"/>
          </p:nvPr>
        </p:nvPicPr>
        <p:blipFill>
          <a:blip r:embed="rId2"/>
          <a:srcRect l="5538" r="5538"/>
          <a:stretch/>
        </p:blipFill>
        <p:spPr/>
      </p:pic>
      <p:sp>
        <p:nvSpPr>
          <p:cNvPr id="5" name="Date Placeholder 4">
            <a:extLst>
              <a:ext uri="{FF2B5EF4-FFF2-40B4-BE49-F238E27FC236}">
                <a16:creationId xmlns:a16="http://schemas.microsoft.com/office/drawing/2014/main" id="{19A4FC1C-C8FE-8CC9-4FF6-60C9B3D9F48B}"/>
              </a:ext>
            </a:extLst>
          </p:cNvPr>
          <p:cNvSpPr>
            <a:spLocks noGrp="1"/>
          </p:cNvSpPr>
          <p:nvPr>
            <p:ph type="dt" sz="half" idx="2"/>
          </p:nvPr>
        </p:nvSpPr>
        <p:spPr/>
        <p:txBody>
          <a:bodyPr/>
          <a:lstStyle/>
          <a:p>
            <a:fld id="{35789837-2FA3-4C30-A77E-903C3E8D2B15}" type="datetime1">
              <a:rPr lang="en-GB" sz="1000" smtClean="0"/>
              <a:t>18/06/2025</a:t>
            </a:fld>
            <a:endParaRPr lang="en-GB" sz="1000" dirty="0"/>
          </a:p>
        </p:txBody>
      </p:sp>
      <p:sp>
        <p:nvSpPr>
          <p:cNvPr id="6" name="Slide Number Placeholder 5">
            <a:extLst>
              <a:ext uri="{FF2B5EF4-FFF2-40B4-BE49-F238E27FC236}">
                <a16:creationId xmlns:a16="http://schemas.microsoft.com/office/drawing/2014/main" id="{9DE4893A-F08E-3275-431C-1E76B366788C}"/>
              </a:ext>
            </a:extLst>
          </p:cNvPr>
          <p:cNvSpPr>
            <a:spLocks noGrp="1"/>
          </p:cNvSpPr>
          <p:nvPr>
            <p:ph type="sldNum" sz="quarter" idx="4"/>
          </p:nvPr>
        </p:nvSpPr>
        <p:spPr/>
        <p:txBody>
          <a:bodyPr/>
          <a:lstStyle/>
          <a:p>
            <a:pPr algn="r"/>
            <a:fld id="{EDF3706E-DB9C-4B59-A485-1194C2A6AD28}" type="slidenum">
              <a:rPr lang="en-GB" sz="1000" smtClean="0"/>
              <a:pPr algn="r"/>
              <a:t>36</a:t>
            </a:fld>
            <a:endParaRPr lang="en-GB" sz="1000"/>
          </a:p>
        </p:txBody>
      </p:sp>
      <p:sp>
        <p:nvSpPr>
          <p:cNvPr id="8" name="Title 1">
            <a:extLst>
              <a:ext uri="{FF2B5EF4-FFF2-40B4-BE49-F238E27FC236}">
                <a16:creationId xmlns:a16="http://schemas.microsoft.com/office/drawing/2014/main" id="{F0596B3D-0F97-8022-D3E8-176CB16DD3DF}"/>
              </a:ext>
            </a:extLst>
          </p:cNvPr>
          <p:cNvSpPr>
            <a:spLocks noGrp="1"/>
          </p:cNvSpPr>
          <p:nvPr>
            <p:ph type="title"/>
          </p:nvPr>
        </p:nvSpPr>
        <p:spPr>
          <a:xfrm>
            <a:off x="442913" y="354040"/>
            <a:ext cx="7273925" cy="775597"/>
          </a:xfrm>
        </p:spPr>
        <p:txBody>
          <a:bodyPr vert="horz"/>
          <a:lstStyle/>
          <a:p>
            <a:r>
              <a:rPr lang="fr-FR" noProof="0" dirty="0"/>
              <a:t>LIPEX</a:t>
            </a:r>
            <a:r>
              <a:rPr lang="fr-FR" baseline="30000" noProof="0" dirty="0"/>
              <a:t>®</a:t>
            </a:r>
            <a:r>
              <a:rPr lang="fr-FR" noProof="0" dirty="0"/>
              <a:t> SheaLuxe</a:t>
            </a:r>
            <a:r>
              <a:rPr lang="fr-FR" baseline="30000" noProof="0" dirty="0"/>
              <a:t>™ </a:t>
            </a:r>
            <a:r>
              <a:rPr lang="en-GB" sz="2800" dirty="0">
                <a:latin typeface="Work Sans Medium" pitchFamily="2" charset="0"/>
              </a:rPr>
              <a:t>in haircare </a:t>
            </a:r>
            <a:br>
              <a:rPr lang="fr-FR" baseline="30000" noProof="0" dirty="0"/>
            </a:br>
            <a:r>
              <a:rPr lang="fr-FR" sz="1800" dirty="0" err="1">
                <a:solidFill>
                  <a:srgbClr val="00264E"/>
                </a:solidFill>
              </a:rPr>
              <a:t>Get</a:t>
            </a:r>
            <a:r>
              <a:rPr lang="fr-FR" sz="1800" dirty="0">
                <a:solidFill>
                  <a:srgbClr val="00264E"/>
                </a:solidFill>
              </a:rPr>
              <a:t> </a:t>
            </a:r>
            <a:r>
              <a:rPr lang="fr-FR" sz="1800" dirty="0" err="1">
                <a:solidFill>
                  <a:srgbClr val="00264E"/>
                </a:solidFill>
              </a:rPr>
              <a:t>inspired</a:t>
            </a:r>
            <a:r>
              <a:rPr lang="fr-FR" sz="1800" dirty="0">
                <a:solidFill>
                  <a:srgbClr val="00264E"/>
                </a:solidFill>
              </a:rPr>
              <a:t> </a:t>
            </a:r>
            <a:r>
              <a:rPr lang="fr-FR" sz="1800" dirty="0" err="1">
                <a:solidFill>
                  <a:srgbClr val="00264E"/>
                </a:solidFill>
              </a:rPr>
              <a:t>with</a:t>
            </a:r>
            <a:r>
              <a:rPr lang="fr-FR" sz="1800" dirty="0">
                <a:solidFill>
                  <a:srgbClr val="00264E"/>
                </a:solidFill>
              </a:rPr>
              <a:t> </a:t>
            </a:r>
            <a:r>
              <a:rPr lang="fr-FR" sz="1800" dirty="0" err="1">
                <a:solidFill>
                  <a:srgbClr val="00264E"/>
                </a:solidFill>
              </a:rPr>
              <a:t>our</a:t>
            </a:r>
            <a:r>
              <a:rPr lang="fr-FR" sz="1800" dirty="0">
                <a:solidFill>
                  <a:srgbClr val="00264E"/>
                </a:solidFill>
              </a:rPr>
              <a:t> formulations</a:t>
            </a:r>
            <a:endParaRPr lang="fr-FR" sz="1800" noProof="0" dirty="0">
              <a:solidFill>
                <a:srgbClr val="00264E"/>
              </a:solidFill>
            </a:endParaRPr>
          </a:p>
        </p:txBody>
      </p:sp>
      <p:sp>
        <p:nvSpPr>
          <p:cNvPr id="9" name="Footer Placeholder 3">
            <a:extLst>
              <a:ext uri="{FF2B5EF4-FFF2-40B4-BE49-F238E27FC236}">
                <a16:creationId xmlns:a16="http://schemas.microsoft.com/office/drawing/2014/main" id="{563607A0-2FD7-F436-D925-610FB53AA3AC}"/>
              </a:ext>
            </a:extLst>
          </p:cNvPr>
          <p:cNvSpPr txBox="1">
            <a:spLocks/>
          </p:cNvSpPr>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t>The Co-Development Company</a:t>
            </a:r>
            <a:endParaRPr lang="en-US" sz="1000" dirty="0"/>
          </a:p>
        </p:txBody>
      </p:sp>
      <p:sp>
        <p:nvSpPr>
          <p:cNvPr id="12" name="TextBox 11">
            <a:extLst>
              <a:ext uri="{FF2B5EF4-FFF2-40B4-BE49-F238E27FC236}">
                <a16:creationId xmlns:a16="http://schemas.microsoft.com/office/drawing/2014/main" id="{78499B0B-09B5-1339-7ED6-13A202C2046B}"/>
              </a:ext>
            </a:extLst>
          </p:cNvPr>
          <p:cNvSpPr txBox="1"/>
          <p:nvPr/>
        </p:nvSpPr>
        <p:spPr>
          <a:xfrm>
            <a:off x="1727805" y="1437365"/>
            <a:ext cx="6398607" cy="1015663"/>
          </a:xfrm>
          <a:prstGeom prst="rect">
            <a:avLst/>
          </a:prstGeom>
          <a:noFill/>
          <a:ln>
            <a:noFill/>
          </a:ln>
        </p:spPr>
        <p:txBody>
          <a:bodyPr wrap="square" lIns="0">
            <a:spAutoFit/>
          </a:bodyPr>
          <a:lstStyle/>
          <a:p>
            <a:r>
              <a:rPr lang="en-GB" sz="1200" dirty="0" err="1">
                <a:hlinkClick r:id="rId3"/>
              </a:rPr>
              <a:t>Hydra’luxe</a:t>
            </a:r>
            <a:r>
              <a:rPr lang="en-GB" sz="1200" dirty="0">
                <a:hlinkClick r:id="rId3"/>
              </a:rPr>
              <a:t> Elixir</a:t>
            </a:r>
            <a:r>
              <a:rPr lang="en-GB" sz="1200" dirty="0"/>
              <a:t> </a:t>
            </a:r>
            <a:r>
              <a:rPr lang="fr-FR" sz="1200" dirty="0" err="1">
                <a:solidFill>
                  <a:srgbClr val="1F67CA"/>
                </a:solidFill>
              </a:rPr>
              <a:t>ref</a:t>
            </a:r>
            <a:r>
              <a:rPr lang="fr-FR" sz="1200" dirty="0">
                <a:solidFill>
                  <a:srgbClr val="1F67CA"/>
                </a:solidFill>
              </a:rPr>
              <a:t>: </a:t>
            </a:r>
            <a:r>
              <a:rPr lang="sv-SE" sz="1200" dirty="0">
                <a:solidFill>
                  <a:srgbClr val="1F67CA"/>
                </a:solidFill>
              </a:rPr>
              <a:t>AAK-24-016</a:t>
            </a:r>
          </a:p>
          <a:p>
            <a:r>
              <a:rPr lang="en-GB" sz="1200" b="0" i="0" dirty="0">
                <a:solidFill>
                  <a:srgbClr val="00264E"/>
                </a:solidFill>
                <a:effectLst/>
              </a:rPr>
              <a:t>A powerful blend of natural ingredients makes this multitasking hair oil a must-have for shine, softness, and protection. Whether you’re dealing with dryness, dullness, frizz, or all three, just a few drops on damp or dry hair are all it takes to restore your locks to their glossy best. </a:t>
            </a:r>
            <a:r>
              <a:rPr lang="en-GB" sz="1200" dirty="0">
                <a:solidFill>
                  <a:srgbClr val="00264E"/>
                </a:solidFill>
              </a:rPr>
              <a:t>Natural Origin Index : 100%*</a:t>
            </a:r>
            <a:endParaRPr lang="en-US" sz="1400" dirty="0"/>
          </a:p>
        </p:txBody>
      </p:sp>
      <p:sp>
        <p:nvSpPr>
          <p:cNvPr id="20" name="TextBox 19">
            <a:extLst>
              <a:ext uri="{FF2B5EF4-FFF2-40B4-BE49-F238E27FC236}">
                <a16:creationId xmlns:a16="http://schemas.microsoft.com/office/drawing/2014/main" id="{FC7F3AD4-B428-D73B-9B64-B4B02CF61B54}"/>
              </a:ext>
            </a:extLst>
          </p:cNvPr>
          <p:cNvSpPr txBox="1"/>
          <p:nvPr/>
        </p:nvSpPr>
        <p:spPr>
          <a:xfrm>
            <a:off x="1727805" y="2696077"/>
            <a:ext cx="6293804" cy="1046440"/>
          </a:xfrm>
          <a:prstGeom prst="rect">
            <a:avLst/>
          </a:prstGeom>
          <a:noFill/>
          <a:ln>
            <a:noFill/>
          </a:ln>
        </p:spPr>
        <p:txBody>
          <a:bodyPr wrap="square" lIns="0">
            <a:spAutoFit/>
          </a:bodyPr>
          <a:lstStyle/>
          <a:p>
            <a:r>
              <a:rPr lang="en-GB" sz="1200" dirty="0" err="1">
                <a:solidFill>
                  <a:srgbClr val="2067CA"/>
                </a:solidFill>
                <a:hlinkClick r:id="rId4">
                  <a:extLst>
                    <a:ext uri="{A12FA001-AC4F-418D-AE19-62706E023703}">
                      <ahyp:hlinkClr xmlns:ahyp="http://schemas.microsoft.com/office/drawing/2018/hyperlinkcolor" val="tx"/>
                    </a:ext>
                  </a:extLst>
                </a:hlinkClick>
              </a:rPr>
              <a:t>MallowWhip</a:t>
            </a:r>
            <a:r>
              <a:rPr lang="en-GB" sz="1200" dirty="0">
                <a:solidFill>
                  <a:srgbClr val="2067CA"/>
                </a:solidFill>
                <a:hlinkClick r:id="rId4">
                  <a:extLst>
                    <a:ext uri="{A12FA001-AC4F-418D-AE19-62706E023703}">
                      <ahyp:hlinkClr xmlns:ahyp="http://schemas.microsoft.com/office/drawing/2018/hyperlinkcolor" val="tx"/>
                    </a:ext>
                  </a:extLst>
                </a:hlinkClick>
              </a:rPr>
              <a:t> Curl </a:t>
            </a:r>
            <a:r>
              <a:rPr lang="en-GB" sz="1200" dirty="0">
                <a:solidFill>
                  <a:srgbClr val="1F67CA"/>
                </a:solidFill>
                <a:hlinkClick r:id="rId4">
                  <a:extLst>
                    <a:ext uri="{A12FA001-AC4F-418D-AE19-62706E023703}">
                      <ahyp:hlinkClr xmlns:ahyp="http://schemas.microsoft.com/office/drawing/2018/hyperlinkcolor" val="tx"/>
                    </a:ext>
                  </a:extLst>
                </a:hlinkClick>
              </a:rPr>
              <a:t>Mousse</a:t>
            </a:r>
            <a:r>
              <a:rPr lang="en-GB" sz="1200" dirty="0">
                <a:solidFill>
                  <a:srgbClr val="1F67CA"/>
                </a:solidFill>
              </a:rPr>
              <a:t> </a:t>
            </a:r>
            <a:r>
              <a:rPr lang="fr-FR" sz="1200" dirty="0" err="1">
                <a:solidFill>
                  <a:srgbClr val="1F67CA"/>
                </a:solidFill>
              </a:rPr>
              <a:t>ref</a:t>
            </a:r>
            <a:r>
              <a:rPr lang="fr-FR" sz="1200" dirty="0">
                <a:solidFill>
                  <a:srgbClr val="1F67CA"/>
                </a:solidFill>
              </a:rPr>
              <a:t>: </a:t>
            </a:r>
            <a:r>
              <a:rPr lang="sv-SE" sz="1200" dirty="0">
                <a:solidFill>
                  <a:srgbClr val="1F67CA"/>
                </a:solidFill>
              </a:rPr>
              <a:t>AAK-25-001</a:t>
            </a:r>
          </a:p>
          <a:p>
            <a:r>
              <a:rPr lang="en-GB" sz="1200" b="0" i="0" dirty="0">
                <a:solidFill>
                  <a:srgbClr val="00264E"/>
                </a:solidFill>
                <a:effectLst/>
                <a:latin typeface="Work Sans Light" pitchFamily="2" charset="0"/>
              </a:rPr>
              <a:t>Define and nourish very dry waves and curls with this rich yet airy styling mousse. Perfect for air-drying or diffusing, it tames parched, frizzy locks, enhancing the natural curl pattern without weighing down the hair or leaving a greasy, sticky or crunchy residue. </a:t>
            </a:r>
            <a:r>
              <a:rPr lang="en-GB" sz="1200" dirty="0">
                <a:solidFill>
                  <a:srgbClr val="00264E"/>
                </a:solidFill>
              </a:rPr>
              <a:t>Natural Origin Index : 98%*</a:t>
            </a:r>
            <a:endParaRPr lang="en-US" sz="1200" dirty="0">
              <a:solidFill>
                <a:srgbClr val="00264E"/>
              </a:solidFill>
              <a:latin typeface="Work Sans Light" pitchFamily="2" charset="0"/>
            </a:endParaRPr>
          </a:p>
        </p:txBody>
      </p:sp>
      <p:sp>
        <p:nvSpPr>
          <p:cNvPr id="21" name="TextBox 20">
            <a:extLst>
              <a:ext uri="{FF2B5EF4-FFF2-40B4-BE49-F238E27FC236}">
                <a16:creationId xmlns:a16="http://schemas.microsoft.com/office/drawing/2014/main" id="{EC051AEB-6598-976B-CB46-6994263A239E}"/>
              </a:ext>
            </a:extLst>
          </p:cNvPr>
          <p:cNvSpPr txBox="1"/>
          <p:nvPr/>
        </p:nvSpPr>
        <p:spPr>
          <a:xfrm>
            <a:off x="1727805" y="5151946"/>
            <a:ext cx="6168420" cy="1015663"/>
          </a:xfrm>
          <a:prstGeom prst="rect">
            <a:avLst/>
          </a:prstGeom>
          <a:noFill/>
          <a:ln>
            <a:noFill/>
          </a:ln>
        </p:spPr>
        <p:txBody>
          <a:bodyPr wrap="square" lIns="0">
            <a:spAutoFit/>
          </a:bodyPr>
          <a:lstStyle/>
          <a:p>
            <a:r>
              <a:rPr lang="en-GB" sz="1200" dirty="0" err="1">
                <a:hlinkClick r:id="rId5"/>
              </a:rPr>
              <a:t>DermaBalance</a:t>
            </a:r>
            <a:r>
              <a:rPr lang="en-GB" sz="1200" dirty="0">
                <a:hlinkClick r:id="rId5"/>
              </a:rPr>
              <a:t> Scalp Lotion</a:t>
            </a:r>
            <a:r>
              <a:rPr lang="en-GB" sz="1200" dirty="0"/>
              <a:t> </a:t>
            </a:r>
            <a:r>
              <a:rPr lang="en-GB" sz="1200" dirty="0">
                <a:solidFill>
                  <a:srgbClr val="2067CA"/>
                </a:solidFill>
              </a:rPr>
              <a:t>AAK-25-002</a:t>
            </a:r>
          </a:p>
          <a:p>
            <a:r>
              <a:rPr lang="en-GB" sz="1200" b="0" i="0" dirty="0">
                <a:solidFill>
                  <a:srgbClr val="00264E"/>
                </a:solidFill>
                <a:effectLst/>
              </a:rPr>
              <a:t>Expertly crafted with a trio of plant-based emollients, designed to nourish and soothe, it helps alleviate dryness and irritation while providing a protective barrier against environmental stressors. </a:t>
            </a:r>
          </a:p>
          <a:p>
            <a:r>
              <a:rPr lang="en-GB" sz="1200" dirty="0">
                <a:solidFill>
                  <a:srgbClr val="00264E"/>
                </a:solidFill>
              </a:rPr>
              <a:t>Natural Origin Index : 99%*</a:t>
            </a:r>
            <a:endParaRPr lang="en-US" sz="1200" dirty="0">
              <a:solidFill>
                <a:srgbClr val="DC0000"/>
              </a:solidFill>
            </a:endParaRPr>
          </a:p>
        </p:txBody>
      </p:sp>
      <p:pic>
        <p:nvPicPr>
          <p:cNvPr id="3" name="Picture 2" descr="A drop of white liquid dripping from a drop of white liquid into a small bottle&#10;&#10;AI-generated content may be incorrect.">
            <a:extLst>
              <a:ext uri="{FF2B5EF4-FFF2-40B4-BE49-F238E27FC236}">
                <a16:creationId xmlns:a16="http://schemas.microsoft.com/office/drawing/2014/main" id="{371A2305-9C94-B75F-D4DD-B4387E9DED41}"/>
              </a:ext>
            </a:extLst>
          </p:cNvPr>
          <p:cNvPicPr>
            <a:picLocks noChangeAspect="1"/>
          </p:cNvPicPr>
          <p:nvPr/>
        </p:nvPicPr>
        <p:blipFill>
          <a:blip r:embed="rId6"/>
          <a:srcRect l="11979" t="-1" r="13442" b="23206"/>
          <a:stretch/>
        </p:blipFill>
        <p:spPr>
          <a:xfrm>
            <a:off x="552040" y="5128215"/>
            <a:ext cx="1048862" cy="1080000"/>
          </a:xfrm>
          <a:prstGeom prst="ellipse">
            <a:avLst/>
          </a:prstGeom>
          <a:ln>
            <a:noFill/>
          </a:ln>
          <a:effectLst/>
        </p:spPr>
      </p:pic>
      <p:pic>
        <p:nvPicPr>
          <p:cNvPr id="7" name="Picture 6" descr="A close-up of a white cream&#10;&#10;AI-generated content may be incorrect.">
            <a:extLst>
              <a:ext uri="{FF2B5EF4-FFF2-40B4-BE49-F238E27FC236}">
                <a16:creationId xmlns:a16="http://schemas.microsoft.com/office/drawing/2014/main" id="{53F465F6-D8B9-E74A-0EB6-4CF9AD82CC5F}"/>
              </a:ext>
            </a:extLst>
          </p:cNvPr>
          <p:cNvPicPr>
            <a:picLocks noChangeAspect="1"/>
          </p:cNvPicPr>
          <p:nvPr/>
        </p:nvPicPr>
        <p:blipFill>
          <a:blip r:embed="rId7"/>
          <a:stretch>
            <a:fillRect/>
          </a:stretch>
        </p:blipFill>
        <p:spPr>
          <a:xfrm>
            <a:off x="536440" y="2625893"/>
            <a:ext cx="1080000" cy="1080000"/>
          </a:xfrm>
          <a:prstGeom prst="ellipse">
            <a:avLst/>
          </a:prstGeom>
          <a:ln>
            <a:noFill/>
          </a:ln>
          <a:effectLst/>
        </p:spPr>
      </p:pic>
      <p:pic>
        <p:nvPicPr>
          <p:cNvPr id="13" name="Picture 12" descr="A drop of liquid dripping from a drop of liquid into a small bottle&#10;&#10;AI-generated content may be incorrect.">
            <a:extLst>
              <a:ext uri="{FF2B5EF4-FFF2-40B4-BE49-F238E27FC236}">
                <a16:creationId xmlns:a16="http://schemas.microsoft.com/office/drawing/2014/main" id="{4B941521-4B65-AA72-5D98-41977CF5660B}"/>
              </a:ext>
            </a:extLst>
          </p:cNvPr>
          <p:cNvPicPr>
            <a:picLocks noChangeAspect="1"/>
          </p:cNvPicPr>
          <p:nvPr/>
        </p:nvPicPr>
        <p:blipFill>
          <a:blip r:embed="rId8"/>
          <a:srcRect l="11720" r="11335" b="23855"/>
          <a:stretch/>
        </p:blipFill>
        <p:spPr>
          <a:xfrm>
            <a:off x="536440" y="1391945"/>
            <a:ext cx="1091382" cy="1080000"/>
          </a:xfrm>
          <a:prstGeom prst="ellipse">
            <a:avLst/>
          </a:prstGeom>
          <a:ln>
            <a:noFill/>
          </a:ln>
          <a:effectLst/>
        </p:spPr>
      </p:pic>
      <p:sp>
        <p:nvSpPr>
          <p:cNvPr id="14" name="TextBox 13">
            <a:extLst>
              <a:ext uri="{FF2B5EF4-FFF2-40B4-BE49-F238E27FC236}">
                <a16:creationId xmlns:a16="http://schemas.microsoft.com/office/drawing/2014/main" id="{42D4FA1E-2631-14F6-7D75-8848D78044D7}"/>
              </a:ext>
            </a:extLst>
          </p:cNvPr>
          <p:cNvSpPr txBox="1"/>
          <p:nvPr/>
        </p:nvSpPr>
        <p:spPr>
          <a:xfrm>
            <a:off x="6137924" y="6067425"/>
            <a:ext cx="2085975" cy="138499"/>
          </a:xfrm>
          <a:prstGeom prst="rect">
            <a:avLst/>
          </a:prstGeom>
          <a:noFill/>
          <a:ln>
            <a:noFill/>
          </a:ln>
        </p:spPr>
        <p:txBody>
          <a:bodyPr wrap="square" lIns="0" tIns="0" rIns="0" bIns="0" rtlCol="0">
            <a:spAutoFit/>
          </a:bodyPr>
          <a:lstStyle/>
          <a:p>
            <a:pPr algn="l">
              <a:buClr>
                <a:schemeClr val="tx2"/>
              </a:buClr>
            </a:pPr>
            <a:r>
              <a:rPr lang="fr-FR" sz="900" i="1" spc="-30" dirty="0">
                <a:solidFill>
                  <a:srgbClr val="00264E"/>
                </a:solidFill>
              </a:rPr>
              <a:t>*</a:t>
            </a:r>
            <a:r>
              <a:rPr lang="fr-FR" sz="900" i="1" spc="-30" dirty="0" err="1">
                <a:solidFill>
                  <a:srgbClr val="00264E"/>
                </a:solidFill>
              </a:rPr>
              <a:t>according</a:t>
            </a:r>
            <a:r>
              <a:rPr lang="fr-FR" sz="900" i="1" spc="-30" dirty="0">
                <a:solidFill>
                  <a:srgbClr val="00264E"/>
                </a:solidFill>
              </a:rPr>
              <a:t> to ISO 16128</a:t>
            </a:r>
            <a:endParaRPr lang="en-GB" sz="900" i="1" spc="-30" dirty="0">
              <a:solidFill>
                <a:srgbClr val="00264E"/>
              </a:solidFill>
            </a:endParaRPr>
          </a:p>
        </p:txBody>
      </p:sp>
      <p:sp>
        <p:nvSpPr>
          <p:cNvPr id="18" name="TextBox 17">
            <a:extLst>
              <a:ext uri="{FF2B5EF4-FFF2-40B4-BE49-F238E27FC236}">
                <a16:creationId xmlns:a16="http://schemas.microsoft.com/office/drawing/2014/main" id="{CE4AC55B-86C9-9F9C-7E2D-7308394ACA6A}"/>
              </a:ext>
            </a:extLst>
          </p:cNvPr>
          <p:cNvSpPr txBox="1"/>
          <p:nvPr/>
        </p:nvSpPr>
        <p:spPr>
          <a:xfrm>
            <a:off x="1727805" y="3985566"/>
            <a:ext cx="6168420" cy="923330"/>
          </a:xfrm>
          <a:prstGeom prst="rect">
            <a:avLst/>
          </a:prstGeom>
          <a:noFill/>
          <a:ln>
            <a:noFill/>
          </a:ln>
        </p:spPr>
        <p:txBody>
          <a:bodyPr wrap="square" lIns="0" tIns="0" rIns="0" bIns="0" rtlCol="0">
            <a:spAutoFit/>
          </a:bodyPr>
          <a:lstStyle/>
          <a:p>
            <a:pPr algn="l">
              <a:buClr>
                <a:schemeClr val="tx2"/>
              </a:buClr>
            </a:pPr>
            <a:r>
              <a:rPr lang="nl-NL" sz="1200" dirty="0" err="1">
                <a:hlinkClick r:id="rId9"/>
              </a:rPr>
              <a:t>Sleek</a:t>
            </a:r>
            <a:r>
              <a:rPr lang="nl-NL" sz="1200" dirty="0">
                <a:hlinkClick r:id="rId9"/>
              </a:rPr>
              <a:t> </a:t>
            </a:r>
            <a:r>
              <a:rPr lang="nl-NL" sz="1200" dirty="0" err="1">
                <a:hlinkClick r:id="rId9"/>
              </a:rPr>
              <a:t>and</a:t>
            </a:r>
            <a:r>
              <a:rPr lang="nl-NL" sz="1200" dirty="0">
                <a:hlinkClick r:id="rId9"/>
              </a:rPr>
              <a:t> Wet </a:t>
            </a:r>
            <a:r>
              <a:rPr lang="nl-NL" sz="1200" dirty="0" err="1">
                <a:hlinkClick r:id="rId9"/>
              </a:rPr>
              <a:t>Glam</a:t>
            </a:r>
            <a:r>
              <a:rPr lang="nl-NL" sz="1200" dirty="0">
                <a:hlinkClick r:id="rId9"/>
              </a:rPr>
              <a:t> Gelée</a:t>
            </a:r>
            <a:r>
              <a:rPr lang="nl-NL" sz="1200" dirty="0"/>
              <a:t> </a:t>
            </a:r>
            <a:r>
              <a:rPr lang="en-GB" sz="1200" spc="-30" dirty="0">
                <a:solidFill>
                  <a:schemeClr val="tx2"/>
                </a:solidFill>
              </a:rPr>
              <a:t>AAK-24-023</a:t>
            </a:r>
          </a:p>
          <a:p>
            <a:pPr algn="l">
              <a:buClr>
                <a:schemeClr val="tx2"/>
              </a:buClr>
            </a:pPr>
            <a:r>
              <a:rPr lang="en-GB" sz="1200" b="0" i="0" dirty="0">
                <a:solidFill>
                  <a:srgbClr val="00264E"/>
                </a:solidFill>
                <a:effectLst/>
              </a:rPr>
              <a:t>Get on board with this season’s sultry wet-look hair trend. Whether you’re slicked-back bob or a sleek high ponytail, this silicone-free styling gel delivers fabulous, soft-to-the-touch, long-lasting tamed locks. </a:t>
            </a:r>
          </a:p>
          <a:p>
            <a:pPr algn="l">
              <a:buClr>
                <a:schemeClr val="tx2"/>
              </a:buClr>
            </a:pPr>
            <a:r>
              <a:rPr lang="en-GB" sz="1200" dirty="0">
                <a:solidFill>
                  <a:srgbClr val="00264E"/>
                </a:solidFill>
              </a:rPr>
              <a:t>Natural Origin Index : 99%*</a:t>
            </a:r>
            <a:endParaRPr lang="en-US" sz="1200" dirty="0">
              <a:solidFill>
                <a:srgbClr val="DC0000"/>
              </a:solidFill>
            </a:endParaRPr>
          </a:p>
        </p:txBody>
      </p:sp>
      <p:pic>
        <p:nvPicPr>
          <p:cNvPr id="19" name="Picture 18" descr="A clear container with a clear lid&#10;&#10;AI-generated content may be incorrect.">
            <a:extLst>
              <a:ext uri="{FF2B5EF4-FFF2-40B4-BE49-F238E27FC236}">
                <a16:creationId xmlns:a16="http://schemas.microsoft.com/office/drawing/2014/main" id="{4E6D5292-F0EF-DEC7-19FB-F684B5C7DA2B}"/>
              </a:ext>
            </a:extLst>
          </p:cNvPr>
          <p:cNvPicPr>
            <a:picLocks noChangeAspect="1"/>
          </p:cNvPicPr>
          <p:nvPr/>
        </p:nvPicPr>
        <p:blipFill>
          <a:blip r:embed="rId10">
            <a:extLst>
              <a:ext uri="{BEBA8EAE-BF5A-486C-A8C5-ECC9F3942E4B}">
                <a14:imgProps xmlns:a14="http://schemas.microsoft.com/office/drawing/2010/main">
                  <a14:imgLayer r:embed="rId11">
                    <a14:imgEffect>
                      <a14:saturation sat="33000"/>
                    </a14:imgEffect>
                  </a14:imgLayer>
                </a14:imgProps>
              </a:ext>
            </a:extLst>
          </a:blip>
          <a:stretch>
            <a:fillRect/>
          </a:stretch>
        </p:blipFill>
        <p:spPr>
          <a:xfrm>
            <a:off x="500440" y="3792822"/>
            <a:ext cx="1116000" cy="1248463"/>
          </a:xfrm>
          <a:prstGeom prst="ellipse">
            <a:avLst/>
          </a:prstGeom>
          <a:ln>
            <a:noFill/>
          </a:ln>
          <a:effectLst/>
        </p:spPr>
      </p:pic>
    </p:spTree>
    <p:extLst>
      <p:ext uri="{BB962C8B-B14F-4D97-AF65-F5344CB8AC3E}">
        <p14:creationId xmlns:p14="http://schemas.microsoft.com/office/powerpoint/2010/main" val="32215015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FA73E9-AD5B-BCB9-070F-93495F851CB2}"/>
              </a:ext>
            </a:extLst>
          </p:cNvPr>
          <p:cNvSpPr>
            <a:spLocks noGrp="1"/>
          </p:cNvSpPr>
          <p:nvPr>
            <p:ph type="dt" sz="half" idx="4294967295"/>
          </p:nvPr>
        </p:nvSpPr>
        <p:spPr>
          <a:xfrm>
            <a:off x="11136313" y="6356350"/>
            <a:ext cx="1055687" cy="365125"/>
          </a:xfrm>
        </p:spPr>
        <p:txBody>
          <a:bodyPr/>
          <a:lstStyle/>
          <a:p>
            <a:fld id="{C700A441-BB3E-4ACF-8953-BFF8511294E6}" type="datetime1">
              <a:rPr lang="en-GB" smtClean="0"/>
              <a:t>18/06/2025</a:t>
            </a:fld>
            <a:endParaRPr lang="en-GB" dirty="0"/>
          </a:p>
        </p:txBody>
      </p:sp>
      <p:sp>
        <p:nvSpPr>
          <p:cNvPr id="3" name="Slide Number Placeholder 2">
            <a:extLst>
              <a:ext uri="{FF2B5EF4-FFF2-40B4-BE49-F238E27FC236}">
                <a16:creationId xmlns:a16="http://schemas.microsoft.com/office/drawing/2014/main" id="{56F1855A-90F9-9733-D5F1-CF9E361D2EF6}"/>
              </a:ext>
            </a:extLst>
          </p:cNvPr>
          <p:cNvSpPr>
            <a:spLocks noGrp="1"/>
          </p:cNvSpPr>
          <p:nvPr>
            <p:ph type="sldNum" sz="quarter" idx="4294967295"/>
          </p:nvPr>
        </p:nvSpPr>
        <p:spPr>
          <a:xfrm>
            <a:off x="11796713" y="6356350"/>
            <a:ext cx="395287" cy="365125"/>
          </a:xfrm>
        </p:spPr>
        <p:txBody>
          <a:bodyPr/>
          <a:lstStyle/>
          <a:p>
            <a:pPr algn="r"/>
            <a:fld id="{EDF3706E-DB9C-4B59-A485-1194C2A6AD28}" type="slidenum">
              <a:rPr lang="en-GB" smtClean="0"/>
              <a:pPr algn="r"/>
              <a:t>37</a:t>
            </a:fld>
            <a:endParaRPr lang="en-GB"/>
          </a:p>
        </p:txBody>
      </p:sp>
      <p:pic>
        <p:nvPicPr>
          <p:cNvPr id="5" name="Picture Placeholder 6" descr="A close-up of bubbles&#10;&#10;AI-generated content may be incorrect.">
            <a:extLst>
              <a:ext uri="{FF2B5EF4-FFF2-40B4-BE49-F238E27FC236}">
                <a16:creationId xmlns:a16="http://schemas.microsoft.com/office/drawing/2014/main" id="{F1542BDD-6A05-79F3-6B6B-2C9F4C0A7204}"/>
              </a:ext>
            </a:extLst>
          </p:cNvPr>
          <p:cNvPicPr>
            <a:picLocks noChangeAspect="1"/>
          </p:cNvPicPr>
          <p:nvPr/>
        </p:nvPicPr>
        <p:blipFill>
          <a:blip r:embed="rId2"/>
          <a:srcRect t="37622" r="41949" b="13482"/>
          <a:stretch/>
        </p:blipFill>
        <p:spPr>
          <a:xfrm>
            <a:off x="1" y="0"/>
            <a:ext cx="12191999" cy="6857999"/>
          </a:xfrm>
          <a:custGeom>
            <a:avLst/>
            <a:gdLst>
              <a:gd name="connsiteX0" fmla="*/ 811590 w 12192000"/>
              <a:gd name="connsiteY0" fmla="*/ 6423839 h 6858000"/>
              <a:gd name="connsiteX1" fmla="*/ 812551 w 12192000"/>
              <a:gd name="connsiteY1" fmla="*/ 6425983 h 6858000"/>
              <a:gd name="connsiteX2" fmla="*/ 842986 w 12192000"/>
              <a:gd name="connsiteY2" fmla="*/ 6528784 h 6858000"/>
              <a:gd name="connsiteX3" fmla="*/ 842084 w 12192000"/>
              <a:gd name="connsiteY3" fmla="*/ 6530809 h 6858000"/>
              <a:gd name="connsiteX4" fmla="*/ 841381 w 12192000"/>
              <a:gd name="connsiteY4" fmla="*/ 6530906 h 6858000"/>
              <a:gd name="connsiteX5" fmla="*/ 781809 w 12192000"/>
              <a:gd name="connsiteY5" fmla="*/ 6530906 h 6858000"/>
              <a:gd name="connsiteX6" fmla="*/ 780110 w 12192000"/>
              <a:gd name="connsiteY6" fmla="*/ 6529469 h 6858000"/>
              <a:gd name="connsiteX7" fmla="*/ 780205 w 12192000"/>
              <a:gd name="connsiteY7" fmla="*/ 6528784 h 6858000"/>
              <a:gd name="connsiteX8" fmla="*/ 810640 w 12192000"/>
              <a:gd name="connsiteY8" fmla="*/ 6425983 h 6858000"/>
              <a:gd name="connsiteX9" fmla="*/ 811590 w 12192000"/>
              <a:gd name="connsiteY9" fmla="*/ 6423839 h 6858000"/>
              <a:gd name="connsiteX10" fmla="*/ 587691 w 12192000"/>
              <a:gd name="connsiteY10" fmla="*/ 6423839 h 6858000"/>
              <a:gd name="connsiteX11" fmla="*/ 588641 w 12192000"/>
              <a:gd name="connsiteY11" fmla="*/ 6425983 h 6858000"/>
              <a:gd name="connsiteX12" fmla="*/ 619077 w 12192000"/>
              <a:gd name="connsiteY12" fmla="*/ 6528784 h 6858000"/>
              <a:gd name="connsiteX13" fmla="*/ 618198 w 12192000"/>
              <a:gd name="connsiteY13" fmla="*/ 6530804 h 6858000"/>
              <a:gd name="connsiteX14" fmla="*/ 617483 w 12192000"/>
              <a:gd name="connsiteY14" fmla="*/ 6530906 h 6858000"/>
              <a:gd name="connsiteX15" fmla="*/ 557911 w 12192000"/>
              <a:gd name="connsiteY15" fmla="*/ 6530906 h 6858000"/>
              <a:gd name="connsiteX16" fmla="*/ 556210 w 12192000"/>
              <a:gd name="connsiteY16" fmla="*/ 6529478 h 6858000"/>
              <a:gd name="connsiteX17" fmla="*/ 556306 w 12192000"/>
              <a:gd name="connsiteY17" fmla="*/ 6528784 h 6858000"/>
              <a:gd name="connsiteX18" fmla="*/ 586752 w 12192000"/>
              <a:gd name="connsiteY18" fmla="*/ 6425983 h 6858000"/>
              <a:gd name="connsiteX19" fmla="*/ 587691 w 12192000"/>
              <a:gd name="connsiteY19" fmla="*/ 6423839 h 6858000"/>
              <a:gd name="connsiteX20" fmla="*/ 543817 w 12192000"/>
              <a:gd name="connsiteY20" fmla="*/ 6352465 h 6858000"/>
              <a:gd name="connsiteX21" fmla="*/ 540861 w 12192000"/>
              <a:gd name="connsiteY21" fmla="*/ 6354577 h 6858000"/>
              <a:gd name="connsiteX22" fmla="*/ 443053 w 12192000"/>
              <a:gd name="connsiteY22" fmla="*/ 6633486 h 6858000"/>
              <a:gd name="connsiteX23" fmla="*/ 443767 w 12192000"/>
              <a:gd name="connsiteY23" fmla="*/ 6635455 h 6858000"/>
              <a:gd name="connsiteX24" fmla="*/ 444542 w 12192000"/>
              <a:gd name="connsiteY24" fmla="*/ 6635587 h 6858000"/>
              <a:gd name="connsiteX25" fmla="*/ 521743 w 12192000"/>
              <a:gd name="connsiteY25" fmla="*/ 6635587 h 6858000"/>
              <a:gd name="connsiteX26" fmla="*/ 524604 w 12192000"/>
              <a:gd name="connsiteY26" fmla="*/ 6633454 h 6858000"/>
              <a:gd name="connsiteX27" fmla="*/ 537103 w 12192000"/>
              <a:gd name="connsiteY27" fmla="*/ 6591713 h 6858000"/>
              <a:gd name="connsiteX28" fmla="*/ 539975 w 12192000"/>
              <a:gd name="connsiteY28" fmla="*/ 6589581 h 6858000"/>
              <a:gd name="connsiteX29" fmla="*/ 635419 w 12192000"/>
              <a:gd name="connsiteY29" fmla="*/ 6589581 h 6858000"/>
              <a:gd name="connsiteX30" fmla="*/ 638279 w 12192000"/>
              <a:gd name="connsiteY30" fmla="*/ 6591713 h 6858000"/>
              <a:gd name="connsiteX31" fmla="*/ 650789 w 12192000"/>
              <a:gd name="connsiteY31" fmla="*/ 6633454 h 6858000"/>
              <a:gd name="connsiteX32" fmla="*/ 653650 w 12192000"/>
              <a:gd name="connsiteY32" fmla="*/ 6635587 h 6858000"/>
              <a:gd name="connsiteX33" fmla="*/ 745642 w 12192000"/>
              <a:gd name="connsiteY33" fmla="*/ 6635587 h 6858000"/>
              <a:gd name="connsiteX34" fmla="*/ 748502 w 12192000"/>
              <a:gd name="connsiteY34" fmla="*/ 6633454 h 6858000"/>
              <a:gd name="connsiteX35" fmla="*/ 761012 w 12192000"/>
              <a:gd name="connsiteY35" fmla="*/ 6591713 h 6858000"/>
              <a:gd name="connsiteX36" fmla="*/ 763873 w 12192000"/>
              <a:gd name="connsiteY36" fmla="*/ 6589581 h 6858000"/>
              <a:gd name="connsiteX37" fmla="*/ 859328 w 12192000"/>
              <a:gd name="connsiteY37" fmla="*/ 6589581 h 6858000"/>
              <a:gd name="connsiteX38" fmla="*/ 862189 w 12192000"/>
              <a:gd name="connsiteY38" fmla="*/ 6591713 h 6858000"/>
              <a:gd name="connsiteX39" fmla="*/ 874677 w 12192000"/>
              <a:gd name="connsiteY39" fmla="*/ 6633454 h 6858000"/>
              <a:gd name="connsiteX40" fmla="*/ 877538 w 12192000"/>
              <a:gd name="connsiteY40" fmla="*/ 6635587 h 6858000"/>
              <a:gd name="connsiteX41" fmla="*/ 1009888 w 12192000"/>
              <a:gd name="connsiteY41" fmla="*/ 6635587 h 6858000"/>
              <a:gd name="connsiteX42" fmla="*/ 1012126 w 12192000"/>
              <a:gd name="connsiteY42" fmla="*/ 6633359 h 6858000"/>
              <a:gd name="connsiteX43" fmla="*/ 1012126 w 12192000"/>
              <a:gd name="connsiteY43" fmla="*/ 6558121 h 6858000"/>
              <a:gd name="connsiteX44" fmla="*/ 1013678 w 12192000"/>
              <a:gd name="connsiteY44" fmla="*/ 6554289 h 6858000"/>
              <a:gd name="connsiteX45" fmla="*/ 1042910 w 12192000"/>
              <a:gd name="connsiteY45" fmla="*/ 6524182 h 6858000"/>
              <a:gd name="connsiteX46" fmla="*/ 1045265 w 12192000"/>
              <a:gd name="connsiteY46" fmla="*/ 6523986 h 6858000"/>
              <a:gd name="connsiteX47" fmla="*/ 1045655 w 12192000"/>
              <a:gd name="connsiteY47" fmla="*/ 6524467 h 6858000"/>
              <a:gd name="connsiteX48" fmla="*/ 1114041 w 12192000"/>
              <a:gd name="connsiteY48" fmla="*/ 6633698 h 6858000"/>
              <a:gd name="connsiteX49" fmla="*/ 1117542 w 12192000"/>
              <a:gd name="connsiteY49" fmla="*/ 6635587 h 6858000"/>
              <a:gd name="connsiteX50" fmla="*/ 1214827 w 12192000"/>
              <a:gd name="connsiteY50" fmla="*/ 6635587 h 6858000"/>
              <a:gd name="connsiteX51" fmla="*/ 1215840 w 12192000"/>
              <a:gd name="connsiteY51" fmla="*/ 6633718 h 6858000"/>
              <a:gd name="connsiteX52" fmla="*/ 1106842 w 12192000"/>
              <a:gd name="connsiteY52" fmla="*/ 6465760 h 6858000"/>
              <a:gd name="connsiteX53" fmla="*/ 1107148 w 12192000"/>
              <a:gd name="connsiteY53" fmla="*/ 6462277 h 6858000"/>
              <a:gd name="connsiteX54" fmla="*/ 1207532 w 12192000"/>
              <a:gd name="connsiteY54" fmla="*/ 6354102 h 6858000"/>
              <a:gd name="connsiteX55" fmla="*/ 1206825 w 12192000"/>
              <a:gd name="connsiteY55" fmla="*/ 6352465 h 6858000"/>
              <a:gd name="connsiteX56" fmla="*/ 1109766 w 12192000"/>
              <a:gd name="connsiteY56" fmla="*/ 6352465 h 6858000"/>
              <a:gd name="connsiteX57" fmla="*/ 1106092 w 12192000"/>
              <a:gd name="connsiteY57" fmla="*/ 6354165 h 6858000"/>
              <a:gd name="connsiteX58" fmla="*/ 1013573 w 12192000"/>
              <a:gd name="connsiteY58" fmla="*/ 6461812 h 6858000"/>
              <a:gd name="connsiteX59" fmla="*/ 1012126 w 12192000"/>
              <a:gd name="connsiteY59" fmla="*/ 6461263 h 6858000"/>
              <a:gd name="connsiteX60" fmla="*/ 1012126 w 12192000"/>
              <a:gd name="connsiteY60" fmla="*/ 6354693 h 6858000"/>
              <a:gd name="connsiteX61" fmla="*/ 1009888 w 12192000"/>
              <a:gd name="connsiteY61" fmla="*/ 6352465 h 6858000"/>
              <a:gd name="connsiteX62" fmla="*/ 938134 w 12192000"/>
              <a:gd name="connsiteY62" fmla="*/ 6352465 h 6858000"/>
              <a:gd name="connsiteX63" fmla="*/ 935917 w 12192000"/>
              <a:gd name="connsiteY63" fmla="*/ 6354693 h 6858000"/>
              <a:gd name="connsiteX64" fmla="*/ 935917 w 12192000"/>
              <a:gd name="connsiteY64" fmla="*/ 6531687 h 6858000"/>
              <a:gd name="connsiteX65" fmla="*/ 954581 w 12192000"/>
              <a:gd name="connsiteY65" fmla="*/ 6580597 h 6858000"/>
              <a:gd name="connsiteX66" fmla="*/ 932169 w 12192000"/>
              <a:gd name="connsiteY66" fmla="*/ 6622233 h 6858000"/>
              <a:gd name="connsiteX67" fmla="*/ 909641 w 12192000"/>
              <a:gd name="connsiteY67" fmla="*/ 6578211 h 6858000"/>
              <a:gd name="connsiteX68" fmla="*/ 909641 w 12192000"/>
              <a:gd name="connsiteY68" fmla="*/ 6499616 h 6858000"/>
              <a:gd name="connsiteX69" fmla="*/ 859391 w 12192000"/>
              <a:gd name="connsiteY69" fmla="*/ 6354587 h 6858000"/>
              <a:gd name="connsiteX70" fmla="*/ 856435 w 12192000"/>
              <a:gd name="connsiteY70" fmla="*/ 6352465 h 6858000"/>
              <a:gd name="connsiteX71" fmla="*/ 767716 w 12192000"/>
              <a:gd name="connsiteY71" fmla="*/ 6352465 h 6858000"/>
              <a:gd name="connsiteX72" fmla="*/ 764760 w 12192000"/>
              <a:gd name="connsiteY72" fmla="*/ 6354577 h 6858000"/>
              <a:gd name="connsiteX73" fmla="*/ 700543 w 12192000"/>
              <a:gd name="connsiteY73" fmla="*/ 6537684 h 6858000"/>
              <a:gd name="connsiteX74" fmla="*/ 699087 w 12192000"/>
              <a:gd name="connsiteY74" fmla="*/ 6537684 h 6858000"/>
              <a:gd name="connsiteX75" fmla="*/ 635482 w 12192000"/>
              <a:gd name="connsiteY75" fmla="*/ 6354587 h 6858000"/>
              <a:gd name="connsiteX76" fmla="*/ 632526 w 12192000"/>
              <a:gd name="connsiteY76" fmla="*/ 6352465 h 6858000"/>
              <a:gd name="connsiteX77" fmla="*/ 0 w 12192000"/>
              <a:gd name="connsiteY77" fmla="*/ 0 h 6858000"/>
              <a:gd name="connsiteX78" fmla="*/ 12192000 w 12192000"/>
              <a:gd name="connsiteY78" fmla="*/ 0 h 6858000"/>
              <a:gd name="connsiteX79" fmla="*/ 12192000 w 12192000"/>
              <a:gd name="connsiteY79" fmla="*/ 6858000 h 6858000"/>
              <a:gd name="connsiteX80" fmla="*/ 0 w 12192000"/>
              <a:gd name="connsiteY8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2192000" h="6858000">
                <a:moveTo>
                  <a:pt x="811590" y="6423839"/>
                </a:moveTo>
                <a:cubicBezTo>
                  <a:pt x="811780" y="6423840"/>
                  <a:pt x="812213" y="6424811"/>
                  <a:pt x="812551" y="6425983"/>
                </a:cubicBezTo>
                <a:lnTo>
                  <a:pt x="842986" y="6528784"/>
                </a:lnTo>
                <a:cubicBezTo>
                  <a:pt x="843296" y="6529592"/>
                  <a:pt x="842892" y="6530499"/>
                  <a:pt x="842084" y="6530809"/>
                </a:cubicBezTo>
                <a:cubicBezTo>
                  <a:pt x="841861" y="6530894"/>
                  <a:pt x="841620" y="6530928"/>
                  <a:pt x="841381" y="6530906"/>
                </a:cubicBezTo>
                <a:lnTo>
                  <a:pt x="781809" y="6530906"/>
                </a:lnTo>
                <a:cubicBezTo>
                  <a:pt x="780943" y="6530979"/>
                  <a:pt x="780182" y="6530335"/>
                  <a:pt x="780110" y="6529469"/>
                </a:cubicBezTo>
                <a:cubicBezTo>
                  <a:pt x="780090" y="6529236"/>
                  <a:pt x="780123" y="6529003"/>
                  <a:pt x="780205" y="6528784"/>
                </a:cubicBezTo>
                <a:lnTo>
                  <a:pt x="810640" y="6425983"/>
                </a:lnTo>
                <a:cubicBezTo>
                  <a:pt x="810784" y="6425203"/>
                  <a:pt x="811109" y="6424469"/>
                  <a:pt x="811590" y="6423839"/>
                </a:cubicBezTo>
                <a:close/>
                <a:moveTo>
                  <a:pt x="587691" y="6423839"/>
                </a:moveTo>
                <a:cubicBezTo>
                  <a:pt x="588172" y="6424469"/>
                  <a:pt x="588498" y="6425203"/>
                  <a:pt x="588641" y="6425983"/>
                </a:cubicBezTo>
                <a:lnTo>
                  <a:pt x="619077" y="6528784"/>
                </a:lnTo>
                <a:cubicBezTo>
                  <a:pt x="619392" y="6529585"/>
                  <a:pt x="618999" y="6530489"/>
                  <a:pt x="618198" y="6530804"/>
                </a:cubicBezTo>
                <a:cubicBezTo>
                  <a:pt x="617971" y="6530894"/>
                  <a:pt x="617726" y="6530929"/>
                  <a:pt x="617483" y="6530906"/>
                </a:cubicBezTo>
                <a:lnTo>
                  <a:pt x="557911" y="6530906"/>
                </a:lnTo>
                <a:cubicBezTo>
                  <a:pt x="557047" y="6530981"/>
                  <a:pt x="556285" y="6530342"/>
                  <a:pt x="556210" y="6529478"/>
                </a:cubicBezTo>
                <a:cubicBezTo>
                  <a:pt x="556189" y="6529243"/>
                  <a:pt x="556222" y="6529005"/>
                  <a:pt x="556306" y="6528784"/>
                </a:cubicBezTo>
                <a:lnTo>
                  <a:pt x="586752" y="6425983"/>
                </a:lnTo>
                <a:cubicBezTo>
                  <a:pt x="586899" y="6425207"/>
                  <a:pt x="587221" y="6424474"/>
                  <a:pt x="587691" y="6423839"/>
                </a:cubicBezTo>
                <a:close/>
                <a:moveTo>
                  <a:pt x="543817" y="6352465"/>
                </a:moveTo>
                <a:cubicBezTo>
                  <a:pt x="542502" y="6352525"/>
                  <a:pt x="541345" y="6353352"/>
                  <a:pt x="540861" y="6354577"/>
                </a:cubicBezTo>
                <a:lnTo>
                  <a:pt x="443053" y="6633486"/>
                </a:lnTo>
                <a:cubicBezTo>
                  <a:pt x="442706" y="6634227"/>
                  <a:pt x="443026" y="6635108"/>
                  <a:pt x="443767" y="6635455"/>
                </a:cubicBezTo>
                <a:cubicBezTo>
                  <a:pt x="444008" y="6635568"/>
                  <a:pt x="444276" y="6635614"/>
                  <a:pt x="444542" y="6635587"/>
                </a:cubicBezTo>
                <a:lnTo>
                  <a:pt x="521743" y="6635587"/>
                </a:lnTo>
                <a:cubicBezTo>
                  <a:pt x="523044" y="6635530"/>
                  <a:pt x="524178" y="6634685"/>
                  <a:pt x="524604" y="6633454"/>
                </a:cubicBezTo>
                <a:lnTo>
                  <a:pt x="537103" y="6591713"/>
                </a:lnTo>
                <a:cubicBezTo>
                  <a:pt x="537532" y="6590480"/>
                  <a:pt x="538670" y="6589634"/>
                  <a:pt x="539975" y="6589581"/>
                </a:cubicBezTo>
                <a:lnTo>
                  <a:pt x="635419" y="6589581"/>
                </a:lnTo>
                <a:cubicBezTo>
                  <a:pt x="636718" y="6589641"/>
                  <a:pt x="637850" y="6590485"/>
                  <a:pt x="638279" y="6591713"/>
                </a:cubicBezTo>
                <a:lnTo>
                  <a:pt x="650789" y="6633454"/>
                </a:lnTo>
                <a:cubicBezTo>
                  <a:pt x="651218" y="6634683"/>
                  <a:pt x="652350" y="6635527"/>
                  <a:pt x="653650" y="6635587"/>
                </a:cubicBezTo>
                <a:lnTo>
                  <a:pt x="745642" y="6635587"/>
                </a:lnTo>
                <a:cubicBezTo>
                  <a:pt x="746942" y="6635530"/>
                  <a:pt x="748076" y="6634685"/>
                  <a:pt x="748502" y="6633454"/>
                </a:cubicBezTo>
                <a:lnTo>
                  <a:pt x="761012" y="6591713"/>
                </a:lnTo>
                <a:cubicBezTo>
                  <a:pt x="761433" y="6590479"/>
                  <a:pt x="762570" y="6589631"/>
                  <a:pt x="763873" y="6589581"/>
                </a:cubicBezTo>
                <a:lnTo>
                  <a:pt x="859328" y="6589581"/>
                </a:lnTo>
                <a:cubicBezTo>
                  <a:pt x="860627" y="6589641"/>
                  <a:pt x="861759" y="6590485"/>
                  <a:pt x="862189" y="6591713"/>
                </a:cubicBezTo>
                <a:lnTo>
                  <a:pt x="874677" y="6633454"/>
                </a:lnTo>
                <a:cubicBezTo>
                  <a:pt x="875108" y="6634681"/>
                  <a:pt x="876240" y="6635524"/>
                  <a:pt x="877538" y="6635587"/>
                </a:cubicBezTo>
                <a:lnTo>
                  <a:pt x="1009888" y="6635587"/>
                </a:lnTo>
                <a:cubicBezTo>
                  <a:pt x="1011119" y="6635584"/>
                  <a:pt x="1012118" y="6634590"/>
                  <a:pt x="1012126" y="6633359"/>
                </a:cubicBezTo>
                <a:lnTo>
                  <a:pt x="1012126" y="6558121"/>
                </a:lnTo>
                <a:cubicBezTo>
                  <a:pt x="1012196" y="6556706"/>
                  <a:pt x="1012743" y="6555355"/>
                  <a:pt x="1013678" y="6554289"/>
                </a:cubicBezTo>
                <a:lnTo>
                  <a:pt x="1042910" y="6524182"/>
                </a:lnTo>
                <a:cubicBezTo>
                  <a:pt x="1043506" y="6523478"/>
                  <a:pt x="1044560" y="6523390"/>
                  <a:pt x="1045265" y="6523986"/>
                </a:cubicBezTo>
                <a:cubicBezTo>
                  <a:pt x="1045423" y="6524121"/>
                  <a:pt x="1045555" y="6524284"/>
                  <a:pt x="1045655" y="6524467"/>
                </a:cubicBezTo>
                <a:lnTo>
                  <a:pt x="1114041" y="6633698"/>
                </a:lnTo>
                <a:cubicBezTo>
                  <a:pt x="1114797" y="6634897"/>
                  <a:pt x="1116125" y="6635613"/>
                  <a:pt x="1117542" y="6635587"/>
                </a:cubicBezTo>
                <a:lnTo>
                  <a:pt x="1214827" y="6635587"/>
                </a:lnTo>
                <a:cubicBezTo>
                  <a:pt x="1216062" y="6635587"/>
                  <a:pt x="1216516" y="6634743"/>
                  <a:pt x="1215840" y="6633718"/>
                </a:cubicBezTo>
                <a:lnTo>
                  <a:pt x="1106842" y="6465760"/>
                </a:lnTo>
                <a:cubicBezTo>
                  <a:pt x="1106173" y="6464657"/>
                  <a:pt x="1106296" y="6463247"/>
                  <a:pt x="1107148" y="6462277"/>
                </a:cubicBezTo>
                <a:lnTo>
                  <a:pt x="1207532" y="6354102"/>
                </a:lnTo>
                <a:cubicBezTo>
                  <a:pt x="1208366" y="6353204"/>
                  <a:pt x="1208049" y="6352465"/>
                  <a:pt x="1206825" y="6352465"/>
                </a:cubicBezTo>
                <a:lnTo>
                  <a:pt x="1109766" y="6352465"/>
                </a:lnTo>
                <a:cubicBezTo>
                  <a:pt x="1108370" y="6352546"/>
                  <a:pt x="1107057" y="6353153"/>
                  <a:pt x="1106092" y="6354165"/>
                </a:cubicBezTo>
                <a:lnTo>
                  <a:pt x="1013573" y="6461812"/>
                </a:lnTo>
                <a:cubicBezTo>
                  <a:pt x="1012770" y="6462741"/>
                  <a:pt x="1012126" y="6462488"/>
                  <a:pt x="1012126" y="6461263"/>
                </a:cubicBezTo>
                <a:lnTo>
                  <a:pt x="1012126" y="6354693"/>
                </a:lnTo>
                <a:cubicBezTo>
                  <a:pt x="1012117" y="6353462"/>
                  <a:pt x="1011119" y="6352468"/>
                  <a:pt x="1009888" y="6352465"/>
                </a:cubicBezTo>
                <a:lnTo>
                  <a:pt x="938134" y="6352465"/>
                </a:lnTo>
                <a:cubicBezTo>
                  <a:pt x="936911" y="6352478"/>
                  <a:pt x="935923" y="6353469"/>
                  <a:pt x="935917" y="6354693"/>
                </a:cubicBezTo>
                <a:lnTo>
                  <a:pt x="935917" y="6531687"/>
                </a:lnTo>
                <a:cubicBezTo>
                  <a:pt x="935526" y="6564445"/>
                  <a:pt x="942853" y="6560317"/>
                  <a:pt x="954581" y="6580597"/>
                </a:cubicBezTo>
                <a:cubicBezTo>
                  <a:pt x="964198" y="6597192"/>
                  <a:pt x="955996" y="6620596"/>
                  <a:pt x="932169" y="6622233"/>
                </a:cubicBezTo>
                <a:cubicBezTo>
                  <a:pt x="912291" y="6623605"/>
                  <a:pt x="894798" y="6600940"/>
                  <a:pt x="909641" y="6578211"/>
                </a:cubicBezTo>
                <a:cubicBezTo>
                  <a:pt x="925318" y="6554247"/>
                  <a:pt x="931895" y="6565342"/>
                  <a:pt x="909641" y="6499616"/>
                </a:cubicBezTo>
                <a:lnTo>
                  <a:pt x="859391" y="6354587"/>
                </a:lnTo>
                <a:cubicBezTo>
                  <a:pt x="858913" y="6353357"/>
                  <a:pt x="857754" y="6352525"/>
                  <a:pt x="856435" y="6352465"/>
                </a:cubicBezTo>
                <a:lnTo>
                  <a:pt x="767716" y="6352465"/>
                </a:lnTo>
                <a:cubicBezTo>
                  <a:pt x="766401" y="6352525"/>
                  <a:pt x="765243" y="6353352"/>
                  <a:pt x="764760" y="6354577"/>
                </a:cubicBezTo>
                <a:lnTo>
                  <a:pt x="700543" y="6537684"/>
                </a:lnTo>
                <a:cubicBezTo>
                  <a:pt x="700132" y="6538845"/>
                  <a:pt x="699477" y="6538845"/>
                  <a:pt x="699087" y="6537684"/>
                </a:cubicBezTo>
                <a:lnTo>
                  <a:pt x="635482" y="6354587"/>
                </a:lnTo>
                <a:cubicBezTo>
                  <a:pt x="635004" y="6353357"/>
                  <a:pt x="633844" y="6352525"/>
                  <a:pt x="632526" y="6352465"/>
                </a:cubicBezTo>
                <a:close/>
                <a:moveTo>
                  <a:pt x="0" y="0"/>
                </a:moveTo>
                <a:lnTo>
                  <a:pt x="12192000" y="0"/>
                </a:lnTo>
                <a:lnTo>
                  <a:pt x="12192000" y="6858000"/>
                </a:lnTo>
                <a:lnTo>
                  <a:pt x="0" y="6858000"/>
                </a:lnTo>
                <a:close/>
              </a:path>
            </a:pathLst>
          </a:custGeom>
        </p:spPr>
      </p:pic>
      <p:sp>
        <p:nvSpPr>
          <p:cNvPr id="6" name="TextBox 5">
            <a:extLst>
              <a:ext uri="{FF2B5EF4-FFF2-40B4-BE49-F238E27FC236}">
                <a16:creationId xmlns:a16="http://schemas.microsoft.com/office/drawing/2014/main" id="{F1953FA8-9C11-4660-F020-98BE0C445A17}"/>
              </a:ext>
            </a:extLst>
          </p:cNvPr>
          <p:cNvSpPr txBox="1"/>
          <p:nvPr/>
        </p:nvSpPr>
        <p:spPr>
          <a:xfrm>
            <a:off x="300789" y="555858"/>
            <a:ext cx="11891209" cy="276999"/>
          </a:xfrm>
          <a:prstGeom prst="rect">
            <a:avLst/>
          </a:prstGeom>
          <a:noFill/>
          <a:ln>
            <a:noFill/>
          </a:ln>
        </p:spPr>
        <p:txBody>
          <a:bodyPr wrap="square" lIns="0" tIns="0" rIns="0" bIns="0" rtlCol="0">
            <a:spAutoFit/>
          </a:bodyPr>
          <a:lstStyle/>
          <a:p>
            <a:pPr>
              <a:buClr>
                <a:schemeClr val="tx2"/>
              </a:buClr>
            </a:pPr>
            <a:r>
              <a:rPr lang="fr-FR" spc="-30" dirty="0" err="1">
                <a:solidFill>
                  <a:schemeClr val="bg1"/>
                </a:solidFill>
              </a:rPr>
              <a:t>Everything</a:t>
            </a:r>
            <a:r>
              <a:rPr lang="fr-FR" spc="-30" dirty="0">
                <a:solidFill>
                  <a:schemeClr val="bg1"/>
                </a:solidFill>
              </a:rPr>
              <a:t> </a:t>
            </a:r>
            <a:r>
              <a:rPr lang="fr-FR" spc="-30" dirty="0" err="1">
                <a:solidFill>
                  <a:schemeClr val="bg1"/>
                </a:solidFill>
              </a:rPr>
              <a:t>we</a:t>
            </a:r>
            <a:r>
              <a:rPr lang="fr-FR" spc="-30" dirty="0">
                <a:solidFill>
                  <a:schemeClr val="bg1"/>
                </a:solidFill>
              </a:rPr>
              <a:t> do </a:t>
            </a:r>
            <a:r>
              <a:rPr lang="fr-FR" spc="-30" dirty="0" err="1">
                <a:solidFill>
                  <a:schemeClr val="bg1"/>
                </a:solidFill>
              </a:rPr>
              <a:t>is</a:t>
            </a:r>
            <a:r>
              <a:rPr lang="fr-FR" spc="-30" dirty="0">
                <a:solidFill>
                  <a:schemeClr val="bg1"/>
                </a:solidFill>
              </a:rPr>
              <a:t> about </a:t>
            </a:r>
            <a:endParaRPr lang="en-GB" spc="-30" dirty="0">
              <a:solidFill>
                <a:schemeClr val="bg1"/>
              </a:solidFill>
            </a:endParaRPr>
          </a:p>
        </p:txBody>
      </p:sp>
      <p:sp>
        <p:nvSpPr>
          <p:cNvPr id="7" name="TextBox 6">
            <a:extLst>
              <a:ext uri="{FF2B5EF4-FFF2-40B4-BE49-F238E27FC236}">
                <a16:creationId xmlns:a16="http://schemas.microsoft.com/office/drawing/2014/main" id="{86E286EC-F538-221D-FF12-AA9119A9C538}"/>
              </a:ext>
            </a:extLst>
          </p:cNvPr>
          <p:cNvSpPr txBox="1"/>
          <p:nvPr/>
        </p:nvSpPr>
        <p:spPr>
          <a:xfrm>
            <a:off x="300789" y="832857"/>
            <a:ext cx="11891211" cy="430887"/>
          </a:xfrm>
          <a:prstGeom prst="rect">
            <a:avLst/>
          </a:prstGeom>
          <a:noFill/>
          <a:ln>
            <a:noFill/>
          </a:ln>
        </p:spPr>
        <p:txBody>
          <a:bodyPr wrap="square" lIns="0" tIns="0" rIns="0" bIns="0" rtlCol="0">
            <a:spAutoFit/>
          </a:bodyPr>
          <a:lstStyle/>
          <a:p>
            <a:pPr>
              <a:buClr>
                <a:schemeClr val="tx2"/>
              </a:buClr>
            </a:pPr>
            <a:r>
              <a:rPr lang="fr-FR" sz="2800" b="1" i="1" spc="-30" dirty="0">
                <a:solidFill>
                  <a:schemeClr val="bg1"/>
                </a:solidFill>
                <a:latin typeface="Playfair Display" pitchFamily="2" charset="0"/>
              </a:rPr>
              <a:t>Making Better </a:t>
            </a:r>
            <a:r>
              <a:rPr lang="fr-FR" sz="2800" b="1" i="1" spc="-30" dirty="0" err="1">
                <a:solidFill>
                  <a:schemeClr val="bg1"/>
                </a:solidFill>
                <a:latin typeface="Playfair Display" pitchFamily="2" charset="0"/>
              </a:rPr>
              <a:t>Happen</a:t>
            </a:r>
            <a:r>
              <a:rPr lang="fr-FR" sz="2800" b="1" i="1" spc="-30" baseline="30000" dirty="0" err="1">
                <a:solidFill>
                  <a:schemeClr val="bg1"/>
                </a:solidFill>
              </a:rPr>
              <a:t>TM</a:t>
            </a:r>
            <a:endParaRPr lang="en-GB" sz="2800" b="1" i="1" spc="-30" baseline="30000" dirty="0">
              <a:solidFill>
                <a:schemeClr val="bg1"/>
              </a:solidFill>
            </a:endParaRPr>
          </a:p>
        </p:txBody>
      </p:sp>
      <p:sp>
        <p:nvSpPr>
          <p:cNvPr id="8" name="TextBox 7">
            <a:extLst>
              <a:ext uri="{FF2B5EF4-FFF2-40B4-BE49-F238E27FC236}">
                <a16:creationId xmlns:a16="http://schemas.microsoft.com/office/drawing/2014/main" id="{F7C29D36-C2E5-32F9-3309-5159016ED003}"/>
              </a:ext>
            </a:extLst>
          </p:cNvPr>
          <p:cNvSpPr txBox="1"/>
          <p:nvPr/>
        </p:nvSpPr>
        <p:spPr>
          <a:xfrm>
            <a:off x="1377214" y="2856410"/>
            <a:ext cx="11891209" cy="615553"/>
          </a:xfrm>
          <a:prstGeom prst="rect">
            <a:avLst/>
          </a:prstGeom>
          <a:noFill/>
          <a:ln>
            <a:noFill/>
          </a:ln>
        </p:spPr>
        <p:txBody>
          <a:bodyPr wrap="square" lIns="0" tIns="0" rIns="0" bIns="0" rtlCol="0">
            <a:spAutoFit/>
          </a:bodyPr>
          <a:lstStyle/>
          <a:p>
            <a:pPr>
              <a:buClr>
                <a:schemeClr val="tx2"/>
              </a:buClr>
            </a:pPr>
            <a:r>
              <a:rPr lang="fr-FR" sz="4000" spc="-30" dirty="0" err="1">
                <a:solidFill>
                  <a:schemeClr val="bg1"/>
                </a:solidFill>
              </a:rPr>
              <a:t>Thank</a:t>
            </a:r>
            <a:r>
              <a:rPr lang="fr-FR" sz="4000" spc="-30" dirty="0">
                <a:solidFill>
                  <a:schemeClr val="bg1"/>
                </a:solidFill>
              </a:rPr>
              <a:t> </a:t>
            </a:r>
            <a:r>
              <a:rPr lang="fr-FR" sz="4000" spc="-30" dirty="0" err="1">
                <a:solidFill>
                  <a:schemeClr val="bg1"/>
                </a:solidFill>
              </a:rPr>
              <a:t>you</a:t>
            </a:r>
            <a:r>
              <a:rPr lang="fr-FR" sz="4000" spc="-30" dirty="0">
                <a:solidFill>
                  <a:schemeClr val="bg1"/>
                </a:solidFill>
              </a:rPr>
              <a:t>!</a:t>
            </a:r>
            <a:endParaRPr lang="en-GB" sz="4000" spc="-30" dirty="0">
              <a:solidFill>
                <a:schemeClr val="bg1"/>
              </a:solidFill>
            </a:endParaRPr>
          </a:p>
        </p:txBody>
      </p:sp>
    </p:spTree>
    <p:extLst>
      <p:ext uri="{BB962C8B-B14F-4D97-AF65-F5344CB8AC3E}">
        <p14:creationId xmlns:p14="http://schemas.microsoft.com/office/powerpoint/2010/main" val="8099711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Placeholder 25">
            <a:extLst>
              <a:ext uri="{FF2B5EF4-FFF2-40B4-BE49-F238E27FC236}">
                <a16:creationId xmlns:a16="http://schemas.microsoft.com/office/drawing/2014/main" id="{BCA574DF-4B28-4966-928E-6EE6535C5FD2}"/>
              </a:ext>
            </a:extLst>
          </p:cNvPr>
          <p:cNvPicPr>
            <a:picLocks noGrp="1" noChangeAspect="1"/>
          </p:cNvPicPr>
          <p:nvPr>
            <p:ph type="pic" sz="quarter" idx="15"/>
          </p:nvPr>
        </p:nvPicPr>
        <p:blipFill>
          <a:blip r:embed="rId3"/>
          <a:srcRect l="30239" r="30239"/>
          <a:stretch/>
        </p:blipFill>
        <p:spPr/>
      </p:pic>
      <p:sp>
        <p:nvSpPr>
          <p:cNvPr id="6" name="Pladsholder til sidefod 5">
            <a:extLst>
              <a:ext uri="{FF2B5EF4-FFF2-40B4-BE49-F238E27FC236}">
                <a16:creationId xmlns:a16="http://schemas.microsoft.com/office/drawing/2014/main" id="{E00537AC-7B90-4FDD-9028-4745512C8C6D}"/>
              </a:ext>
            </a:extLst>
          </p:cNvPr>
          <p:cNvSpPr>
            <a:spLocks noGrp="1"/>
          </p:cNvSpPr>
          <p:nvPr>
            <p:ph type="ftr" sz="quarter" idx="11"/>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The Co-Development Company</a:t>
            </a:r>
            <a:endParaRPr kumimoji="0" lang="en-US" sz="1000" b="0" i="0" u="none" strike="noStrike" kern="1200" cap="none" spc="-30" normalizeH="0" baseline="0" noProof="0">
              <a:ln>
                <a:noFill/>
              </a:ln>
              <a:solidFill>
                <a:srgbClr val="2067CA"/>
              </a:solidFill>
              <a:effectLst/>
              <a:uLnTx/>
              <a:uFillTx/>
              <a:latin typeface="Work Sans Light Roman"/>
              <a:ea typeface="+mn-ea"/>
              <a:cs typeface="+mn-cs"/>
            </a:endParaRPr>
          </a:p>
        </p:txBody>
      </p:sp>
      <p:sp>
        <p:nvSpPr>
          <p:cNvPr id="7" name="Pladsholder til slidenummer 6">
            <a:extLst>
              <a:ext uri="{FF2B5EF4-FFF2-40B4-BE49-F238E27FC236}">
                <a16:creationId xmlns:a16="http://schemas.microsoft.com/office/drawing/2014/main" id="{60B596AD-114F-449A-9484-11BF9D96300D}"/>
              </a:ext>
            </a:extLst>
          </p:cNvPr>
          <p:cNvSpPr>
            <a:spLocks noGrp="1"/>
          </p:cNvSpPr>
          <p:nvPr>
            <p:ph type="sldNum" sz="quarter" idx="12"/>
          </p:nvPr>
        </p:nvSpPr>
        <p:spPr>
          <a:xfrm>
            <a:off x="11376660" y="6472030"/>
            <a:ext cx="372428" cy="153888"/>
          </a:xfrm>
          <a:prstGeom prst="rect">
            <a:avLst/>
          </a:prstGeom>
        </p:spPr>
        <p:txBody>
          <a:bodyPr vert="horz" wrap="squar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803DD7B-12C8-43B8-9F45-989336E79744}" type="slidenum">
              <a:rPr lang="en-US" sz="1000" smtClean="0"/>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30" normalizeH="0" baseline="0" noProof="0">
              <a:ln>
                <a:noFill/>
              </a:ln>
              <a:solidFill>
                <a:srgbClr val="2067CA"/>
              </a:solidFill>
              <a:effectLst/>
              <a:uLnTx/>
              <a:uFillTx/>
              <a:latin typeface="Work Sans Light Roman"/>
              <a:ea typeface="+mn-ea"/>
              <a:cs typeface="+mn-cs"/>
            </a:endParaRPr>
          </a:p>
        </p:txBody>
      </p:sp>
      <p:sp>
        <p:nvSpPr>
          <p:cNvPr id="5" name="Pladsholder til dato 4">
            <a:extLst>
              <a:ext uri="{FF2B5EF4-FFF2-40B4-BE49-F238E27FC236}">
                <a16:creationId xmlns:a16="http://schemas.microsoft.com/office/drawing/2014/main" id="{84675973-D00E-49E2-A91D-F08A97FF68EB}"/>
              </a:ext>
            </a:extLst>
          </p:cNvPr>
          <p:cNvSpPr>
            <a:spLocks noGrp="1"/>
          </p:cNvSpPr>
          <p:nvPr>
            <p:ph type="dt" sz="half" idx="10"/>
          </p:nvPr>
        </p:nvSpPr>
        <p:spPr>
          <a:xfrm>
            <a:off x="10542897" y="6472030"/>
            <a:ext cx="626774"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60B2C05-1104-41BB-B925-7E3352CEED91}" type="datetime1">
              <a:rPr lang="en-GB" sz="1000" smtClean="0"/>
              <a:pPr marL="0" marR="0" lvl="0" indent="0" algn="r" defTabSz="914400" rtl="0" eaLnBrk="1" fontAlgn="auto" latinLnBrk="0" hangingPunct="1">
                <a:lnSpc>
                  <a:spcPct val="100000"/>
                </a:lnSpc>
                <a:spcBef>
                  <a:spcPts val="0"/>
                </a:spcBef>
                <a:spcAft>
                  <a:spcPts val="0"/>
                </a:spcAft>
                <a:buClrTx/>
                <a:buSzTx/>
                <a:buFontTx/>
                <a:buNone/>
                <a:tabLst/>
                <a:defRPr/>
              </a:pPr>
              <a:t>18/06/2025</a:t>
            </a:fld>
            <a:endParaRPr kumimoji="0" lang="en-US" sz="1000" b="0" i="0" u="none" strike="noStrike" kern="1200" cap="none" spc="-30" normalizeH="0" baseline="0" noProof="0">
              <a:ln>
                <a:noFill/>
              </a:ln>
              <a:solidFill>
                <a:srgbClr val="2067CA"/>
              </a:solidFill>
              <a:effectLst/>
              <a:uLnTx/>
              <a:uFillTx/>
              <a:latin typeface="Work Sans Light Roman"/>
              <a:ea typeface="+mn-ea"/>
              <a:cs typeface="+mn-cs"/>
            </a:endParaRPr>
          </a:p>
        </p:txBody>
      </p:sp>
      <p:sp>
        <p:nvSpPr>
          <p:cNvPr id="9" name="Pladsholder til indhold 13">
            <a:extLst>
              <a:ext uri="{FF2B5EF4-FFF2-40B4-BE49-F238E27FC236}">
                <a16:creationId xmlns:a16="http://schemas.microsoft.com/office/drawing/2014/main" id="{71FD5603-6A05-4133-8C40-BA0F036C74B9}"/>
              </a:ext>
            </a:extLst>
          </p:cNvPr>
          <p:cNvSpPr>
            <a:spLocks noGrp="1"/>
          </p:cNvSpPr>
          <p:nvPr>
            <p:ph sz="quarter" idx="13"/>
          </p:nvPr>
        </p:nvSpPr>
        <p:spPr>
          <a:xfrm>
            <a:off x="5693387" y="3155207"/>
            <a:ext cx="5683272" cy="1277273"/>
          </a:xfrm>
        </p:spPr>
        <p:txBody>
          <a:bodyPr vert="horz" wrap="square" lIns="0" tIns="0" rIns="0" bIns="0" rtlCol="0" anchor="t">
            <a:spAutoFit/>
          </a:bodyPr>
          <a:lstStyle/>
          <a:p>
            <a:pPr marL="179070" indent="-179070"/>
            <a:r>
              <a:rPr lang="en-GB" sz="1400" dirty="0"/>
              <a:t>Mass Balance Kolo Nafaso </a:t>
            </a:r>
            <a:endParaRPr lang="en-US" sz="1400" dirty="0"/>
          </a:p>
          <a:p>
            <a:pPr marL="179070" indent="-179070"/>
            <a:r>
              <a:rPr lang="en-GB" sz="1400" dirty="0"/>
              <a:t>Sustainably – sourced shea </a:t>
            </a:r>
            <a:endParaRPr lang="en-US" sz="1400" dirty="0"/>
          </a:p>
          <a:p>
            <a:pPr marL="179070" indent="-179070"/>
            <a:r>
              <a:rPr lang="en-GB" sz="1400" dirty="0"/>
              <a:t>Empowering women shea collectors. </a:t>
            </a:r>
            <a:endParaRPr lang="en-US" sz="1400" dirty="0"/>
          </a:p>
          <a:p>
            <a:pPr marL="179070" indent="-179070"/>
            <a:r>
              <a:rPr lang="en-GB" sz="1400" dirty="0"/>
              <a:t>Supporting the future of shea</a:t>
            </a:r>
          </a:p>
          <a:p>
            <a:pPr marL="179070" indent="-179070"/>
            <a:r>
              <a:rPr lang="en-GB" sz="1400" dirty="0"/>
              <a:t>Eco-designed, 100% Renewable sources.</a:t>
            </a:r>
          </a:p>
        </p:txBody>
      </p:sp>
      <p:sp>
        <p:nvSpPr>
          <p:cNvPr id="10" name="Titel 12">
            <a:extLst>
              <a:ext uri="{FF2B5EF4-FFF2-40B4-BE49-F238E27FC236}">
                <a16:creationId xmlns:a16="http://schemas.microsoft.com/office/drawing/2014/main" id="{603E4E1A-15A0-B70E-A74A-E5C67CD59E29}"/>
              </a:ext>
            </a:extLst>
          </p:cNvPr>
          <p:cNvSpPr>
            <a:spLocks noGrp="1"/>
          </p:cNvSpPr>
          <p:nvPr>
            <p:ph type="title"/>
          </p:nvPr>
        </p:nvSpPr>
        <p:spPr>
          <a:xfrm>
            <a:off x="4475163" y="221456"/>
            <a:ext cx="7273925" cy="775597"/>
          </a:xfrm>
        </p:spPr>
        <p:txBody>
          <a:bodyPr/>
          <a:lstStyle/>
          <a:p>
            <a:r>
              <a:rPr lang="en-GB" dirty="0"/>
              <a:t>LIPEX</a:t>
            </a:r>
            <a:r>
              <a:rPr lang="en-GB" baseline="30000" dirty="0"/>
              <a:t>®</a:t>
            </a:r>
            <a:r>
              <a:rPr lang="en-GB" dirty="0"/>
              <a:t> SheaSolve</a:t>
            </a:r>
            <a:r>
              <a:rPr lang="en-GB" baseline="30000" dirty="0"/>
              <a:t>™</a:t>
            </a:r>
            <a:endParaRPr lang="da-DK" baseline="30000" dirty="0"/>
          </a:p>
        </p:txBody>
      </p:sp>
      <p:grpSp>
        <p:nvGrpSpPr>
          <p:cNvPr id="12" name="Group 15">
            <a:extLst>
              <a:ext uri="{FF2B5EF4-FFF2-40B4-BE49-F238E27FC236}">
                <a16:creationId xmlns:a16="http://schemas.microsoft.com/office/drawing/2014/main" id="{2D7F4419-7E18-72D8-3D88-957CBFC2D279}"/>
              </a:ext>
            </a:extLst>
          </p:cNvPr>
          <p:cNvGrpSpPr>
            <a:grpSpLocks/>
          </p:cNvGrpSpPr>
          <p:nvPr/>
        </p:nvGrpSpPr>
        <p:grpSpPr>
          <a:xfrm>
            <a:off x="4563609" y="4961156"/>
            <a:ext cx="708242" cy="1177327"/>
            <a:chOff x="1267887" y="3238698"/>
            <a:chExt cx="572981" cy="952480"/>
          </a:xfrm>
        </p:grpSpPr>
        <p:pic>
          <p:nvPicPr>
            <p:cNvPr id="15" name="Picture 16" descr="Icon&#10;&#10;Description automatically generated">
              <a:extLst>
                <a:ext uri="{FF2B5EF4-FFF2-40B4-BE49-F238E27FC236}">
                  <a16:creationId xmlns:a16="http://schemas.microsoft.com/office/drawing/2014/main" id="{1F60EE86-7B4E-367B-6968-E20CD513A5A9}"/>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267891" y="3238698"/>
              <a:ext cx="572977" cy="566881"/>
            </a:xfrm>
            <a:prstGeom prst="rect">
              <a:avLst/>
            </a:prstGeom>
          </p:spPr>
        </p:pic>
        <p:sp>
          <p:nvSpPr>
            <p:cNvPr id="22" name="TextBox 123">
              <a:extLst>
                <a:ext uri="{FF2B5EF4-FFF2-40B4-BE49-F238E27FC236}">
                  <a16:creationId xmlns:a16="http://schemas.microsoft.com/office/drawing/2014/main" id="{BD6DBC4B-9430-174F-D6B2-D970074C382C}"/>
                </a:ext>
              </a:extLst>
            </p:cNvPr>
            <p:cNvSpPr txBox="1">
              <a:spLocks/>
            </p:cNvSpPr>
            <p:nvPr/>
          </p:nvSpPr>
          <p:spPr>
            <a:xfrm>
              <a:off x="1267887" y="3858779"/>
              <a:ext cx="572977" cy="332399"/>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dirty="0"/>
                <a:t>Legal compliance</a:t>
              </a:r>
            </a:p>
          </p:txBody>
        </p:sp>
      </p:grpSp>
      <p:pic>
        <p:nvPicPr>
          <p:cNvPr id="31" name="Picture 4">
            <a:extLst>
              <a:ext uri="{FF2B5EF4-FFF2-40B4-BE49-F238E27FC236}">
                <a16:creationId xmlns:a16="http://schemas.microsoft.com/office/drawing/2014/main" id="{791E6AEC-A8AA-3507-E7D6-2E2D8CC982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46423" y="5092178"/>
            <a:ext cx="571500" cy="57150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6">
            <a:extLst>
              <a:ext uri="{FF2B5EF4-FFF2-40B4-BE49-F238E27FC236}">
                <a16:creationId xmlns:a16="http://schemas.microsoft.com/office/drawing/2014/main" id="{05A70603-DCDE-91FA-456C-32BFE055697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15401" y="5092178"/>
            <a:ext cx="571500" cy="57150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8">
            <a:extLst>
              <a:ext uri="{FF2B5EF4-FFF2-40B4-BE49-F238E27FC236}">
                <a16:creationId xmlns:a16="http://schemas.microsoft.com/office/drawing/2014/main" id="{E0E0DA59-6911-C892-3DCD-1475F122786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49890" y="5092178"/>
            <a:ext cx="571500" cy="57150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6">
            <a:extLst>
              <a:ext uri="{FF2B5EF4-FFF2-40B4-BE49-F238E27FC236}">
                <a16:creationId xmlns:a16="http://schemas.microsoft.com/office/drawing/2014/main" id="{9C407042-3E48-D2AA-FADA-3301F5625F4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11934" y="5092178"/>
            <a:ext cx="571500" cy="571500"/>
          </a:xfrm>
          <a:prstGeom prst="rect">
            <a:avLst/>
          </a:prstGeom>
          <a:noFill/>
          <a:extLst>
            <a:ext uri="{909E8E84-426E-40DD-AFC4-6F175D3DCCD1}">
              <a14:hiddenFill xmlns:a14="http://schemas.microsoft.com/office/drawing/2010/main">
                <a:solidFill>
                  <a:srgbClr val="FFFFFF"/>
                </a:solidFill>
              </a14:hiddenFill>
            </a:ext>
          </a:extLst>
        </p:spPr>
      </p:pic>
      <p:grpSp>
        <p:nvGrpSpPr>
          <p:cNvPr id="39" name="Group 32">
            <a:extLst>
              <a:ext uri="{FF2B5EF4-FFF2-40B4-BE49-F238E27FC236}">
                <a16:creationId xmlns:a16="http://schemas.microsoft.com/office/drawing/2014/main" id="{7DB31846-EAC1-DFA7-06BA-CA8D18A3390D}"/>
              </a:ext>
            </a:extLst>
          </p:cNvPr>
          <p:cNvGrpSpPr>
            <a:grpSpLocks/>
          </p:cNvGrpSpPr>
          <p:nvPr/>
        </p:nvGrpSpPr>
        <p:grpSpPr>
          <a:xfrm>
            <a:off x="4579656" y="3315133"/>
            <a:ext cx="718754" cy="1180175"/>
            <a:chOff x="8692673" y="4192866"/>
            <a:chExt cx="581481" cy="954776"/>
          </a:xfrm>
        </p:grpSpPr>
        <p:pic>
          <p:nvPicPr>
            <p:cNvPr id="40" name="Picture 33" descr="Icon&#10;&#10;Description automatically generated">
              <a:extLst>
                <a:ext uri="{FF2B5EF4-FFF2-40B4-BE49-F238E27FC236}">
                  <a16:creationId xmlns:a16="http://schemas.microsoft.com/office/drawing/2014/main" id="{2A9B315A-33D2-3FE8-D1AA-42735A6301B0}"/>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701177" y="4192866"/>
              <a:ext cx="572977" cy="566881"/>
            </a:xfrm>
            <a:prstGeom prst="rect">
              <a:avLst/>
            </a:prstGeom>
          </p:spPr>
        </p:pic>
        <p:sp>
          <p:nvSpPr>
            <p:cNvPr id="41" name="TextBox 123">
              <a:extLst>
                <a:ext uri="{FF2B5EF4-FFF2-40B4-BE49-F238E27FC236}">
                  <a16:creationId xmlns:a16="http://schemas.microsoft.com/office/drawing/2014/main" id="{0370DD56-2AAC-7683-6FAF-1EF9346C3A09}"/>
                </a:ext>
              </a:extLst>
            </p:cNvPr>
            <p:cNvSpPr txBox="1">
              <a:spLocks/>
            </p:cNvSpPr>
            <p:nvPr/>
          </p:nvSpPr>
          <p:spPr>
            <a:xfrm>
              <a:off x="8692673" y="4815243"/>
              <a:ext cx="572977" cy="332399"/>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800"/>
                <a:t>Sustainability</a:t>
              </a:r>
            </a:p>
          </p:txBody>
        </p:sp>
      </p:grpSp>
      <p:pic>
        <p:nvPicPr>
          <p:cNvPr id="42" name="Picture 2">
            <a:extLst>
              <a:ext uri="{FF2B5EF4-FFF2-40B4-BE49-F238E27FC236}">
                <a16:creationId xmlns:a16="http://schemas.microsoft.com/office/drawing/2014/main" id="{AEDFF42E-9E52-1E79-B850-941A9695EE1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180912" y="5092178"/>
            <a:ext cx="571500" cy="57150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2" descr="A close up of a label&#10;&#10;Description automatically generated">
            <a:extLst>
              <a:ext uri="{FF2B5EF4-FFF2-40B4-BE49-F238E27FC236}">
                <a16:creationId xmlns:a16="http://schemas.microsoft.com/office/drawing/2014/main" id="{2C216383-BD97-AB96-6863-C5C6F5DD41E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477443" y="5063242"/>
            <a:ext cx="639018" cy="629373"/>
          </a:xfrm>
          <a:prstGeom prst="rect">
            <a:avLst/>
          </a:prstGeom>
          <a:noFill/>
          <a:extLst>
            <a:ext uri="{909E8E84-426E-40DD-AFC4-6F175D3DCCD1}">
              <a14:hiddenFill xmlns:a14="http://schemas.microsoft.com/office/drawing/2010/main">
                <a:solidFill>
                  <a:srgbClr val="FFFFFF"/>
                </a:solidFill>
              </a14:hiddenFill>
            </a:ext>
          </a:extLst>
        </p:spPr>
      </p:pic>
      <p:sp>
        <p:nvSpPr>
          <p:cNvPr id="2" name="Pladsholder til indhold 13">
            <a:extLst>
              <a:ext uri="{FF2B5EF4-FFF2-40B4-BE49-F238E27FC236}">
                <a16:creationId xmlns:a16="http://schemas.microsoft.com/office/drawing/2014/main" id="{55710E2A-3444-3651-F8FA-1F7585600221}"/>
              </a:ext>
            </a:extLst>
          </p:cNvPr>
          <p:cNvSpPr txBox="1">
            <a:spLocks/>
          </p:cNvSpPr>
          <p:nvPr/>
        </p:nvSpPr>
        <p:spPr>
          <a:xfrm>
            <a:off x="5693387" y="1576219"/>
            <a:ext cx="5683272" cy="1200329"/>
          </a:xfrm>
          <a:prstGeom prst="rect">
            <a:avLst/>
          </a:prstGeom>
        </p:spPr>
        <p:txBody>
          <a:bodyPr vert="horz" wrap="square" lIns="0" tIns="0" rIns="0" bIns="0" rtlCol="0" anchor="t">
            <a:sp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9070" indent="-179070">
              <a:defRPr/>
            </a:pPr>
            <a:r>
              <a:rPr kumimoji="0" lang="en-GB" sz="1400" b="1" u="none" strike="noStrike" kern="1200" cap="none" spc="-30" normalizeH="0" baseline="0" noProof="0" dirty="0">
                <a:ln>
                  <a:noFill/>
                </a:ln>
                <a:solidFill>
                  <a:srgbClr val="00264E"/>
                </a:solidFill>
                <a:effectLst/>
                <a:uLnTx/>
                <a:uFillTx/>
              </a:rPr>
              <a:t>INCI: Shea Butter Ethyl Esters</a:t>
            </a:r>
            <a:r>
              <a:rPr lang="en-GB" sz="1400" b="1" dirty="0">
                <a:solidFill>
                  <a:srgbClr val="00264E"/>
                </a:solidFill>
              </a:rPr>
              <a:t> </a:t>
            </a:r>
            <a:endParaRPr lang="en-US" sz="1400" b="1" dirty="0"/>
          </a:p>
          <a:p>
            <a:pPr marL="179070" marR="0" lvl="0" indent="-179070" algn="l" defTabSz="914400" rtl="0" eaLnBrk="1" fontAlgn="auto" latinLnBrk="0" hangingPunct="1">
              <a:lnSpc>
                <a:spcPct val="90000"/>
              </a:lnSpc>
              <a:spcBef>
                <a:spcPts val="600"/>
              </a:spcBef>
              <a:spcAft>
                <a:spcPts val="0"/>
              </a:spcAft>
              <a:buClrTx/>
              <a:buSzTx/>
              <a:buFont typeface="Arial" pitchFamily="34" charset="0"/>
              <a:buChar char="•"/>
              <a:tabLst/>
              <a:defRPr/>
            </a:pPr>
            <a:r>
              <a:rPr kumimoji="0" lang="en-GB" sz="1400" b="0" i="0" u="none" strike="noStrike" kern="1200" cap="none" spc="-30" normalizeH="0" baseline="0" noProof="0" dirty="0">
                <a:ln>
                  <a:noFill/>
                </a:ln>
                <a:solidFill>
                  <a:srgbClr val="00264E"/>
                </a:solidFill>
                <a:effectLst/>
                <a:uLnTx/>
                <a:uFillTx/>
                <a:ea typeface="+mn-ea"/>
                <a:cs typeface="+mn-cs"/>
              </a:rPr>
              <a:t>Ester from natural Ethanol &amp; Shea Butter</a:t>
            </a:r>
          </a:p>
          <a:p>
            <a:pPr marL="179070" marR="0" lvl="0" indent="-179070" algn="l" defTabSz="914400" rtl="0" eaLnBrk="1" fontAlgn="auto" latinLnBrk="0" hangingPunct="1">
              <a:lnSpc>
                <a:spcPct val="90000"/>
              </a:lnSpc>
              <a:spcBef>
                <a:spcPts val="600"/>
              </a:spcBef>
              <a:spcAft>
                <a:spcPts val="0"/>
              </a:spcAft>
              <a:buClrTx/>
              <a:buSzTx/>
              <a:buFont typeface="Arial" pitchFamily="34" charset="0"/>
              <a:buChar char="•"/>
              <a:tabLst/>
              <a:defRPr/>
            </a:pPr>
            <a:r>
              <a:rPr lang="en-GB" sz="1400" dirty="0">
                <a:solidFill>
                  <a:srgbClr val="00264E"/>
                </a:solidFill>
              </a:rPr>
              <a:t>Light emollient</a:t>
            </a:r>
            <a:endParaRPr lang="en-GB" sz="1400" b="0" i="0" u="none" strike="noStrike" kern="1200" cap="none" spc="-30" normalizeH="0" baseline="0" noProof="0" dirty="0">
              <a:ln>
                <a:noFill/>
              </a:ln>
              <a:solidFill>
                <a:srgbClr val="00264E"/>
              </a:solidFill>
              <a:effectLst/>
              <a:uLnTx/>
              <a:uFillTx/>
            </a:endParaRPr>
          </a:p>
          <a:p>
            <a:pPr marL="179070" indent="-179070">
              <a:defRPr/>
            </a:pPr>
            <a:r>
              <a:rPr lang="en-US" sz="1400" dirty="0">
                <a:solidFill>
                  <a:srgbClr val="00264E"/>
                </a:solidFill>
              </a:rPr>
              <a:t>Multifunctional ingredient with benefits in multiple categories: Sun Care, Make-up, Hair Care, Skin Care. </a:t>
            </a:r>
          </a:p>
        </p:txBody>
      </p:sp>
      <p:grpSp>
        <p:nvGrpSpPr>
          <p:cNvPr id="3" name="Group 19">
            <a:extLst>
              <a:ext uri="{FF2B5EF4-FFF2-40B4-BE49-F238E27FC236}">
                <a16:creationId xmlns:a16="http://schemas.microsoft.com/office/drawing/2014/main" id="{D624F292-061E-BFDF-F5E9-F5A1892EC221}"/>
              </a:ext>
            </a:extLst>
          </p:cNvPr>
          <p:cNvGrpSpPr>
            <a:grpSpLocks/>
          </p:cNvGrpSpPr>
          <p:nvPr/>
        </p:nvGrpSpPr>
        <p:grpSpPr>
          <a:xfrm>
            <a:off x="4579656" y="1623964"/>
            <a:ext cx="695200" cy="1104837"/>
            <a:chOff x="4567787" y="2228949"/>
            <a:chExt cx="572985" cy="936249"/>
          </a:xfrm>
        </p:grpSpPr>
        <p:pic>
          <p:nvPicPr>
            <p:cNvPr id="4" name="Picture 20" descr="Icon&#10;&#10;Description automatically generated">
              <a:extLst>
                <a:ext uri="{FF2B5EF4-FFF2-40B4-BE49-F238E27FC236}">
                  <a16:creationId xmlns:a16="http://schemas.microsoft.com/office/drawing/2014/main" id="{E4A5420D-54B1-C557-1CF7-DE1946CFFBBC}"/>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4567795" y="2228949"/>
              <a:ext cx="572977" cy="566881"/>
            </a:xfrm>
            <a:prstGeom prst="rect">
              <a:avLst/>
            </a:prstGeom>
          </p:spPr>
        </p:pic>
        <p:sp>
          <p:nvSpPr>
            <p:cNvPr id="8" name="TextBox 123">
              <a:extLst>
                <a:ext uri="{FF2B5EF4-FFF2-40B4-BE49-F238E27FC236}">
                  <a16:creationId xmlns:a16="http://schemas.microsoft.com/office/drawing/2014/main" id="{FE06B464-858F-DCA6-929A-C014ED26D65E}"/>
                </a:ext>
              </a:extLst>
            </p:cNvPr>
            <p:cNvSpPr txBox="1">
              <a:spLocks/>
            </p:cNvSpPr>
            <p:nvPr/>
          </p:nvSpPr>
          <p:spPr>
            <a:xfrm>
              <a:off x="4567787" y="2832799"/>
              <a:ext cx="572977" cy="332399"/>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a:t>Functionality</a:t>
              </a:r>
            </a:p>
          </p:txBody>
        </p:sp>
      </p:grpSp>
    </p:spTree>
    <p:extLst>
      <p:ext uri="{BB962C8B-B14F-4D97-AF65-F5344CB8AC3E}">
        <p14:creationId xmlns:p14="http://schemas.microsoft.com/office/powerpoint/2010/main" val="39898265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1629CA-0B20-85C6-4282-A5F501D37FE9}"/>
            </a:ext>
          </a:extLst>
        </p:cNvPr>
        <p:cNvGrpSpPr/>
        <p:nvPr/>
      </p:nvGrpSpPr>
      <p:grpSpPr>
        <a:xfrm>
          <a:off x="0" y="0"/>
          <a:ext cx="0" cy="0"/>
          <a:chOff x="0" y="0"/>
          <a:chExt cx="0" cy="0"/>
        </a:xfrm>
      </p:grpSpPr>
      <p:sp>
        <p:nvSpPr>
          <p:cNvPr id="8" name="Rubrik 7">
            <a:extLst>
              <a:ext uri="{FF2B5EF4-FFF2-40B4-BE49-F238E27FC236}">
                <a16:creationId xmlns:a16="http://schemas.microsoft.com/office/drawing/2014/main" id="{E9363AE7-41CA-B86C-35DB-4CB6A180E6E2}"/>
              </a:ext>
            </a:extLst>
          </p:cNvPr>
          <p:cNvSpPr>
            <a:spLocks noGrp="1"/>
          </p:cNvSpPr>
          <p:nvPr>
            <p:ph type="title"/>
          </p:nvPr>
        </p:nvSpPr>
        <p:spPr>
          <a:xfrm>
            <a:off x="442913" y="221456"/>
            <a:ext cx="8624886" cy="775597"/>
          </a:xfrm>
        </p:spPr>
        <p:txBody>
          <a:bodyPr/>
          <a:lstStyle/>
          <a:p>
            <a:r>
              <a:rPr lang="en-US" dirty="0"/>
              <a:t>The benefits of LIPEX</a:t>
            </a:r>
            <a:r>
              <a:rPr lang="en-US" baseline="30000" dirty="0"/>
              <a:t>®</a:t>
            </a:r>
            <a:r>
              <a:rPr lang="en-US" dirty="0"/>
              <a:t> SheaSolve</a:t>
            </a:r>
            <a:r>
              <a:rPr lang="en-GB" baseline="30000" dirty="0"/>
              <a:t>™</a:t>
            </a:r>
            <a:endParaRPr lang="en-US" dirty="0"/>
          </a:p>
        </p:txBody>
      </p:sp>
      <p:pic>
        <p:nvPicPr>
          <p:cNvPr id="17" name="Picture Placeholder 16">
            <a:extLst>
              <a:ext uri="{FF2B5EF4-FFF2-40B4-BE49-F238E27FC236}">
                <a16:creationId xmlns:a16="http://schemas.microsoft.com/office/drawing/2014/main" id="{65642960-BF70-4C6C-FE2C-1A8BF77F35A9}"/>
              </a:ext>
            </a:extLst>
          </p:cNvPr>
          <p:cNvPicPr>
            <a:picLocks noGrp="1" noChangeAspect="1"/>
          </p:cNvPicPr>
          <p:nvPr>
            <p:ph type="pic" sz="quarter" idx="15"/>
          </p:nvPr>
        </p:nvPicPr>
        <p:blipFill>
          <a:blip r:embed="rId2"/>
          <a:srcRect l="20359" r="27426"/>
          <a:stretch/>
        </p:blipFill>
        <p:spPr>
          <a:xfrm>
            <a:off x="8611079" y="0"/>
            <a:ext cx="3580922" cy="6858000"/>
          </a:xfrm>
        </p:spPr>
      </p:pic>
      <p:sp>
        <p:nvSpPr>
          <p:cNvPr id="2" name="Platshållare för datum 1">
            <a:extLst>
              <a:ext uri="{FF2B5EF4-FFF2-40B4-BE49-F238E27FC236}">
                <a16:creationId xmlns:a16="http://schemas.microsoft.com/office/drawing/2014/main" id="{BF20C53B-7375-EAB1-E385-F9FBB9BAFB3C}"/>
              </a:ext>
            </a:extLst>
          </p:cNvPr>
          <p:cNvSpPr>
            <a:spLocks noGrp="1"/>
          </p:cNvSpPr>
          <p:nvPr>
            <p:ph type="dt" sz="half" idx="2"/>
          </p:nvPr>
        </p:nvSpPr>
        <p:spPr>
          <a:xfrm>
            <a:off x="10727025" y="6461968"/>
            <a:ext cx="626774"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2DCDAF2-D32B-4959-9A14-0F980FBA07DD}" type="datetime1">
              <a:rPr lang="en-GB" sz="1000" smtClean="0">
                <a:solidFill>
                  <a:schemeClr val="bg1"/>
                </a:solidFill>
              </a:rPr>
              <a:pPr marL="0" marR="0" lvl="0" indent="0" algn="r" defTabSz="914400" rtl="0" eaLnBrk="1" fontAlgn="auto" latinLnBrk="0" hangingPunct="1">
                <a:lnSpc>
                  <a:spcPct val="100000"/>
                </a:lnSpc>
                <a:spcBef>
                  <a:spcPts val="0"/>
                </a:spcBef>
                <a:spcAft>
                  <a:spcPts val="0"/>
                </a:spcAft>
                <a:buClrTx/>
                <a:buSzTx/>
                <a:buFontTx/>
                <a:buNone/>
                <a:tabLst/>
                <a:defRPr/>
              </a:pPr>
              <a:t>18/06/2025</a:t>
            </a:fld>
            <a:endParaRPr kumimoji="0" lang="en-US" sz="1000" b="0" i="0" u="none" strike="noStrike" kern="1200" cap="none" spc="-30" normalizeH="0" baseline="0" noProof="0" dirty="0">
              <a:ln>
                <a:noFill/>
              </a:ln>
              <a:solidFill>
                <a:schemeClr val="bg1"/>
              </a:solidFill>
              <a:effectLst/>
              <a:uLnTx/>
              <a:uFillTx/>
              <a:latin typeface="Work Sans Light"/>
              <a:ea typeface="+mn-ea"/>
              <a:cs typeface="+mn-cs"/>
            </a:endParaRPr>
          </a:p>
        </p:txBody>
      </p:sp>
      <p:sp>
        <p:nvSpPr>
          <p:cNvPr id="4" name="Platshållare för bildnummer 3">
            <a:extLst>
              <a:ext uri="{FF2B5EF4-FFF2-40B4-BE49-F238E27FC236}">
                <a16:creationId xmlns:a16="http://schemas.microsoft.com/office/drawing/2014/main" id="{288CEF9A-5846-450C-E2CD-949DE373BA8D}"/>
              </a:ext>
            </a:extLst>
          </p:cNvPr>
          <p:cNvSpPr>
            <a:spLocks noGrp="1"/>
          </p:cNvSpPr>
          <p:nvPr>
            <p:ph type="sldNum" sz="quarter" idx="4"/>
          </p:nvPr>
        </p:nvSpPr>
        <p:spPr>
          <a:xfrm>
            <a:off x="11353800" y="6461968"/>
            <a:ext cx="395286" cy="153888"/>
          </a:xfrm>
          <a:prstGeom prst="rect">
            <a:avLst/>
          </a:prstGeom>
        </p:spPr>
        <p:txBody>
          <a:bodyPr vert="horz" wrap="squar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803DD7B-12C8-43B8-9F45-989336E79744}" type="slidenum">
              <a:rPr lang="en-US" sz="1000" smtClean="0">
                <a:solidFill>
                  <a:schemeClr val="bg1"/>
                </a:solidFill>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30" normalizeH="0" baseline="0" noProof="0">
              <a:ln>
                <a:noFill/>
              </a:ln>
              <a:solidFill>
                <a:schemeClr val="bg1"/>
              </a:solidFill>
              <a:effectLst/>
              <a:uLnTx/>
              <a:uFillTx/>
              <a:latin typeface="Work Sans Light"/>
              <a:ea typeface="+mn-ea"/>
              <a:cs typeface="+mn-cs"/>
            </a:endParaRPr>
          </a:p>
        </p:txBody>
      </p:sp>
      <p:sp>
        <p:nvSpPr>
          <p:cNvPr id="3" name="Platshållare för sidfot 2">
            <a:extLst>
              <a:ext uri="{FF2B5EF4-FFF2-40B4-BE49-F238E27FC236}">
                <a16:creationId xmlns:a16="http://schemas.microsoft.com/office/drawing/2014/main" id="{76332F40-FB37-1B2F-CEF1-C24156CA066F}"/>
              </a:ext>
            </a:extLst>
          </p:cNvPr>
          <p:cNvSpPr>
            <a:spLocks noGrp="1"/>
          </p:cNvSpPr>
          <p:nvPr>
            <p:ph type="ftr" sz="quarter" idx="16"/>
          </p:nvPr>
        </p:nvSpPr>
        <p:spPr>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The Co-Development Company</a:t>
            </a:r>
            <a:endParaRPr kumimoji="0" lang="en-US" sz="1000" b="0" i="0" u="none" strike="noStrike" kern="1200" cap="none" spc="-30" normalizeH="0" baseline="0" noProof="0">
              <a:ln>
                <a:noFill/>
              </a:ln>
              <a:solidFill>
                <a:srgbClr val="2067CA"/>
              </a:solidFill>
              <a:effectLst/>
              <a:uLnTx/>
              <a:uFillTx/>
              <a:latin typeface="Work Sans Light"/>
              <a:ea typeface="+mn-ea"/>
              <a:cs typeface="+mn-cs"/>
            </a:endParaRPr>
          </a:p>
        </p:txBody>
      </p:sp>
      <p:pic>
        <p:nvPicPr>
          <p:cNvPr id="26" name="Picture 10" descr="A close-up of a white substance&#10;&#10;Description automatically generated with low confidence">
            <a:extLst>
              <a:ext uri="{FF2B5EF4-FFF2-40B4-BE49-F238E27FC236}">
                <a16:creationId xmlns:a16="http://schemas.microsoft.com/office/drawing/2014/main" id="{3F2D5A60-B547-A7C4-4BF0-D172EC164E0B}"/>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033333" y="2311501"/>
            <a:ext cx="2520000" cy="2520000"/>
          </a:xfrm>
          <a:prstGeom prst="ellipse">
            <a:avLst/>
          </a:prstGeom>
        </p:spPr>
      </p:pic>
      <p:sp>
        <p:nvSpPr>
          <p:cNvPr id="27" name="TextBox 34">
            <a:extLst>
              <a:ext uri="{FF2B5EF4-FFF2-40B4-BE49-F238E27FC236}">
                <a16:creationId xmlns:a16="http://schemas.microsoft.com/office/drawing/2014/main" id="{3D018010-450C-D026-66DC-0592BD1E34A8}"/>
              </a:ext>
            </a:extLst>
          </p:cNvPr>
          <p:cNvSpPr txBox="1">
            <a:spLocks noChangeAspect="1"/>
          </p:cNvSpPr>
          <p:nvPr/>
        </p:nvSpPr>
        <p:spPr>
          <a:xfrm>
            <a:off x="3189197" y="3085994"/>
            <a:ext cx="224434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067CA"/>
                </a:solidFill>
                <a:effectLst/>
                <a:uLnTx/>
                <a:uFillTx/>
                <a:latin typeface="Work Sans Regular Roman" pitchFamily="2" charset="77"/>
                <a:ea typeface="+mn-ea"/>
                <a:cs typeface="+mn-cs"/>
              </a:rPr>
              <a:t>LIPEX</a:t>
            </a:r>
            <a:r>
              <a:rPr kumimoji="0" lang="en-US" sz="2400" b="0" i="0" u="none" strike="noStrike" kern="1200" cap="none" spc="0" normalizeH="0" baseline="30000" noProof="0" dirty="0">
                <a:ln>
                  <a:noFill/>
                </a:ln>
                <a:solidFill>
                  <a:srgbClr val="2067CA"/>
                </a:solidFill>
                <a:effectLst/>
                <a:uLnTx/>
                <a:uFillTx/>
                <a:latin typeface="Work Sans Regular Roman" pitchFamily="2" charset="77"/>
                <a:ea typeface="+mn-ea"/>
                <a:cs typeface="+mn-cs"/>
              </a:rPr>
              <a:t>®</a:t>
            </a:r>
            <a:r>
              <a:rPr kumimoji="0" lang="en-US" sz="2400" b="0" i="0" u="none" strike="noStrike" kern="1200" cap="none" spc="0" normalizeH="0" baseline="0" noProof="0" dirty="0">
                <a:ln>
                  <a:noFill/>
                </a:ln>
                <a:solidFill>
                  <a:srgbClr val="2067CA"/>
                </a:solidFill>
                <a:effectLst/>
                <a:uLnTx/>
                <a:uFillTx/>
                <a:latin typeface="Work Sans Regular Roman" pitchFamily="2" charset="77"/>
                <a:ea typeface="+mn-ea"/>
                <a:cs typeface="+mn-cs"/>
              </a:rPr>
              <a:t> Shea</a:t>
            </a:r>
            <a:r>
              <a:rPr lang="en-US" sz="2400" dirty="0">
                <a:solidFill>
                  <a:srgbClr val="2067CA"/>
                </a:solidFill>
                <a:latin typeface="Work Sans Regular Roman" pitchFamily="2" charset="77"/>
              </a:rPr>
              <a:t>S</a:t>
            </a:r>
            <a:r>
              <a:rPr kumimoji="0" lang="en-US" sz="2400" b="0" i="0" u="none" strike="noStrike" kern="1200" cap="none" spc="0" normalizeH="0" baseline="0" noProof="0" dirty="0" err="1">
                <a:ln>
                  <a:noFill/>
                </a:ln>
                <a:solidFill>
                  <a:srgbClr val="2067CA"/>
                </a:solidFill>
                <a:effectLst/>
                <a:uLnTx/>
                <a:uFillTx/>
                <a:latin typeface="Work Sans Regular Roman" pitchFamily="2" charset="77"/>
                <a:ea typeface="+mn-ea"/>
                <a:cs typeface="+mn-cs"/>
              </a:rPr>
              <a:t>olve</a:t>
            </a:r>
            <a:endParaRPr kumimoji="0" lang="en-US" sz="2400" b="0" i="0" u="none" strike="noStrike" kern="1200" cap="none" spc="0" normalizeH="0" baseline="30000" noProof="0" dirty="0">
              <a:ln>
                <a:noFill/>
              </a:ln>
              <a:solidFill>
                <a:srgbClr val="2067CA"/>
              </a:solidFill>
              <a:effectLst/>
              <a:uLnTx/>
              <a:uFillTx/>
              <a:latin typeface="Work Sans Regular Roman" pitchFamily="2" charset="77"/>
              <a:ea typeface="Helvetica Neue" panose="02000503000000020004" pitchFamily="2" charset="0"/>
              <a:cs typeface="Helvetica Neue" panose="02000503000000020004" pitchFamily="2" charset="0"/>
            </a:endParaRPr>
          </a:p>
        </p:txBody>
      </p:sp>
      <p:grpSp>
        <p:nvGrpSpPr>
          <p:cNvPr id="32" name="Group 31">
            <a:extLst>
              <a:ext uri="{FF2B5EF4-FFF2-40B4-BE49-F238E27FC236}">
                <a16:creationId xmlns:a16="http://schemas.microsoft.com/office/drawing/2014/main" id="{4D26894C-F8B9-91D2-9957-4D72178778B2}"/>
              </a:ext>
            </a:extLst>
          </p:cNvPr>
          <p:cNvGrpSpPr/>
          <p:nvPr/>
        </p:nvGrpSpPr>
        <p:grpSpPr>
          <a:xfrm>
            <a:off x="4634986" y="1462757"/>
            <a:ext cx="1449975" cy="1440000"/>
            <a:chOff x="5128171" y="2179392"/>
            <a:chExt cx="1449975" cy="1440000"/>
          </a:xfrm>
        </p:grpSpPr>
        <p:sp>
          <p:nvSpPr>
            <p:cNvPr id="33" name="Oval 29">
              <a:extLst>
                <a:ext uri="{FF2B5EF4-FFF2-40B4-BE49-F238E27FC236}">
                  <a16:creationId xmlns:a16="http://schemas.microsoft.com/office/drawing/2014/main" id="{EBACD5AE-F5DC-0FCA-4E88-D41D0A93B899}"/>
                </a:ext>
              </a:extLst>
            </p:cNvPr>
            <p:cNvSpPr>
              <a:spLocks noChangeAspect="1"/>
            </p:cNvSpPr>
            <p:nvPr/>
          </p:nvSpPr>
          <p:spPr>
            <a:xfrm>
              <a:off x="5128171" y="2179392"/>
              <a:ext cx="1440000" cy="1440000"/>
            </a:xfrm>
            <a:prstGeom prst="ellipse">
              <a:avLst/>
            </a:prstGeom>
            <a:solidFill>
              <a:schemeClr val="accent5"/>
            </a:solidFill>
            <a:ln w="31750">
              <a:noFill/>
            </a:ln>
          </p:spPr>
          <p:style>
            <a:lnRef idx="2">
              <a:schemeClr val="accent3">
                <a:shade val="50000"/>
              </a:schemeClr>
            </a:lnRef>
            <a:fillRef idx="1">
              <a:schemeClr val="accent3"/>
            </a:fillRef>
            <a:effectRef idx="0">
              <a:schemeClr val="accent3"/>
            </a:effectRef>
            <a:fontRef idx="minor">
              <a:schemeClr val="lt1"/>
            </a:fontRef>
          </p:style>
          <p:txBody>
            <a:bodyPr lIns="0" tIns="0" rIns="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Work Sans Medium Roman" pitchFamily="2" charset="0"/>
                <a:ea typeface="+mn-ea"/>
                <a:cs typeface="+mn-cs"/>
              </a:endParaRPr>
            </a:p>
          </p:txBody>
        </p:sp>
        <p:sp>
          <p:nvSpPr>
            <p:cNvPr id="42" name="TextBox 41">
              <a:extLst>
                <a:ext uri="{FF2B5EF4-FFF2-40B4-BE49-F238E27FC236}">
                  <a16:creationId xmlns:a16="http://schemas.microsoft.com/office/drawing/2014/main" id="{DF6FCD1A-5440-7DF5-EFFA-B86BB4141FBA}"/>
                </a:ext>
              </a:extLst>
            </p:cNvPr>
            <p:cNvSpPr txBox="1"/>
            <p:nvPr/>
          </p:nvSpPr>
          <p:spPr>
            <a:xfrm>
              <a:off x="5138146" y="2747845"/>
              <a:ext cx="1440000" cy="230832"/>
            </a:xfrm>
            <a:prstGeom prst="rect">
              <a:avLst/>
            </a:prstGeom>
            <a:noFill/>
            <a:ln>
              <a:noFill/>
            </a:ln>
          </p:spPr>
          <p:txBody>
            <a:bodyPr wrap="square" lIns="0" tIns="0" rIns="0" bIns="0" rtlCol="0">
              <a:spAutoFit/>
            </a:bodyPr>
            <a:lstStyle/>
            <a:p>
              <a:pPr algn="ctr">
                <a:buClr>
                  <a:schemeClr val="tx2"/>
                </a:buClr>
              </a:pPr>
              <a:r>
                <a:rPr lang="fr-FR" sz="1500" b="1" spc="-30" dirty="0">
                  <a:solidFill>
                    <a:schemeClr val="bg1"/>
                  </a:solidFill>
                </a:rPr>
                <a:t>SUNCARE</a:t>
              </a:r>
            </a:p>
          </p:txBody>
        </p:sp>
      </p:grpSp>
      <p:grpSp>
        <p:nvGrpSpPr>
          <p:cNvPr id="49" name="Group 48">
            <a:extLst>
              <a:ext uri="{FF2B5EF4-FFF2-40B4-BE49-F238E27FC236}">
                <a16:creationId xmlns:a16="http://schemas.microsoft.com/office/drawing/2014/main" id="{A3EB8B08-F84A-2C7E-D1F3-19B62545A0C5}"/>
              </a:ext>
            </a:extLst>
          </p:cNvPr>
          <p:cNvGrpSpPr/>
          <p:nvPr/>
        </p:nvGrpSpPr>
        <p:grpSpPr>
          <a:xfrm>
            <a:off x="4649104" y="4100570"/>
            <a:ext cx="1440788" cy="1440000"/>
            <a:chOff x="5288818" y="4956585"/>
            <a:chExt cx="1440788" cy="1440000"/>
          </a:xfrm>
        </p:grpSpPr>
        <p:sp>
          <p:nvSpPr>
            <p:cNvPr id="50" name="Oval 32">
              <a:extLst>
                <a:ext uri="{FF2B5EF4-FFF2-40B4-BE49-F238E27FC236}">
                  <a16:creationId xmlns:a16="http://schemas.microsoft.com/office/drawing/2014/main" id="{11C6BD9C-2150-2CE4-6F71-0D54C57F2920}"/>
                </a:ext>
              </a:extLst>
            </p:cNvPr>
            <p:cNvSpPr>
              <a:spLocks/>
            </p:cNvSpPr>
            <p:nvPr/>
          </p:nvSpPr>
          <p:spPr>
            <a:xfrm>
              <a:off x="5289606" y="4956585"/>
              <a:ext cx="1440000" cy="1440000"/>
            </a:xfrm>
            <a:prstGeom prst="ellipse">
              <a:avLst/>
            </a:prstGeom>
            <a:solidFill>
              <a:schemeClr val="accent5"/>
            </a:solidFill>
            <a:ln w="31750">
              <a:noFill/>
            </a:ln>
          </p:spPr>
          <p:style>
            <a:lnRef idx="2">
              <a:schemeClr val="accent3">
                <a:shade val="50000"/>
              </a:schemeClr>
            </a:lnRef>
            <a:fillRef idx="1">
              <a:schemeClr val="accent3"/>
            </a:fillRef>
            <a:effectRef idx="0">
              <a:schemeClr val="accent3"/>
            </a:effectRef>
            <a:fontRef idx="minor">
              <a:schemeClr val="lt1"/>
            </a:fontRef>
          </p:style>
          <p:txBody>
            <a:bodyPr lIns="0" tIns="0" rIns="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Work Sans Medium Roman" pitchFamily="2" charset="0"/>
                <a:ea typeface="+mn-ea"/>
                <a:cs typeface="+mn-cs"/>
              </a:endParaRPr>
            </a:p>
          </p:txBody>
        </p:sp>
        <p:sp>
          <p:nvSpPr>
            <p:cNvPr id="51" name="TextBox 50">
              <a:extLst>
                <a:ext uri="{FF2B5EF4-FFF2-40B4-BE49-F238E27FC236}">
                  <a16:creationId xmlns:a16="http://schemas.microsoft.com/office/drawing/2014/main" id="{E569780F-E377-D1B2-B16E-F3D9145BFF38}"/>
                </a:ext>
              </a:extLst>
            </p:cNvPr>
            <p:cNvSpPr txBox="1"/>
            <p:nvPr/>
          </p:nvSpPr>
          <p:spPr>
            <a:xfrm>
              <a:off x="5288818" y="5542137"/>
              <a:ext cx="1440000" cy="230832"/>
            </a:xfrm>
            <a:prstGeom prst="rect">
              <a:avLst/>
            </a:prstGeom>
            <a:noFill/>
            <a:ln>
              <a:noFill/>
            </a:ln>
          </p:spPr>
          <p:txBody>
            <a:bodyPr wrap="square" lIns="0" tIns="0" rIns="0" bIns="0" rtlCol="0">
              <a:spAutoFit/>
            </a:bodyPr>
            <a:lstStyle/>
            <a:p>
              <a:pPr algn="ctr">
                <a:buClr>
                  <a:schemeClr val="tx2"/>
                </a:buClr>
              </a:pPr>
              <a:r>
                <a:rPr lang="fr-FR" sz="1500" b="1" spc="-30" dirty="0">
                  <a:solidFill>
                    <a:schemeClr val="bg1"/>
                  </a:solidFill>
                </a:rPr>
                <a:t>HAIRCARE</a:t>
              </a:r>
            </a:p>
          </p:txBody>
        </p:sp>
      </p:grpSp>
      <p:sp>
        <p:nvSpPr>
          <p:cNvPr id="52" name="TextBox 21">
            <a:extLst>
              <a:ext uri="{FF2B5EF4-FFF2-40B4-BE49-F238E27FC236}">
                <a16:creationId xmlns:a16="http://schemas.microsoft.com/office/drawing/2014/main" id="{48B86A51-BA44-4B29-698A-CC72D399BA46}"/>
              </a:ext>
            </a:extLst>
          </p:cNvPr>
          <p:cNvSpPr txBox="1"/>
          <p:nvPr/>
        </p:nvSpPr>
        <p:spPr>
          <a:xfrm>
            <a:off x="6513060" y="1278556"/>
            <a:ext cx="2545216" cy="1754326"/>
          </a:xfrm>
          <a:prstGeom prst="rect">
            <a:avLst/>
          </a:prstGeom>
          <a:noFill/>
          <a:ln>
            <a:noFill/>
          </a:ln>
        </p:spPr>
        <p:txBody>
          <a:bodyPr wrap="square" lIns="0" tIns="0" rIns="0" bIns="0" rtlCol="0" anchor="t">
            <a:spAutoFit/>
          </a:bodyPr>
          <a:lstStyle>
            <a:defPPr>
              <a:defRPr lang="en-US"/>
            </a:defPPr>
            <a:lvl1pPr>
              <a:defRPr sz="1400"/>
            </a:lvl1pPr>
          </a:lstStyle>
          <a:p>
            <a:pPr marL="179705" marR="0" lvl="0" indent="-17970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64E"/>
                </a:solidFill>
                <a:effectLst/>
                <a:uLnTx/>
                <a:uFillTx/>
                <a:latin typeface="Work Sans Light"/>
                <a:ea typeface="+mn-ea"/>
                <a:cs typeface="+mn-cs"/>
              </a:rPr>
              <a:t>Inorganic UV filters:</a:t>
            </a:r>
          </a:p>
          <a:p>
            <a:pPr marL="354013" marR="0" lvl="0" indent="-171450" algn="l" defTabSz="914400" rtl="0" eaLnBrk="1" fontAlgn="auto" latinLnBrk="0" hangingPunct="1">
              <a:lnSpc>
                <a:spcPct val="100000"/>
              </a:lnSpc>
              <a:spcBef>
                <a:spcPts val="0"/>
              </a:spcBef>
              <a:spcAft>
                <a:spcPts val="600"/>
              </a:spcAft>
              <a:buClrTx/>
              <a:buSzTx/>
              <a:buFontTx/>
              <a:buChar char="-"/>
              <a:tabLst/>
              <a:defRPr/>
            </a:pPr>
            <a:r>
              <a:rPr lang="en-US" sz="1200" dirty="0">
                <a:solidFill>
                  <a:srgbClr val="00264E"/>
                </a:solidFill>
                <a:latin typeface="Work Sans Light"/>
              </a:rPr>
              <a:t>Light &amp; flowable dispersion</a:t>
            </a:r>
          </a:p>
          <a:p>
            <a:pPr marL="354013" marR="0" lvl="0" indent="-171450" algn="l" defTabSz="914400" rtl="0" eaLnBrk="1" fontAlgn="auto" latinLnBrk="0" hangingPunct="1">
              <a:lnSpc>
                <a:spcPct val="100000"/>
              </a:lnSpc>
              <a:spcBef>
                <a:spcPts val="0"/>
              </a:spcBef>
              <a:spcAft>
                <a:spcPts val="600"/>
              </a:spcAft>
              <a:buClrTx/>
              <a:buSzTx/>
              <a:buFontTx/>
              <a:buChar char="-"/>
              <a:tabLst/>
              <a:defRPr/>
            </a:pPr>
            <a:r>
              <a:rPr kumimoji="0" lang="en-US" sz="1200" b="0" i="0" u="none" strike="noStrike" kern="1200" cap="none" spc="0" normalizeH="0" baseline="0" noProof="0" dirty="0">
                <a:ln>
                  <a:noFill/>
                </a:ln>
                <a:solidFill>
                  <a:srgbClr val="00264E"/>
                </a:solidFill>
                <a:effectLst/>
                <a:uLnTx/>
                <a:uFillTx/>
                <a:latin typeface="Work Sans Light"/>
                <a:ea typeface="+mn-ea"/>
                <a:cs typeface="+mn-cs"/>
              </a:rPr>
              <a:t>Lighter textures</a:t>
            </a:r>
          </a:p>
          <a:p>
            <a:pPr marL="354013" marR="0" lvl="0" indent="-171450" algn="l" defTabSz="914400" rtl="0" eaLnBrk="1" fontAlgn="auto" latinLnBrk="0" hangingPunct="1">
              <a:lnSpc>
                <a:spcPct val="100000"/>
              </a:lnSpc>
              <a:spcBef>
                <a:spcPts val="0"/>
              </a:spcBef>
              <a:spcAft>
                <a:spcPts val="600"/>
              </a:spcAft>
              <a:buClrTx/>
              <a:buSzTx/>
              <a:buFontTx/>
              <a:buChar char="-"/>
              <a:tabLst/>
              <a:defRPr/>
            </a:pPr>
            <a:r>
              <a:rPr lang="en-US" sz="1200" dirty="0">
                <a:solidFill>
                  <a:srgbClr val="00264E"/>
                </a:solidFill>
                <a:latin typeface="Work Sans Light"/>
              </a:rPr>
              <a:t>Reduce ghosting effect</a:t>
            </a:r>
          </a:p>
          <a:p>
            <a:pPr marL="354013" marR="0" lvl="0" indent="-171450" algn="l" defTabSz="914400" rtl="0" eaLnBrk="1" fontAlgn="auto" latinLnBrk="0" hangingPunct="1">
              <a:lnSpc>
                <a:spcPct val="100000"/>
              </a:lnSpc>
              <a:spcBef>
                <a:spcPts val="0"/>
              </a:spcBef>
              <a:spcAft>
                <a:spcPts val="600"/>
              </a:spcAft>
              <a:buClrTx/>
              <a:buSzTx/>
              <a:buFontTx/>
              <a:buChar char="-"/>
              <a:tabLst/>
              <a:defRPr/>
            </a:pPr>
            <a:r>
              <a:rPr kumimoji="0" lang="en-US" sz="1200" b="0" i="0" u="none" strike="noStrike" kern="1200" cap="none" spc="0" normalizeH="0" baseline="0" noProof="0" dirty="0">
                <a:ln>
                  <a:noFill/>
                </a:ln>
                <a:solidFill>
                  <a:srgbClr val="00264E"/>
                </a:solidFill>
                <a:effectLst/>
                <a:uLnTx/>
                <a:uFillTx/>
                <a:latin typeface="Work Sans Light"/>
                <a:ea typeface="+mn-ea"/>
                <a:cs typeface="+mn-cs"/>
              </a:rPr>
              <a:t>SPF Booster</a:t>
            </a:r>
          </a:p>
          <a:p>
            <a:pPr marL="179705" marR="0" lvl="0" indent="-17970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64E"/>
                </a:solidFill>
                <a:effectLst/>
                <a:uLnTx/>
                <a:uFillTx/>
                <a:latin typeface="Work Sans Light"/>
                <a:ea typeface="+mn-ea"/>
                <a:cs typeface="+mn-cs"/>
              </a:rPr>
              <a:t>Organic UV filters:</a:t>
            </a:r>
          </a:p>
          <a:p>
            <a:pPr marL="182563" marR="0" lvl="0" algn="l" defTabSz="914400" rtl="0" eaLnBrk="1" fontAlgn="auto" latinLnBrk="0" hangingPunct="1">
              <a:lnSpc>
                <a:spcPct val="100000"/>
              </a:lnSpc>
              <a:spcBef>
                <a:spcPts val="0"/>
              </a:spcBef>
              <a:spcAft>
                <a:spcPts val="600"/>
              </a:spcAft>
              <a:buClrTx/>
              <a:buSzTx/>
              <a:tabLst/>
              <a:defRPr/>
            </a:pPr>
            <a:r>
              <a:rPr lang="en-US" sz="1200" dirty="0">
                <a:solidFill>
                  <a:srgbClr val="00264E"/>
                </a:solidFill>
                <a:latin typeface="Work Sans Light"/>
              </a:rPr>
              <a:t>- Good UV filter dispersion</a:t>
            </a:r>
            <a:endParaRPr kumimoji="0" lang="en-US" sz="1200" b="0" i="0" u="none" strike="noStrike" kern="1200" cap="none" spc="0" normalizeH="0" baseline="0" noProof="0" dirty="0">
              <a:ln>
                <a:noFill/>
              </a:ln>
              <a:solidFill>
                <a:srgbClr val="00264E"/>
              </a:solidFill>
              <a:effectLst/>
              <a:uLnTx/>
              <a:uFillTx/>
              <a:latin typeface="Work Sans Light"/>
              <a:ea typeface="+mn-ea"/>
              <a:cs typeface="+mn-cs"/>
            </a:endParaRPr>
          </a:p>
        </p:txBody>
      </p:sp>
      <p:cxnSp>
        <p:nvCxnSpPr>
          <p:cNvPr id="59" name="Straight Connector 30">
            <a:extLst>
              <a:ext uri="{FF2B5EF4-FFF2-40B4-BE49-F238E27FC236}">
                <a16:creationId xmlns:a16="http://schemas.microsoft.com/office/drawing/2014/main" id="{D6CA8197-4F67-0E6D-ABF1-7F3C7CD91D60}"/>
              </a:ext>
            </a:extLst>
          </p:cNvPr>
          <p:cNvCxnSpPr>
            <a:cxnSpLocks/>
          </p:cNvCxnSpPr>
          <p:nvPr/>
        </p:nvCxnSpPr>
        <p:spPr>
          <a:xfrm flipH="1" flipV="1">
            <a:off x="2167057" y="4791462"/>
            <a:ext cx="360000" cy="0"/>
          </a:xfrm>
          <a:prstGeom prst="line">
            <a:avLst/>
          </a:prstGeom>
          <a:ln>
            <a:solidFill>
              <a:srgbClr val="FF8300"/>
            </a:solidFill>
            <a:miter lim="800000"/>
          </a:ln>
        </p:spPr>
        <p:style>
          <a:lnRef idx="1">
            <a:schemeClr val="accent1"/>
          </a:lnRef>
          <a:fillRef idx="0">
            <a:schemeClr val="accent1"/>
          </a:fillRef>
          <a:effectRef idx="0">
            <a:schemeClr val="accent1"/>
          </a:effectRef>
          <a:fontRef idx="minor">
            <a:schemeClr val="tx1"/>
          </a:fontRef>
        </p:style>
      </p:cxnSp>
      <p:sp>
        <p:nvSpPr>
          <p:cNvPr id="60" name="TextBox 20">
            <a:extLst>
              <a:ext uri="{FF2B5EF4-FFF2-40B4-BE49-F238E27FC236}">
                <a16:creationId xmlns:a16="http://schemas.microsoft.com/office/drawing/2014/main" id="{C8D8F592-0763-053B-2883-A22D958E6A2A}"/>
              </a:ext>
            </a:extLst>
          </p:cNvPr>
          <p:cNvSpPr txBox="1"/>
          <p:nvPr/>
        </p:nvSpPr>
        <p:spPr>
          <a:xfrm>
            <a:off x="6525361" y="4451104"/>
            <a:ext cx="1799033" cy="738664"/>
          </a:xfrm>
          <a:prstGeom prst="rect">
            <a:avLst/>
          </a:prstGeom>
          <a:noFill/>
          <a:ln>
            <a:noFill/>
          </a:ln>
        </p:spPr>
        <p:txBody>
          <a:bodyPr wrap="square" lIns="0" tIns="0" rIns="0" bIns="0" rtlCol="0">
            <a:spAutoFit/>
          </a:bodyPr>
          <a:lstStyle/>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64E"/>
                </a:solidFill>
                <a:effectLst/>
                <a:uLnTx/>
                <a:uFillTx/>
                <a:latin typeface="Work Sans Light"/>
                <a:ea typeface="+mn-ea"/>
                <a:cs typeface="+mn-cs"/>
              </a:rPr>
              <a:t>Improve combing on wet and dry hair, compared to dimethicone</a:t>
            </a:r>
          </a:p>
        </p:txBody>
      </p:sp>
      <p:cxnSp>
        <p:nvCxnSpPr>
          <p:cNvPr id="61" name="Straight Connector 29">
            <a:extLst>
              <a:ext uri="{FF2B5EF4-FFF2-40B4-BE49-F238E27FC236}">
                <a16:creationId xmlns:a16="http://schemas.microsoft.com/office/drawing/2014/main" id="{1AEA376E-74ED-990A-347B-3F49282A0F73}"/>
              </a:ext>
            </a:extLst>
          </p:cNvPr>
          <p:cNvCxnSpPr>
            <a:cxnSpLocks/>
          </p:cNvCxnSpPr>
          <p:nvPr/>
        </p:nvCxnSpPr>
        <p:spPr>
          <a:xfrm>
            <a:off x="6359680" y="4195897"/>
            <a:ext cx="0" cy="1224000"/>
          </a:xfrm>
          <a:prstGeom prst="line">
            <a:avLst/>
          </a:prstGeom>
          <a:ln>
            <a:solidFill>
              <a:srgbClr val="FF8300"/>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30">
            <a:extLst>
              <a:ext uri="{FF2B5EF4-FFF2-40B4-BE49-F238E27FC236}">
                <a16:creationId xmlns:a16="http://schemas.microsoft.com/office/drawing/2014/main" id="{01A5344E-2B28-F025-53CE-58FFFBD3F11A}"/>
              </a:ext>
            </a:extLst>
          </p:cNvPr>
          <p:cNvCxnSpPr>
            <a:cxnSpLocks/>
          </p:cNvCxnSpPr>
          <p:nvPr/>
        </p:nvCxnSpPr>
        <p:spPr>
          <a:xfrm>
            <a:off x="5985760" y="4807897"/>
            <a:ext cx="380209" cy="0"/>
          </a:xfrm>
          <a:prstGeom prst="line">
            <a:avLst/>
          </a:prstGeom>
          <a:ln>
            <a:solidFill>
              <a:srgbClr val="FF8300"/>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29">
            <a:extLst>
              <a:ext uri="{FF2B5EF4-FFF2-40B4-BE49-F238E27FC236}">
                <a16:creationId xmlns:a16="http://schemas.microsoft.com/office/drawing/2014/main" id="{87680147-694D-9CF4-8AAB-62B1651E0294}"/>
              </a:ext>
            </a:extLst>
          </p:cNvPr>
          <p:cNvCxnSpPr>
            <a:cxnSpLocks/>
          </p:cNvCxnSpPr>
          <p:nvPr/>
        </p:nvCxnSpPr>
        <p:spPr>
          <a:xfrm flipH="1" flipV="1">
            <a:off x="2173550" y="4240737"/>
            <a:ext cx="0" cy="1152000"/>
          </a:xfrm>
          <a:prstGeom prst="line">
            <a:avLst/>
          </a:prstGeom>
          <a:ln>
            <a:solidFill>
              <a:srgbClr val="FF8300"/>
            </a:solidFill>
            <a:miter lim="800000"/>
          </a:ln>
        </p:spPr>
        <p:style>
          <a:lnRef idx="1">
            <a:schemeClr val="accent1"/>
          </a:lnRef>
          <a:fillRef idx="0">
            <a:schemeClr val="accent1"/>
          </a:fillRef>
          <a:effectRef idx="0">
            <a:schemeClr val="accent1"/>
          </a:effectRef>
          <a:fontRef idx="minor">
            <a:schemeClr val="tx1"/>
          </a:fontRef>
        </p:style>
      </p:cxnSp>
      <p:sp>
        <p:nvSpPr>
          <p:cNvPr id="12" name="TextBox 20">
            <a:extLst>
              <a:ext uri="{FF2B5EF4-FFF2-40B4-BE49-F238E27FC236}">
                <a16:creationId xmlns:a16="http://schemas.microsoft.com/office/drawing/2014/main" id="{E538D5D6-855D-8E8A-F8F3-CEA49A53B289}"/>
              </a:ext>
            </a:extLst>
          </p:cNvPr>
          <p:cNvSpPr txBox="1"/>
          <p:nvPr/>
        </p:nvSpPr>
        <p:spPr>
          <a:xfrm>
            <a:off x="186314" y="1293358"/>
            <a:ext cx="1915746" cy="1785104"/>
          </a:xfrm>
          <a:prstGeom prst="rect">
            <a:avLst/>
          </a:prstGeom>
          <a:noFill/>
          <a:ln>
            <a:noFill/>
          </a:ln>
        </p:spPr>
        <p:txBody>
          <a:bodyPr wrap="square" lIns="0" tIns="0" rIns="0" bIns="0" rtlCol="0">
            <a:spAutoFit/>
          </a:bodyPr>
          <a:lstStyle/>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64E"/>
                </a:solidFill>
                <a:effectLst/>
                <a:uLnTx/>
                <a:uFillTx/>
                <a:latin typeface="Work Sans Light"/>
                <a:ea typeface="+mn-ea"/>
                <a:cs typeface="+mn-cs"/>
              </a:rPr>
              <a:t>Great wetting properties (pigments)</a:t>
            </a:r>
            <a:endParaRPr lang="en-US" sz="1200" dirty="0">
              <a:solidFill>
                <a:srgbClr val="00264E"/>
              </a:solidFill>
              <a:latin typeface="Work Sans Light"/>
            </a:endParaRPr>
          </a:p>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solidFill>
                  <a:srgbClr val="00264E"/>
                </a:solidFill>
                <a:latin typeface="Work Sans Light"/>
              </a:rPr>
              <a:t>Light &amp; flowable dispersion </a:t>
            </a:r>
          </a:p>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solidFill>
                  <a:srgbClr val="00264E"/>
                </a:solidFill>
                <a:latin typeface="Work Sans Light"/>
              </a:rPr>
              <a:t>L</a:t>
            </a:r>
            <a:r>
              <a:rPr kumimoji="0" lang="en-US" sz="1200" b="0" i="0" u="none" strike="noStrike" kern="1200" cap="none" spc="0" normalizeH="0" baseline="0" noProof="0" dirty="0" err="1">
                <a:ln>
                  <a:noFill/>
                </a:ln>
                <a:solidFill>
                  <a:srgbClr val="00264E"/>
                </a:solidFill>
                <a:effectLst/>
                <a:uLnTx/>
                <a:uFillTx/>
                <a:latin typeface="Work Sans Light"/>
                <a:ea typeface="+mn-ea"/>
                <a:cs typeface="+mn-cs"/>
              </a:rPr>
              <a:t>ighter</a:t>
            </a:r>
            <a:r>
              <a:rPr kumimoji="0" lang="en-US" sz="1200" b="0" i="0" u="none" strike="noStrike" kern="1200" cap="none" spc="0" normalizeH="0" baseline="0" noProof="0" dirty="0">
                <a:ln>
                  <a:noFill/>
                </a:ln>
                <a:solidFill>
                  <a:srgbClr val="00264E"/>
                </a:solidFill>
                <a:effectLst/>
                <a:uLnTx/>
                <a:uFillTx/>
                <a:latin typeface="Work Sans Light"/>
                <a:ea typeface="+mn-ea"/>
                <a:cs typeface="+mn-cs"/>
              </a:rPr>
              <a:t> textures</a:t>
            </a:r>
          </a:p>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solidFill>
                  <a:srgbClr val="00264E"/>
                </a:solidFill>
                <a:latin typeface="Work Sans Light"/>
              </a:rPr>
              <a:t>More manageable dispersion in production</a:t>
            </a:r>
          </a:p>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64E"/>
                </a:solidFill>
                <a:effectLst/>
                <a:uLnTx/>
                <a:uFillTx/>
                <a:latin typeface="Work Sans Light"/>
                <a:ea typeface="+mn-ea"/>
                <a:cs typeface="+mn-cs"/>
              </a:rPr>
              <a:t>Better pay-off</a:t>
            </a:r>
          </a:p>
        </p:txBody>
      </p:sp>
      <p:cxnSp>
        <p:nvCxnSpPr>
          <p:cNvPr id="13" name="Straight Connector 29">
            <a:extLst>
              <a:ext uri="{FF2B5EF4-FFF2-40B4-BE49-F238E27FC236}">
                <a16:creationId xmlns:a16="http://schemas.microsoft.com/office/drawing/2014/main" id="{F81B0CA1-7CC6-C827-72E0-E089ABB2B617}"/>
              </a:ext>
            </a:extLst>
          </p:cNvPr>
          <p:cNvCxnSpPr>
            <a:cxnSpLocks/>
          </p:cNvCxnSpPr>
          <p:nvPr/>
        </p:nvCxnSpPr>
        <p:spPr>
          <a:xfrm>
            <a:off x="6340288" y="1176790"/>
            <a:ext cx="0" cy="1908000"/>
          </a:xfrm>
          <a:prstGeom prst="line">
            <a:avLst/>
          </a:prstGeom>
          <a:ln>
            <a:solidFill>
              <a:srgbClr val="FF8300"/>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30">
            <a:extLst>
              <a:ext uri="{FF2B5EF4-FFF2-40B4-BE49-F238E27FC236}">
                <a16:creationId xmlns:a16="http://schemas.microsoft.com/office/drawing/2014/main" id="{0ED94336-1654-EF6F-9BFB-FABE931C5F67}"/>
              </a:ext>
            </a:extLst>
          </p:cNvPr>
          <p:cNvCxnSpPr>
            <a:cxnSpLocks/>
          </p:cNvCxnSpPr>
          <p:nvPr/>
        </p:nvCxnSpPr>
        <p:spPr>
          <a:xfrm>
            <a:off x="5944430" y="2169283"/>
            <a:ext cx="396000" cy="0"/>
          </a:xfrm>
          <a:prstGeom prst="line">
            <a:avLst/>
          </a:prstGeom>
          <a:ln>
            <a:solidFill>
              <a:srgbClr val="FF8300"/>
            </a:solidFill>
            <a:miter lim="800000"/>
          </a:ln>
        </p:spPr>
        <p:style>
          <a:lnRef idx="1">
            <a:schemeClr val="accent1"/>
          </a:lnRef>
          <a:fillRef idx="0">
            <a:schemeClr val="accent1"/>
          </a:fillRef>
          <a:effectRef idx="0">
            <a:schemeClr val="accent1"/>
          </a:effectRef>
          <a:fontRef idx="minor">
            <a:schemeClr val="tx1"/>
          </a:fontRef>
        </p:style>
      </p:cxnSp>
      <p:sp>
        <p:nvSpPr>
          <p:cNvPr id="15" name="Oval 29">
            <a:extLst>
              <a:ext uri="{FF2B5EF4-FFF2-40B4-BE49-F238E27FC236}">
                <a16:creationId xmlns:a16="http://schemas.microsoft.com/office/drawing/2014/main" id="{52BC7608-82C6-4BCA-AA9F-D5F7B0DF94AD}"/>
              </a:ext>
            </a:extLst>
          </p:cNvPr>
          <p:cNvSpPr>
            <a:spLocks noChangeAspect="1"/>
          </p:cNvSpPr>
          <p:nvPr/>
        </p:nvSpPr>
        <p:spPr>
          <a:xfrm>
            <a:off x="2413601" y="4100570"/>
            <a:ext cx="1440000" cy="1440000"/>
          </a:xfrm>
          <a:prstGeom prst="ellipse">
            <a:avLst/>
          </a:prstGeom>
          <a:solidFill>
            <a:schemeClr val="accent5"/>
          </a:solidFill>
          <a:ln w="31750">
            <a:noFill/>
          </a:ln>
        </p:spPr>
        <p:style>
          <a:lnRef idx="2">
            <a:schemeClr val="accent3">
              <a:shade val="50000"/>
            </a:schemeClr>
          </a:lnRef>
          <a:fillRef idx="1">
            <a:schemeClr val="accent3"/>
          </a:fillRef>
          <a:effectRef idx="0">
            <a:schemeClr val="accent3"/>
          </a:effectRef>
          <a:fontRef idx="minor">
            <a:schemeClr val="lt1"/>
          </a:fontRef>
        </p:style>
        <p:txBody>
          <a:bodyPr lIns="0" tIns="0" rIns="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Work Sans Medium Roman" pitchFamily="2" charset="0"/>
              <a:ea typeface="+mn-ea"/>
              <a:cs typeface="+mn-cs"/>
            </a:endParaRPr>
          </a:p>
        </p:txBody>
      </p:sp>
      <p:sp>
        <p:nvSpPr>
          <p:cNvPr id="16" name="TextBox 15">
            <a:extLst>
              <a:ext uri="{FF2B5EF4-FFF2-40B4-BE49-F238E27FC236}">
                <a16:creationId xmlns:a16="http://schemas.microsoft.com/office/drawing/2014/main" id="{730CE95F-4DA0-C87A-767D-BB4211F4A45D}"/>
              </a:ext>
            </a:extLst>
          </p:cNvPr>
          <p:cNvSpPr txBox="1"/>
          <p:nvPr/>
        </p:nvSpPr>
        <p:spPr>
          <a:xfrm>
            <a:off x="2371424" y="4675041"/>
            <a:ext cx="1440000" cy="215444"/>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Work Sans Light"/>
                <a:ea typeface="Helvetica Neue" panose="02000503000000020004" pitchFamily="2" charset="0"/>
                <a:cs typeface="Helvetica Neue" panose="02000503000000020004" pitchFamily="2" charset="0"/>
              </a:rPr>
              <a:t>SKINCARE</a:t>
            </a:r>
          </a:p>
        </p:txBody>
      </p:sp>
      <p:grpSp>
        <p:nvGrpSpPr>
          <p:cNvPr id="5" name="Group 4">
            <a:extLst>
              <a:ext uri="{FF2B5EF4-FFF2-40B4-BE49-F238E27FC236}">
                <a16:creationId xmlns:a16="http://schemas.microsoft.com/office/drawing/2014/main" id="{B4EEAED3-FA17-0156-555A-60802ECE2B5B}"/>
              </a:ext>
            </a:extLst>
          </p:cNvPr>
          <p:cNvGrpSpPr/>
          <p:nvPr/>
        </p:nvGrpSpPr>
        <p:grpSpPr>
          <a:xfrm>
            <a:off x="2399089" y="1462757"/>
            <a:ext cx="1440450" cy="1440000"/>
            <a:chOff x="5128171" y="2179392"/>
            <a:chExt cx="1440450" cy="1440000"/>
          </a:xfrm>
        </p:grpSpPr>
        <p:sp>
          <p:nvSpPr>
            <p:cNvPr id="6" name="Oval 29">
              <a:extLst>
                <a:ext uri="{FF2B5EF4-FFF2-40B4-BE49-F238E27FC236}">
                  <a16:creationId xmlns:a16="http://schemas.microsoft.com/office/drawing/2014/main" id="{F8E5AEA4-A2A1-7DF7-1B73-A2AC5741339B}"/>
                </a:ext>
              </a:extLst>
            </p:cNvPr>
            <p:cNvSpPr>
              <a:spLocks noChangeAspect="1"/>
            </p:cNvSpPr>
            <p:nvPr/>
          </p:nvSpPr>
          <p:spPr>
            <a:xfrm>
              <a:off x="5128171" y="2179392"/>
              <a:ext cx="1440000" cy="1440000"/>
            </a:xfrm>
            <a:prstGeom prst="ellipse">
              <a:avLst/>
            </a:prstGeom>
            <a:solidFill>
              <a:schemeClr val="accent5"/>
            </a:solidFill>
            <a:ln w="31750">
              <a:noFill/>
            </a:ln>
          </p:spPr>
          <p:style>
            <a:lnRef idx="2">
              <a:schemeClr val="accent3">
                <a:shade val="50000"/>
              </a:schemeClr>
            </a:lnRef>
            <a:fillRef idx="1">
              <a:schemeClr val="accent3"/>
            </a:fillRef>
            <a:effectRef idx="0">
              <a:schemeClr val="accent3"/>
            </a:effectRef>
            <a:fontRef idx="minor">
              <a:schemeClr val="lt1"/>
            </a:fontRef>
          </p:style>
          <p:txBody>
            <a:bodyPr lIns="0" tIns="0" rIns="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Work Sans Medium Roman" pitchFamily="2" charset="0"/>
                <a:ea typeface="+mn-ea"/>
                <a:cs typeface="+mn-cs"/>
              </a:endParaRPr>
            </a:p>
          </p:txBody>
        </p:sp>
        <p:sp>
          <p:nvSpPr>
            <p:cNvPr id="7" name="TextBox 6">
              <a:extLst>
                <a:ext uri="{FF2B5EF4-FFF2-40B4-BE49-F238E27FC236}">
                  <a16:creationId xmlns:a16="http://schemas.microsoft.com/office/drawing/2014/main" id="{5B4C62B7-CEEE-199A-DC7F-4B74F78F300E}"/>
                </a:ext>
              </a:extLst>
            </p:cNvPr>
            <p:cNvSpPr txBox="1"/>
            <p:nvPr/>
          </p:nvSpPr>
          <p:spPr>
            <a:xfrm>
              <a:off x="5128621" y="2766895"/>
              <a:ext cx="1440000" cy="230832"/>
            </a:xfrm>
            <a:prstGeom prst="rect">
              <a:avLst/>
            </a:prstGeom>
            <a:noFill/>
            <a:ln>
              <a:noFill/>
            </a:ln>
          </p:spPr>
          <p:txBody>
            <a:bodyPr wrap="square" lIns="0" tIns="0" rIns="0" bIns="0" rtlCol="0">
              <a:spAutoFit/>
            </a:bodyPr>
            <a:lstStyle/>
            <a:p>
              <a:pPr algn="ctr">
                <a:buClr>
                  <a:schemeClr val="tx2"/>
                </a:buClr>
              </a:pPr>
              <a:r>
                <a:rPr lang="fr-FR" sz="1500" b="1" spc="-30" dirty="0">
                  <a:solidFill>
                    <a:schemeClr val="bg1"/>
                  </a:solidFill>
                </a:rPr>
                <a:t>MAKE-UP</a:t>
              </a:r>
            </a:p>
          </p:txBody>
        </p:sp>
      </p:grpSp>
      <p:cxnSp>
        <p:nvCxnSpPr>
          <p:cNvPr id="9" name="Straight Connector 30">
            <a:extLst>
              <a:ext uri="{FF2B5EF4-FFF2-40B4-BE49-F238E27FC236}">
                <a16:creationId xmlns:a16="http://schemas.microsoft.com/office/drawing/2014/main" id="{3B7E52E4-5C07-56F7-A6F5-3BE592B6AF5A}"/>
              </a:ext>
            </a:extLst>
          </p:cNvPr>
          <p:cNvCxnSpPr>
            <a:cxnSpLocks/>
          </p:cNvCxnSpPr>
          <p:nvPr/>
        </p:nvCxnSpPr>
        <p:spPr>
          <a:xfrm flipH="1" flipV="1">
            <a:off x="2200438" y="2165676"/>
            <a:ext cx="532471" cy="0"/>
          </a:xfrm>
          <a:prstGeom prst="line">
            <a:avLst/>
          </a:prstGeom>
          <a:ln>
            <a:solidFill>
              <a:srgbClr val="FF8300"/>
            </a:solidFill>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29">
            <a:extLst>
              <a:ext uri="{FF2B5EF4-FFF2-40B4-BE49-F238E27FC236}">
                <a16:creationId xmlns:a16="http://schemas.microsoft.com/office/drawing/2014/main" id="{1C1419FF-CCB5-32BC-C3F7-4389877BD007}"/>
              </a:ext>
            </a:extLst>
          </p:cNvPr>
          <p:cNvCxnSpPr>
            <a:cxnSpLocks/>
          </p:cNvCxnSpPr>
          <p:nvPr/>
        </p:nvCxnSpPr>
        <p:spPr>
          <a:xfrm flipH="1" flipV="1">
            <a:off x="2197406" y="1211676"/>
            <a:ext cx="0" cy="1908000"/>
          </a:xfrm>
          <a:prstGeom prst="line">
            <a:avLst/>
          </a:prstGeom>
          <a:ln>
            <a:solidFill>
              <a:srgbClr val="FF8300"/>
            </a:solidFill>
            <a:miter lim="800000"/>
          </a:ln>
        </p:spPr>
        <p:style>
          <a:lnRef idx="1">
            <a:schemeClr val="accent1"/>
          </a:lnRef>
          <a:fillRef idx="0">
            <a:schemeClr val="accent1"/>
          </a:fillRef>
          <a:effectRef idx="0">
            <a:schemeClr val="accent1"/>
          </a:effectRef>
          <a:fontRef idx="minor">
            <a:schemeClr val="tx1"/>
          </a:fontRef>
        </p:style>
      </p:cxnSp>
      <p:sp>
        <p:nvSpPr>
          <p:cNvPr id="22" name="TextBox 20">
            <a:extLst>
              <a:ext uri="{FF2B5EF4-FFF2-40B4-BE49-F238E27FC236}">
                <a16:creationId xmlns:a16="http://schemas.microsoft.com/office/drawing/2014/main" id="{1FA7025F-7E15-37E4-682A-EE41205D508C}"/>
              </a:ext>
            </a:extLst>
          </p:cNvPr>
          <p:cNvSpPr txBox="1"/>
          <p:nvPr/>
        </p:nvSpPr>
        <p:spPr>
          <a:xfrm>
            <a:off x="269016" y="4467292"/>
            <a:ext cx="1915746" cy="630942"/>
          </a:xfrm>
          <a:prstGeom prst="rect">
            <a:avLst/>
          </a:prstGeom>
          <a:noFill/>
          <a:ln>
            <a:noFill/>
          </a:ln>
        </p:spPr>
        <p:txBody>
          <a:bodyPr wrap="square" lIns="0" tIns="0" rIns="0" bIns="0" rtlCol="0">
            <a:spAutoFit/>
          </a:bodyPr>
          <a:lstStyle/>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64E"/>
                </a:solidFill>
                <a:effectLst/>
                <a:uLnTx/>
                <a:uFillTx/>
                <a:latin typeface="Work Sans Light"/>
                <a:ea typeface="+mn-ea"/>
                <a:cs typeface="+mn-cs"/>
              </a:rPr>
              <a:t>Cleansing/ Make-up remover properties</a:t>
            </a:r>
          </a:p>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solidFill>
                  <a:srgbClr val="00264E"/>
                </a:solidFill>
                <a:latin typeface="Work Sans Light"/>
              </a:rPr>
              <a:t>Lightweight emollient</a:t>
            </a:r>
            <a:endParaRPr kumimoji="0" lang="en-US" sz="1200" b="0" i="0" u="none" strike="noStrike" kern="1200" cap="none" spc="0" normalizeH="0" baseline="0" noProof="0" dirty="0">
              <a:ln>
                <a:noFill/>
              </a:ln>
              <a:solidFill>
                <a:srgbClr val="00264E"/>
              </a:solidFill>
              <a:effectLst/>
              <a:uLnTx/>
              <a:uFillTx/>
              <a:latin typeface="Work Sans Light"/>
              <a:ea typeface="+mn-ea"/>
              <a:cs typeface="+mn-cs"/>
            </a:endParaRPr>
          </a:p>
        </p:txBody>
      </p:sp>
    </p:spTree>
    <p:extLst>
      <p:ext uri="{BB962C8B-B14F-4D97-AF65-F5344CB8AC3E}">
        <p14:creationId xmlns:p14="http://schemas.microsoft.com/office/powerpoint/2010/main" val="8857422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A person touching her hands&#10;&#10;AI-generated content may be incorrect.">
            <a:extLst>
              <a:ext uri="{FF2B5EF4-FFF2-40B4-BE49-F238E27FC236}">
                <a16:creationId xmlns:a16="http://schemas.microsoft.com/office/drawing/2014/main" id="{C3CD342C-0A6F-183C-730A-C872BDEE2BCC}"/>
              </a:ext>
            </a:extLst>
          </p:cNvPr>
          <p:cNvPicPr>
            <a:picLocks noGrp="1" noChangeAspect="1"/>
          </p:cNvPicPr>
          <p:nvPr>
            <p:ph type="pic" sz="quarter" idx="16"/>
          </p:nvPr>
        </p:nvPicPr>
        <p:blipFill>
          <a:blip r:embed="rId2"/>
          <a:srcRect l="11086" r="11086"/>
          <a:stretch>
            <a:fillRect/>
          </a:stretch>
        </p:blipFill>
        <p:spPr/>
      </p:pic>
      <p:sp>
        <p:nvSpPr>
          <p:cNvPr id="8" name="Title 7">
            <a:extLst>
              <a:ext uri="{FF2B5EF4-FFF2-40B4-BE49-F238E27FC236}">
                <a16:creationId xmlns:a16="http://schemas.microsoft.com/office/drawing/2014/main" id="{6D9B1F7C-5EF6-1A23-421D-54B4EE5179C5}"/>
              </a:ext>
            </a:extLst>
          </p:cNvPr>
          <p:cNvSpPr>
            <a:spLocks noGrp="1"/>
          </p:cNvSpPr>
          <p:nvPr>
            <p:ph type="title"/>
          </p:nvPr>
        </p:nvSpPr>
        <p:spPr>
          <a:xfrm>
            <a:off x="430213" y="2653403"/>
            <a:ext cx="4114800" cy="775597"/>
          </a:xfrm>
        </p:spPr>
        <p:txBody>
          <a:bodyPr/>
          <a:lstStyle/>
          <a:p>
            <a:r>
              <a:rPr lang="en-US" sz="3200" dirty="0"/>
              <a:t>LIPEX</a:t>
            </a:r>
            <a:r>
              <a:rPr lang="en-US" sz="3200" baseline="30000" dirty="0"/>
              <a:t>®</a:t>
            </a:r>
            <a:r>
              <a:rPr lang="en-US" sz="3200" dirty="0"/>
              <a:t> SheaSolve</a:t>
            </a:r>
            <a:r>
              <a:rPr lang="en-GB" sz="3200" baseline="30000" dirty="0"/>
              <a:t>™</a:t>
            </a:r>
            <a:br>
              <a:rPr lang="en-GB" baseline="30000" dirty="0"/>
            </a:br>
            <a:r>
              <a:rPr lang="en-GB" sz="2400" dirty="0"/>
              <a:t>in Suncare</a:t>
            </a:r>
          </a:p>
        </p:txBody>
      </p:sp>
      <p:sp>
        <p:nvSpPr>
          <p:cNvPr id="5" name="Date Placeholder 4">
            <a:extLst>
              <a:ext uri="{FF2B5EF4-FFF2-40B4-BE49-F238E27FC236}">
                <a16:creationId xmlns:a16="http://schemas.microsoft.com/office/drawing/2014/main" id="{83AEF41A-9AB5-0388-A21E-71411E861FFF}"/>
              </a:ext>
            </a:extLst>
          </p:cNvPr>
          <p:cNvSpPr>
            <a:spLocks noGrp="1"/>
          </p:cNvSpPr>
          <p:nvPr>
            <p:ph type="dt" sz="half" idx="2"/>
          </p:nvPr>
        </p:nvSpPr>
        <p:spPr/>
        <p:txBody>
          <a:bodyPr/>
          <a:lstStyle/>
          <a:p>
            <a:fld id="{1B64ED2E-4F5A-4C13-A00E-18C21BE19A85}" type="datetime1">
              <a:rPr lang="en-GB" smtClean="0"/>
              <a:t>18/06/2025</a:t>
            </a:fld>
            <a:endParaRPr lang="en-GB" dirty="0"/>
          </a:p>
        </p:txBody>
      </p:sp>
      <p:sp>
        <p:nvSpPr>
          <p:cNvPr id="6" name="Slide Number Placeholder 5">
            <a:extLst>
              <a:ext uri="{FF2B5EF4-FFF2-40B4-BE49-F238E27FC236}">
                <a16:creationId xmlns:a16="http://schemas.microsoft.com/office/drawing/2014/main" id="{6A10475D-0BDB-8272-38DA-78064A3FF1AC}"/>
              </a:ext>
            </a:extLst>
          </p:cNvPr>
          <p:cNvSpPr>
            <a:spLocks noGrp="1"/>
          </p:cNvSpPr>
          <p:nvPr>
            <p:ph type="sldNum" sz="quarter" idx="4"/>
          </p:nvPr>
        </p:nvSpPr>
        <p:spPr/>
        <p:txBody>
          <a:bodyPr/>
          <a:lstStyle/>
          <a:p>
            <a:pPr algn="r"/>
            <a:fld id="{EDF3706E-DB9C-4B59-A485-1194C2A6AD28}" type="slidenum">
              <a:rPr lang="en-GB" smtClean="0"/>
              <a:pPr algn="r"/>
              <a:t>6</a:t>
            </a:fld>
            <a:endParaRPr lang="en-GB"/>
          </a:p>
        </p:txBody>
      </p:sp>
      <p:sp>
        <p:nvSpPr>
          <p:cNvPr id="7" name="Footer Placeholder 6">
            <a:extLst>
              <a:ext uri="{FF2B5EF4-FFF2-40B4-BE49-F238E27FC236}">
                <a16:creationId xmlns:a16="http://schemas.microsoft.com/office/drawing/2014/main" id="{07098A50-74E1-1FAD-7DFE-F049791C9F7D}"/>
              </a:ext>
            </a:extLst>
          </p:cNvPr>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18405424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72EB19-F73C-445B-86CC-05B7CB8BEC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C172EB19-F73C-445B-86CC-05B7CB8BEC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33445F-0BFF-491E-8FA7-11EC8AF48011}"/>
              </a:ext>
            </a:extLst>
          </p:cNvPr>
          <p:cNvSpPr>
            <a:spLocks noGrp="1"/>
          </p:cNvSpPr>
          <p:nvPr>
            <p:ph type="title"/>
          </p:nvPr>
        </p:nvSpPr>
        <p:spPr/>
        <p:txBody>
          <a:bodyPr vert="horz"/>
          <a:lstStyle/>
          <a:p>
            <a:r>
              <a:rPr lang="en-GB" dirty="0"/>
              <a:t>LIPEX</a:t>
            </a:r>
            <a:r>
              <a:rPr lang="en-GB" baseline="30000" dirty="0"/>
              <a:t>®</a:t>
            </a:r>
            <a:r>
              <a:rPr lang="en-GB" dirty="0"/>
              <a:t> SheaSolve</a:t>
            </a:r>
            <a:r>
              <a:rPr lang="en-GB" baseline="30000" dirty="0"/>
              <a:t>™</a:t>
            </a:r>
            <a:r>
              <a:rPr lang="en-US" dirty="0"/>
              <a:t> in suncare with inorganic UV filters</a:t>
            </a:r>
            <a:br>
              <a:rPr lang="en-US" dirty="0"/>
            </a:br>
            <a:r>
              <a:rPr lang="en-US" sz="2000" dirty="0"/>
              <a:t>Provides SPF boosting &amp; ensure the SPF value that you formulate for</a:t>
            </a:r>
          </a:p>
        </p:txBody>
      </p:sp>
      <p:sp>
        <p:nvSpPr>
          <p:cNvPr id="3" name="Date Placeholder 2">
            <a:extLst>
              <a:ext uri="{FF2B5EF4-FFF2-40B4-BE49-F238E27FC236}">
                <a16:creationId xmlns:a16="http://schemas.microsoft.com/office/drawing/2014/main" id="{138ACF2B-B9C9-4326-BD8B-9DB908DDBC03}"/>
              </a:ext>
            </a:extLst>
          </p:cNvPr>
          <p:cNvSpPr>
            <a:spLocks noGrp="1"/>
          </p:cNvSpPr>
          <p:nvPr>
            <p:ph type="dt" sz="half" idx="10"/>
          </p:nvPr>
        </p:nvSpPr>
        <p:spPr>
          <a:xfrm>
            <a:off x="10542897" y="6472030"/>
            <a:ext cx="626774"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2DCDAF2-D32B-4959-9A14-0F980FBA07DD}" type="datetime1">
              <a:rPr lang="en-GB" sz="1000" smtClean="0"/>
              <a:pPr marL="0" marR="0" lvl="0" indent="0" algn="r" defTabSz="914400" rtl="0" eaLnBrk="1" fontAlgn="auto" latinLnBrk="0" hangingPunct="1">
                <a:lnSpc>
                  <a:spcPct val="100000"/>
                </a:lnSpc>
                <a:spcBef>
                  <a:spcPts val="0"/>
                </a:spcBef>
                <a:spcAft>
                  <a:spcPts val="0"/>
                </a:spcAft>
                <a:buClrTx/>
                <a:buSzTx/>
                <a:buFontTx/>
                <a:buNone/>
                <a:tabLst/>
                <a:defRPr/>
              </a:pPr>
              <a:t>18/06/2025</a:t>
            </a:fld>
            <a:endParaRPr kumimoji="0" lang="en-US" sz="1000" b="0" i="0" u="none" strike="noStrike" kern="1200" cap="none" spc="-30" normalizeH="0" baseline="0" noProof="0">
              <a:ln>
                <a:noFill/>
              </a:ln>
              <a:solidFill>
                <a:srgbClr val="2067CA"/>
              </a:solidFill>
              <a:effectLst/>
              <a:uLnTx/>
              <a:uFillTx/>
              <a:latin typeface="Work Sans Light Roman"/>
              <a:ea typeface="+mn-ea"/>
              <a:cs typeface="+mn-cs"/>
            </a:endParaRPr>
          </a:p>
        </p:txBody>
      </p:sp>
      <p:sp>
        <p:nvSpPr>
          <p:cNvPr id="4" name="Footer Placeholder 3">
            <a:extLst>
              <a:ext uri="{FF2B5EF4-FFF2-40B4-BE49-F238E27FC236}">
                <a16:creationId xmlns:a16="http://schemas.microsoft.com/office/drawing/2014/main" id="{A403BEEF-156C-455C-B770-B944BBD40F62}"/>
              </a:ext>
            </a:extLst>
          </p:cNvPr>
          <p:cNvSpPr>
            <a:spLocks noGrp="1"/>
          </p:cNvSpPr>
          <p:nvPr>
            <p:ph type="ftr" sz="quarter" idx="11"/>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The Co-Development Company</a:t>
            </a:r>
            <a:endParaRPr kumimoji="0" lang="en-US" sz="1000" b="0" i="0" u="none" strike="noStrike" kern="1200" cap="none" spc="-30" normalizeH="0" baseline="0" noProof="0">
              <a:ln>
                <a:noFill/>
              </a:ln>
              <a:solidFill>
                <a:srgbClr val="2067CA"/>
              </a:solidFill>
              <a:effectLst/>
              <a:uLnTx/>
              <a:uFillTx/>
              <a:latin typeface="Work Sans Light Roman"/>
              <a:ea typeface="+mn-ea"/>
              <a:cs typeface="+mn-cs"/>
            </a:endParaRPr>
          </a:p>
        </p:txBody>
      </p:sp>
      <p:sp>
        <p:nvSpPr>
          <p:cNvPr id="5" name="Slide Number Placeholder 4">
            <a:extLst>
              <a:ext uri="{FF2B5EF4-FFF2-40B4-BE49-F238E27FC236}">
                <a16:creationId xmlns:a16="http://schemas.microsoft.com/office/drawing/2014/main" id="{EA67B119-5127-43EE-8F82-45A600F68794}"/>
              </a:ext>
            </a:extLst>
          </p:cNvPr>
          <p:cNvSpPr>
            <a:spLocks noGrp="1"/>
          </p:cNvSpPr>
          <p:nvPr>
            <p:ph type="sldNum" sz="quarter" idx="12"/>
          </p:nvPr>
        </p:nvSpPr>
        <p:spPr>
          <a:xfrm>
            <a:off x="11376660" y="6472030"/>
            <a:ext cx="372428" cy="153888"/>
          </a:xfrm>
          <a:prstGeom prst="rect">
            <a:avLst/>
          </a:prstGeom>
        </p:spPr>
        <p:txBody>
          <a:bodyPr vert="horz" wrap="squar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803DD7B-12C8-43B8-9F45-989336E79744}" type="slidenum">
              <a:rPr lang="en-US" sz="1000" smtClean="0"/>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30" normalizeH="0" baseline="0" noProof="0">
              <a:ln>
                <a:noFill/>
              </a:ln>
              <a:solidFill>
                <a:srgbClr val="2067CA"/>
              </a:solidFill>
              <a:effectLst/>
              <a:uLnTx/>
              <a:uFillTx/>
              <a:latin typeface="Work Sans Light Roman"/>
              <a:ea typeface="+mn-ea"/>
              <a:cs typeface="+mn-cs"/>
            </a:endParaRPr>
          </a:p>
        </p:txBody>
      </p:sp>
      <p:sp>
        <p:nvSpPr>
          <p:cNvPr id="12" name="TextBox 11">
            <a:extLst>
              <a:ext uri="{FF2B5EF4-FFF2-40B4-BE49-F238E27FC236}">
                <a16:creationId xmlns:a16="http://schemas.microsoft.com/office/drawing/2014/main" id="{423C0CAF-69F0-46AC-AD68-EB3B4C98ACD8}"/>
              </a:ext>
            </a:extLst>
          </p:cNvPr>
          <p:cNvSpPr txBox="1"/>
          <p:nvPr/>
        </p:nvSpPr>
        <p:spPr>
          <a:xfrm>
            <a:off x="6745565" y="1279608"/>
            <a:ext cx="4999793" cy="2800767"/>
          </a:xfrm>
          <a:prstGeom prst="rect">
            <a:avLst/>
          </a:prstGeom>
          <a:noFill/>
          <a:ln>
            <a:noFill/>
          </a:ln>
        </p:spPr>
        <p:txBody>
          <a:bodyPr wrap="square" lIns="0" tIns="0" rIns="0" bIns="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30" normalizeH="0" baseline="0" noProof="0" dirty="0">
                <a:ln>
                  <a:noFill/>
                </a:ln>
                <a:solidFill>
                  <a:srgbClr val="00264E"/>
                </a:solidFill>
                <a:effectLst/>
                <a:uLnTx/>
                <a:uFillTx/>
                <a:ea typeface="+mn-ea"/>
                <a:cs typeface="+mn-cs"/>
              </a:rPr>
              <a:t>Based on the amount and the type of UV filter (20% zinc oxide with </a:t>
            </a:r>
            <a:r>
              <a:rPr kumimoji="0" lang="en-US" sz="1400" b="0" i="0" u="none" strike="noStrike" kern="1200" cap="none" spc="-30" normalizeH="0" baseline="0" noProof="0" dirty="0" err="1">
                <a:ln>
                  <a:noFill/>
                </a:ln>
                <a:solidFill>
                  <a:srgbClr val="00264E"/>
                </a:solidFill>
                <a:effectLst/>
                <a:uLnTx/>
                <a:uFillTx/>
                <a:ea typeface="+mn-ea"/>
                <a:cs typeface="+mn-cs"/>
              </a:rPr>
              <a:t>triethoxycaprylyl</a:t>
            </a:r>
            <a:r>
              <a:rPr kumimoji="0" lang="en-US" sz="1400" b="0" i="0" u="none" strike="noStrike" kern="1200" cap="none" spc="-30" normalizeH="0" baseline="0" noProof="0" dirty="0">
                <a:ln>
                  <a:noFill/>
                </a:ln>
                <a:solidFill>
                  <a:srgbClr val="00264E"/>
                </a:solidFill>
                <a:effectLst/>
                <a:uLnTx/>
                <a:uFillTx/>
                <a:ea typeface="+mn-ea"/>
                <a:cs typeface="+mn-cs"/>
              </a:rPr>
              <a:t> silane coating) the expected SPF reading for all dispersions was 28.</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30" normalizeH="0" baseline="0" noProof="0" dirty="0">
              <a:ln>
                <a:noFill/>
              </a:ln>
              <a:solidFill>
                <a:srgbClr val="00264E"/>
              </a:solidFill>
              <a:effectLst/>
              <a:uLnTx/>
              <a:uFillTx/>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30" normalizeH="0" baseline="0" noProof="0" dirty="0">
                <a:ln>
                  <a:noFill/>
                </a:ln>
                <a:solidFill>
                  <a:srgbClr val="00264E"/>
                </a:solidFill>
                <a:effectLst/>
                <a:uLnTx/>
                <a:uFillTx/>
                <a:ea typeface="+mn-ea"/>
                <a:cs typeface="+mn-cs"/>
              </a:rPr>
              <a:t>Only Lipex SheaSolve delivers towards that expectation, which provides assurance for formulators that they can achieve the SPF value they need for their cosmetic formula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30" normalizeH="0" baseline="0" noProof="0" dirty="0">
              <a:ln>
                <a:noFill/>
              </a:ln>
              <a:solidFill>
                <a:srgbClr val="00264E"/>
              </a:solidFill>
              <a:effectLst/>
              <a:uLnTx/>
              <a:uFillTx/>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30" normalizeH="0" baseline="0" noProof="0" dirty="0">
                <a:ln>
                  <a:noFill/>
                </a:ln>
                <a:solidFill>
                  <a:srgbClr val="00264E"/>
                </a:solidFill>
                <a:effectLst/>
                <a:uLnTx/>
                <a:uFillTx/>
                <a:ea typeface="+mn-ea"/>
                <a:cs typeface="+mn-cs"/>
              </a:rPr>
              <a:t>Lipex SheaSolve is a more cost-effective emollient compared to the alternatives since higher amounts of UV filters would be needed with the other emollients to achieve the same SPF value.</a:t>
            </a:r>
          </a:p>
        </p:txBody>
      </p:sp>
      <p:graphicFrame>
        <p:nvGraphicFramePr>
          <p:cNvPr id="23" name="Chart 22">
            <a:extLst>
              <a:ext uri="{FF2B5EF4-FFF2-40B4-BE49-F238E27FC236}">
                <a16:creationId xmlns:a16="http://schemas.microsoft.com/office/drawing/2014/main" id="{4F82DF72-CEDC-415D-BEB4-4625B19BE688}"/>
              </a:ext>
            </a:extLst>
          </p:cNvPr>
          <p:cNvGraphicFramePr>
            <a:graphicFrameLocks/>
          </p:cNvGraphicFramePr>
          <p:nvPr/>
        </p:nvGraphicFramePr>
        <p:xfrm>
          <a:off x="285749" y="1119187"/>
          <a:ext cx="6257925" cy="4619625"/>
        </p:xfrm>
        <a:graphic>
          <a:graphicData uri="http://schemas.openxmlformats.org/drawingml/2006/chart">
            <c:chart xmlns:c="http://schemas.openxmlformats.org/drawingml/2006/chart" xmlns:r="http://schemas.openxmlformats.org/officeDocument/2006/relationships" r:id="rId6"/>
          </a:graphicData>
        </a:graphic>
      </p:graphicFrame>
      <p:cxnSp>
        <p:nvCxnSpPr>
          <p:cNvPr id="27" name="Straight Connector 26">
            <a:extLst>
              <a:ext uri="{FF2B5EF4-FFF2-40B4-BE49-F238E27FC236}">
                <a16:creationId xmlns:a16="http://schemas.microsoft.com/office/drawing/2014/main" id="{449D414B-3C1B-4F42-9FA9-47FEDE338273}"/>
              </a:ext>
            </a:extLst>
          </p:cNvPr>
          <p:cNvCxnSpPr/>
          <p:nvPr/>
        </p:nvCxnSpPr>
        <p:spPr>
          <a:xfrm>
            <a:off x="952500" y="2247900"/>
            <a:ext cx="5400675" cy="0"/>
          </a:xfrm>
          <a:prstGeom prst="line">
            <a:avLst/>
          </a:prstGeom>
          <a:ln w="19050">
            <a:solidFill>
              <a:srgbClr val="DC0000"/>
            </a:solidFill>
          </a:ln>
        </p:spPr>
        <p:style>
          <a:lnRef idx="1">
            <a:schemeClr val="accent5"/>
          </a:lnRef>
          <a:fillRef idx="0">
            <a:schemeClr val="accent5"/>
          </a:fillRef>
          <a:effectRef idx="0">
            <a:schemeClr val="accent5"/>
          </a:effectRef>
          <a:fontRef idx="minor">
            <a:schemeClr val="tx1"/>
          </a:fontRef>
        </p:style>
      </p:cxnSp>
      <p:sp>
        <p:nvSpPr>
          <p:cNvPr id="34" name="TextBox 33">
            <a:extLst>
              <a:ext uri="{FF2B5EF4-FFF2-40B4-BE49-F238E27FC236}">
                <a16:creationId xmlns:a16="http://schemas.microsoft.com/office/drawing/2014/main" id="{F85C92AA-0D0D-403B-AF10-98A978E3D5BA}"/>
              </a:ext>
            </a:extLst>
          </p:cNvPr>
          <p:cNvSpPr txBox="1"/>
          <p:nvPr/>
        </p:nvSpPr>
        <p:spPr>
          <a:xfrm>
            <a:off x="3824287" y="1832403"/>
            <a:ext cx="2624137" cy="246221"/>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264E"/>
              </a:buClr>
              <a:buSzTx/>
              <a:buFontTx/>
              <a:buNone/>
              <a:tabLst/>
              <a:defRPr/>
            </a:pPr>
            <a:r>
              <a:rPr kumimoji="0" lang="en-US" sz="1600" b="0" i="0" u="none" strike="noStrike" kern="1200" cap="none" spc="-30" normalizeH="0" baseline="0" noProof="0" dirty="0">
                <a:ln>
                  <a:noFill/>
                </a:ln>
                <a:solidFill>
                  <a:srgbClr val="2067CA"/>
                </a:solidFill>
                <a:effectLst/>
                <a:uLnTx/>
                <a:uFillTx/>
                <a:latin typeface="Work Sans Medium" pitchFamily="2" charset="0"/>
              </a:rPr>
              <a:t>Expected SPF reading = 28</a:t>
            </a:r>
          </a:p>
        </p:txBody>
      </p:sp>
      <p:sp>
        <p:nvSpPr>
          <p:cNvPr id="17" name="TextBox 16">
            <a:extLst>
              <a:ext uri="{FF2B5EF4-FFF2-40B4-BE49-F238E27FC236}">
                <a16:creationId xmlns:a16="http://schemas.microsoft.com/office/drawing/2014/main" id="{515F100D-CF85-4C16-93A7-B7CC9FB1F3DD}"/>
              </a:ext>
            </a:extLst>
          </p:cNvPr>
          <p:cNvSpPr txBox="1"/>
          <p:nvPr/>
        </p:nvSpPr>
        <p:spPr>
          <a:xfrm>
            <a:off x="184803" y="5642558"/>
            <a:ext cx="1073791" cy="153888"/>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264E"/>
              </a:buClr>
              <a:buSzTx/>
              <a:buFontTx/>
              <a:buNone/>
              <a:tabLst/>
              <a:defRPr/>
            </a:pPr>
            <a:r>
              <a:rPr kumimoji="0" lang="en-US" sz="1000" b="0" i="0" u="none" strike="noStrike" kern="1200" cap="none" spc="-30" normalizeH="0" baseline="0" noProof="0" dirty="0">
                <a:ln>
                  <a:noFill/>
                </a:ln>
                <a:solidFill>
                  <a:schemeClr val="tx1">
                    <a:lumMod val="50000"/>
                    <a:lumOff val="50000"/>
                  </a:schemeClr>
                </a:solidFill>
                <a:effectLst/>
                <a:uLnTx/>
                <a:uFillTx/>
                <a:latin typeface="Work Sans Light" pitchFamily="2" charset="0"/>
              </a:rPr>
              <a:t>Naturalness*</a:t>
            </a:r>
          </a:p>
        </p:txBody>
      </p:sp>
      <p:sp>
        <p:nvSpPr>
          <p:cNvPr id="24" name="TextBox 23">
            <a:extLst>
              <a:ext uri="{FF2B5EF4-FFF2-40B4-BE49-F238E27FC236}">
                <a16:creationId xmlns:a16="http://schemas.microsoft.com/office/drawing/2014/main" id="{0049C328-C256-4409-AFC0-E34906D7E03F}"/>
              </a:ext>
            </a:extLst>
          </p:cNvPr>
          <p:cNvSpPr txBox="1"/>
          <p:nvPr/>
        </p:nvSpPr>
        <p:spPr>
          <a:xfrm>
            <a:off x="1301128" y="5642558"/>
            <a:ext cx="1073791" cy="30777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264E"/>
              </a:buClr>
              <a:buSzTx/>
              <a:buFontTx/>
              <a:buNone/>
              <a:tabLst/>
              <a:defRPr/>
            </a:pPr>
            <a:r>
              <a:rPr kumimoji="0" lang="en-US" sz="1000" b="0" i="0" u="none" strike="noStrike" kern="1200" cap="none" spc="-30" normalizeH="0" baseline="0" noProof="0" dirty="0">
                <a:ln>
                  <a:noFill/>
                </a:ln>
                <a:solidFill>
                  <a:schemeClr val="tx1">
                    <a:lumMod val="50000"/>
                    <a:lumOff val="50000"/>
                  </a:schemeClr>
                </a:solidFill>
                <a:effectLst/>
                <a:uLnTx/>
                <a:uFillTx/>
                <a:latin typeface="Work Sans Light" pitchFamily="2" charset="0"/>
              </a:rPr>
              <a:t>100% </a:t>
            </a:r>
          </a:p>
          <a:p>
            <a:pPr marL="0" marR="0" lvl="0" indent="0" algn="ctr" defTabSz="914400" rtl="0" eaLnBrk="1" fontAlgn="auto" latinLnBrk="0" hangingPunct="1">
              <a:lnSpc>
                <a:spcPct val="100000"/>
              </a:lnSpc>
              <a:spcBef>
                <a:spcPts val="0"/>
              </a:spcBef>
              <a:spcAft>
                <a:spcPts val="0"/>
              </a:spcAft>
              <a:buClr>
                <a:srgbClr val="00264E"/>
              </a:buClr>
              <a:buSzTx/>
              <a:buFontTx/>
              <a:buNone/>
              <a:tabLst/>
              <a:defRPr/>
            </a:pPr>
            <a:r>
              <a:rPr kumimoji="0" lang="en-US" sz="1000" b="0" i="0" u="none" strike="noStrike" kern="1200" cap="none" spc="-30" normalizeH="0" baseline="0" noProof="0" dirty="0">
                <a:ln>
                  <a:noFill/>
                </a:ln>
                <a:solidFill>
                  <a:schemeClr val="tx1">
                    <a:lumMod val="50000"/>
                    <a:lumOff val="50000"/>
                  </a:schemeClr>
                </a:solidFill>
                <a:effectLst/>
                <a:uLnTx/>
                <a:uFillTx/>
                <a:latin typeface="Work Sans Light" pitchFamily="2" charset="0"/>
              </a:rPr>
              <a:t>based on shea</a:t>
            </a:r>
          </a:p>
        </p:txBody>
      </p:sp>
      <p:sp>
        <p:nvSpPr>
          <p:cNvPr id="25" name="TextBox 24">
            <a:extLst>
              <a:ext uri="{FF2B5EF4-FFF2-40B4-BE49-F238E27FC236}">
                <a16:creationId xmlns:a16="http://schemas.microsoft.com/office/drawing/2014/main" id="{41956956-0F86-48C4-AC46-8FF0AB2BFD72}"/>
              </a:ext>
            </a:extLst>
          </p:cNvPr>
          <p:cNvSpPr txBox="1"/>
          <p:nvPr/>
        </p:nvSpPr>
        <p:spPr>
          <a:xfrm>
            <a:off x="3115941" y="5642558"/>
            <a:ext cx="1073791" cy="30777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264E"/>
              </a:buClr>
              <a:buSzTx/>
              <a:buFontTx/>
              <a:buNone/>
              <a:tabLst/>
              <a:defRPr/>
            </a:pPr>
            <a:r>
              <a:rPr kumimoji="0" lang="en-US" sz="1000" b="0" i="0" u="none" strike="noStrike" kern="1200" cap="none" spc="-30" normalizeH="0" baseline="0" noProof="0" dirty="0">
                <a:ln>
                  <a:noFill/>
                </a:ln>
                <a:solidFill>
                  <a:schemeClr val="tx1">
                    <a:lumMod val="50000"/>
                    <a:lumOff val="50000"/>
                  </a:schemeClr>
                </a:solidFill>
                <a:effectLst/>
                <a:uLnTx/>
                <a:uFillTx/>
                <a:latin typeface="Work Sans Light" pitchFamily="2" charset="0"/>
              </a:rPr>
              <a:t>0%</a:t>
            </a:r>
          </a:p>
          <a:p>
            <a:pPr marL="0" marR="0" lvl="0" indent="0" algn="ctr" defTabSz="914400" rtl="0" eaLnBrk="1" fontAlgn="auto" latinLnBrk="0" hangingPunct="1">
              <a:lnSpc>
                <a:spcPct val="100000"/>
              </a:lnSpc>
              <a:spcBef>
                <a:spcPts val="0"/>
              </a:spcBef>
              <a:spcAft>
                <a:spcPts val="0"/>
              </a:spcAft>
              <a:buClr>
                <a:srgbClr val="00264E"/>
              </a:buClr>
              <a:buSzTx/>
              <a:buFontTx/>
              <a:buNone/>
              <a:tabLst/>
              <a:defRPr/>
            </a:pPr>
            <a:r>
              <a:rPr kumimoji="0" lang="en-US" sz="1000" b="0" i="0" u="none" strike="noStrike" kern="1200" cap="none" spc="-30" normalizeH="0" baseline="0" noProof="0" dirty="0">
                <a:ln>
                  <a:noFill/>
                </a:ln>
                <a:solidFill>
                  <a:schemeClr val="tx1">
                    <a:lumMod val="50000"/>
                    <a:lumOff val="50000"/>
                  </a:schemeClr>
                </a:solidFill>
                <a:effectLst/>
                <a:uLnTx/>
                <a:uFillTx/>
                <a:latin typeface="Work Sans Light" pitchFamily="2" charset="0"/>
              </a:rPr>
              <a:t>synthetic </a:t>
            </a:r>
          </a:p>
        </p:txBody>
      </p:sp>
      <p:sp>
        <p:nvSpPr>
          <p:cNvPr id="26" name="TextBox 25">
            <a:extLst>
              <a:ext uri="{FF2B5EF4-FFF2-40B4-BE49-F238E27FC236}">
                <a16:creationId xmlns:a16="http://schemas.microsoft.com/office/drawing/2014/main" id="{4437596C-CAC9-4D09-A00C-E7FBEB928DB2}"/>
              </a:ext>
            </a:extLst>
          </p:cNvPr>
          <p:cNvSpPr txBox="1"/>
          <p:nvPr/>
        </p:nvSpPr>
        <p:spPr>
          <a:xfrm>
            <a:off x="4930753" y="5642558"/>
            <a:ext cx="1073791" cy="30777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264E"/>
              </a:buClr>
              <a:buSzTx/>
              <a:buFontTx/>
              <a:buNone/>
              <a:tabLst/>
              <a:defRPr/>
            </a:pPr>
            <a:r>
              <a:rPr kumimoji="0" lang="en-US" sz="1000" b="0" i="0" u="none" strike="noStrike" kern="1200" cap="none" spc="-30" normalizeH="0" baseline="0" noProof="0" dirty="0">
                <a:ln>
                  <a:noFill/>
                </a:ln>
                <a:solidFill>
                  <a:schemeClr val="tx1">
                    <a:lumMod val="50000"/>
                    <a:lumOff val="50000"/>
                  </a:schemeClr>
                </a:solidFill>
                <a:effectLst/>
                <a:uLnTx/>
                <a:uFillTx/>
                <a:latin typeface="Work Sans Light" pitchFamily="2" charset="0"/>
              </a:rPr>
              <a:t>70%</a:t>
            </a:r>
          </a:p>
          <a:p>
            <a:pPr marL="0" marR="0" lvl="0" indent="0" algn="ctr" defTabSz="914400" rtl="0" eaLnBrk="1" fontAlgn="auto" latinLnBrk="0" hangingPunct="1">
              <a:lnSpc>
                <a:spcPct val="100000"/>
              </a:lnSpc>
              <a:spcBef>
                <a:spcPts val="0"/>
              </a:spcBef>
              <a:spcAft>
                <a:spcPts val="0"/>
              </a:spcAft>
              <a:buClr>
                <a:srgbClr val="00264E"/>
              </a:buClr>
              <a:buSzTx/>
              <a:buFontTx/>
              <a:buNone/>
              <a:tabLst/>
              <a:defRPr/>
            </a:pPr>
            <a:r>
              <a:rPr kumimoji="0" lang="en-US" sz="1000" b="0" i="0" u="none" strike="noStrike" kern="1200" cap="none" spc="-30" normalizeH="0" baseline="0" noProof="0" dirty="0">
                <a:ln>
                  <a:noFill/>
                </a:ln>
                <a:solidFill>
                  <a:schemeClr val="tx1">
                    <a:lumMod val="50000"/>
                    <a:lumOff val="50000"/>
                  </a:schemeClr>
                </a:solidFill>
                <a:effectLst/>
                <a:uLnTx/>
                <a:uFillTx/>
                <a:latin typeface="Work Sans Light" pitchFamily="2" charset="0"/>
              </a:rPr>
              <a:t>based on palm</a:t>
            </a:r>
          </a:p>
        </p:txBody>
      </p:sp>
      <p:sp>
        <p:nvSpPr>
          <p:cNvPr id="6" name="TextBox 5">
            <a:extLst>
              <a:ext uri="{FF2B5EF4-FFF2-40B4-BE49-F238E27FC236}">
                <a16:creationId xmlns:a16="http://schemas.microsoft.com/office/drawing/2014/main" id="{F613063D-A618-6F39-5803-CACD5751CDC0}"/>
              </a:ext>
            </a:extLst>
          </p:cNvPr>
          <p:cNvSpPr txBox="1"/>
          <p:nvPr/>
        </p:nvSpPr>
        <p:spPr>
          <a:xfrm>
            <a:off x="6745565" y="5653567"/>
            <a:ext cx="5003523" cy="553998"/>
          </a:xfrm>
          <a:prstGeom prst="rect">
            <a:avLst/>
          </a:prstGeom>
          <a:noFill/>
          <a:ln>
            <a:noFill/>
          </a:ln>
        </p:spPr>
        <p:txBody>
          <a:bodyPr wrap="square" lIns="0" tIns="0" rIns="0" bIns="0" rtlCol="0" anchor="t">
            <a:spAutoFit/>
          </a:bodyPr>
          <a:lstStyle>
            <a:defPPr>
              <a:defRPr lang="en-US"/>
            </a:defPPr>
            <a:lvl1pPr>
              <a:defRPr sz="900" spc="-30">
                <a:solidFill>
                  <a:schemeClr val="tx2"/>
                </a:solidFill>
              </a:defRPr>
            </a:lvl1pPr>
          </a:lstStyle>
          <a:p>
            <a:pPr>
              <a:defRPr/>
            </a:pPr>
            <a:r>
              <a:rPr kumimoji="0" lang="en-US" sz="900" b="0" i="1" u="none" strike="noStrike" kern="1200" cap="none" spc="-30" normalizeH="0" baseline="0" noProof="0" dirty="0">
                <a:ln>
                  <a:noFill/>
                </a:ln>
                <a:solidFill>
                  <a:schemeClr val="tx1">
                    <a:lumMod val="50000"/>
                    <a:lumOff val="50000"/>
                  </a:schemeClr>
                </a:solidFill>
                <a:effectLst/>
                <a:uLnTx/>
                <a:uFillTx/>
                <a:latin typeface="Work Sans Light" pitchFamily="2" charset="0"/>
              </a:rPr>
              <a:t>* Share of C-atoms from renewable sour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30" normalizeH="0" baseline="0" noProof="0" dirty="0">
                <a:ln>
                  <a:noFill/>
                </a:ln>
                <a:solidFill>
                  <a:schemeClr val="tx1">
                    <a:lumMod val="50000"/>
                    <a:lumOff val="50000"/>
                  </a:schemeClr>
                </a:solidFill>
                <a:effectLst/>
                <a:uLnTx/>
                <a:uFillTx/>
                <a:latin typeface="Work Sans Light" pitchFamily="2" charset="0"/>
              </a:rPr>
              <a:t>** Source: </a:t>
            </a:r>
            <a:r>
              <a:rPr kumimoji="0" lang="en-US" sz="900" b="0" i="1" u="none" strike="noStrike" kern="1200" cap="none" spc="-30" normalizeH="0" baseline="0" noProof="0" dirty="0" err="1">
                <a:ln>
                  <a:noFill/>
                </a:ln>
                <a:solidFill>
                  <a:schemeClr val="tx1">
                    <a:lumMod val="50000"/>
                    <a:lumOff val="50000"/>
                  </a:schemeClr>
                </a:solidFill>
                <a:effectLst/>
                <a:uLnTx/>
                <a:uFillTx/>
                <a:latin typeface="Work Sans Light" pitchFamily="2" charset="0"/>
              </a:rPr>
              <a:t>Sarruf</a:t>
            </a:r>
            <a:r>
              <a:rPr kumimoji="0" lang="en-US" sz="900" b="0" i="1" u="none" strike="noStrike" kern="1200" cap="none" spc="-30" normalizeH="0" baseline="0" noProof="0" dirty="0">
                <a:ln>
                  <a:noFill/>
                </a:ln>
                <a:solidFill>
                  <a:schemeClr val="tx1">
                    <a:lumMod val="50000"/>
                    <a:lumOff val="50000"/>
                  </a:schemeClr>
                </a:solidFill>
                <a:effectLst/>
                <a:uLnTx/>
                <a:uFillTx/>
                <a:latin typeface="Work Sans Light" pitchFamily="2" charset="0"/>
              </a:rPr>
              <a:t> Fernanda, Sauce Rafel, Candido Thalita, Oliviera Camila, Rosado Catarina, Velasco Maria, Baby André, Journal of Cosmetic Dermatology, May 2020, </a:t>
            </a:r>
            <a:r>
              <a:rPr kumimoji="0" lang="en-US" sz="900" b="0" i="1" u="none" strike="noStrike" kern="1200" cap="none" spc="-30" normalizeH="0" baseline="0" noProof="0" dirty="0" err="1">
                <a:ln>
                  <a:noFill/>
                </a:ln>
                <a:solidFill>
                  <a:schemeClr val="tx1">
                    <a:lumMod val="50000"/>
                    <a:lumOff val="50000"/>
                  </a:schemeClr>
                </a:solidFill>
                <a:effectLst/>
                <a:uLnTx/>
                <a:uFillTx/>
                <a:latin typeface="Work Sans Light" pitchFamily="2" charset="0"/>
              </a:rPr>
              <a:t>Butyrospermum</a:t>
            </a:r>
            <a:r>
              <a:rPr kumimoji="0" lang="en-US" sz="900" b="0" i="1" u="none" strike="noStrike" kern="1200" cap="none" spc="-30" normalizeH="0" baseline="0" noProof="0" dirty="0">
                <a:ln>
                  <a:noFill/>
                </a:ln>
                <a:solidFill>
                  <a:schemeClr val="tx1">
                    <a:lumMod val="50000"/>
                    <a:lumOff val="50000"/>
                  </a:schemeClr>
                </a:solidFill>
                <a:effectLst/>
                <a:uLnTx/>
                <a:uFillTx/>
                <a:latin typeface="Work Sans Light" pitchFamily="2" charset="0"/>
              </a:rPr>
              <a:t> </a:t>
            </a:r>
            <a:r>
              <a:rPr kumimoji="0" lang="en-US" sz="900" b="0" i="1" u="none" strike="noStrike" kern="1200" cap="none" spc="-30" normalizeH="0" baseline="0" noProof="0" dirty="0" err="1">
                <a:ln>
                  <a:noFill/>
                </a:ln>
                <a:solidFill>
                  <a:schemeClr val="tx1">
                    <a:lumMod val="50000"/>
                    <a:lumOff val="50000"/>
                  </a:schemeClr>
                </a:solidFill>
                <a:effectLst/>
                <a:uLnTx/>
                <a:uFillTx/>
                <a:latin typeface="Work Sans Light" pitchFamily="2" charset="0"/>
              </a:rPr>
              <a:t>parkii</a:t>
            </a:r>
            <a:r>
              <a:rPr kumimoji="0" lang="en-US" sz="900" b="0" i="1" u="none" strike="noStrike" kern="1200" cap="none" spc="-30" normalizeH="0" baseline="0" noProof="0" dirty="0">
                <a:ln>
                  <a:noFill/>
                </a:ln>
                <a:solidFill>
                  <a:schemeClr val="tx1">
                    <a:lumMod val="50000"/>
                    <a:lumOff val="50000"/>
                  </a:schemeClr>
                </a:solidFill>
                <a:effectLst/>
                <a:uLnTx/>
                <a:uFillTx/>
                <a:latin typeface="Work Sans Light" pitchFamily="2" charset="0"/>
              </a:rPr>
              <a:t> butter increased the photostability and in vivo SPF of a molded sunscreen system. </a:t>
            </a:r>
          </a:p>
        </p:txBody>
      </p:sp>
      <p:sp>
        <p:nvSpPr>
          <p:cNvPr id="10" name="Rectangle: Rounded Corners 9">
            <a:extLst>
              <a:ext uri="{FF2B5EF4-FFF2-40B4-BE49-F238E27FC236}">
                <a16:creationId xmlns:a16="http://schemas.microsoft.com/office/drawing/2014/main" id="{E7B68A1E-25C1-4BB8-92E4-173FCCA27798}"/>
              </a:ext>
            </a:extLst>
          </p:cNvPr>
          <p:cNvSpPr/>
          <p:nvPr/>
        </p:nvSpPr>
        <p:spPr>
          <a:xfrm>
            <a:off x="6745565" y="4429577"/>
            <a:ext cx="4922560" cy="1148815"/>
          </a:xfrm>
          <a:prstGeom prst="roundRect">
            <a:avLst/>
          </a:prstGeom>
          <a:solidFill>
            <a:schemeClr val="bg1"/>
          </a:solidFill>
          <a:ln w="28575" cap="flat">
            <a:solidFill>
              <a:srgbClr val="FFA240"/>
            </a:solidFill>
            <a:prstDash val="solid"/>
            <a:miter/>
          </a:ln>
        </p:spPr>
        <p:txBody>
          <a:bodyPr lIns="108000" tIns="36000" rIns="72000" bIns="72000" rtlCol="0" anchor="ctr"/>
          <a:lstStyle/>
          <a:p>
            <a:pPr algn="ctr">
              <a:spcAft>
                <a:spcPts val="600"/>
              </a:spcAft>
              <a:defRPr/>
            </a:pPr>
            <a:r>
              <a:rPr kumimoji="0" lang="en-US" sz="1400" b="1" u="none" strike="noStrike" kern="1200" cap="none" spc="-30" normalizeH="0" baseline="0" noProof="0" dirty="0">
                <a:ln>
                  <a:noFill/>
                </a:ln>
                <a:solidFill>
                  <a:srgbClr val="FFA240"/>
                </a:solidFill>
                <a:effectLst/>
                <a:uLnTx/>
                <a:uFillTx/>
                <a:latin typeface="Work Sans Light Italic" pitchFamily="2" charset="0"/>
              </a:rPr>
              <a:t>The story of Sun and She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30" normalizeH="0" baseline="0" noProof="0" dirty="0">
                <a:ln>
                  <a:noFill/>
                </a:ln>
                <a:solidFill>
                  <a:srgbClr val="00264E"/>
                </a:solidFill>
                <a:effectLst/>
                <a:uLnTx/>
                <a:uFillTx/>
                <a:latin typeface="Work Sans Light Italic" pitchFamily="2" charset="0"/>
              </a:rPr>
              <a:t>Shea is known for its inherent UV absorbing properties**, therefore a shea derivative such as Lipex SheaSolve is a great fit for formulations carrying sun protection claims</a:t>
            </a:r>
          </a:p>
        </p:txBody>
      </p:sp>
      <p:sp>
        <p:nvSpPr>
          <p:cNvPr id="7" name="TextBox 1">
            <a:extLst>
              <a:ext uri="{FF2B5EF4-FFF2-40B4-BE49-F238E27FC236}">
                <a16:creationId xmlns:a16="http://schemas.microsoft.com/office/drawing/2014/main" id="{BE9989D2-862F-E074-6F82-5B25BC794A56}"/>
              </a:ext>
            </a:extLst>
          </p:cNvPr>
          <p:cNvSpPr txBox="1"/>
          <p:nvPr/>
        </p:nvSpPr>
        <p:spPr>
          <a:xfrm>
            <a:off x="1258594" y="5433239"/>
            <a:ext cx="1190625" cy="184666"/>
          </a:xfrm>
          <a:prstGeom prst="rect">
            <a:avLst/>
          </a:prstGeom>
          <a:solidFill>
            <a:srgbClr val="FFFFFF"/>
          </a:solidFill>
          <a:ln>
            <a:noFill/>
          </a:ln>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buClr>
                <a:schemeClr val="tx2"/>
              </a:buClr>
            </a:pPr>
            <a:r>
              <a:rPr lang="fr-FR" sz="1200" kern="1200" spc="-30" dirty="0">
                <a:solidFill>
                  <a:srgbClr val="FF8300"/>
                </a:solidFill>
                <a:latin typeface="Work Sans Medium" pitchFamily="2" charset="0"/>
              </a:rPr>
              <a:t>Lipex SheaSolve</a:t>
            </a:r>
            <a:endParaRPr lang="en-GB" sz="1200" kern="1200" spc="-30" dirty="0">
              <a:solidFill>
                <a:srgbClr val="FF8300"/>
              </a:solidFill>
              <a:latin typeface="Work Sans Medium" pitchFamily="2" charset="0"/>
            </a:endParaRPr>
          </a:p>
        </p:txBody>
      </p:sp>
      <p:cxnSp>
        <p:nvCxnSpPr>
          <p:cNvPr id="9" name="Straight Arrow Connector 8">
            <a:extLst>
              <a:ext uri="{FF2B5EF4-FFF2-40B4-BE49-F238E27FC236}">
                <a16:creationId xmlns:a16="http://schemas.microsoft.com/office/drawing/2014/main" id="{2F4DF53F-9F99-3FEA-34D2-7E8542801887}"/>
              </a:ext>
            </a:extLst>
          </p:cNvPr>
          <p:cNvCxnSpPr>
            <a:cxnSpLocks/>
          </p:cNvCxnSpPr>
          <p:nvPr/>
        </p:nvCxnSpPr>
        <p:spPr>
          <a:xfrm flipV="1">
            <a:off x="3668159" y="2253285"/>
            <a:ext cx="0" cy="460800"/>
          </a:xfrm>
          <a:prstGeom prst="straightConnector1">
            <a:avLst/>
          </a:prstGeom>
          <a:ln w="19050">
            <a:solidFill>
              <a:srgbClr val="DC0000"/>
            </a:solidFill>
            <a:tailEnd type="triangle"/>
          </a:ln>
        </p:spPr>
        <p:style>
          <a:lnRef idx="1">
            <a:schemeClr val="accent5"/>
          </a:lnRef>
          <a:fillRef idx="0">
            <a:schemeClr val="accent5"/>
          </a:fillRef>
          <a:effectRef idx="0">
            <a:schemeClr val="accent5"/>
          </a:effectRef>
          <a:fontRef idx="minor">
            <a:schemeClr val="tx1"/>
          </a:fontRef>
        </p:style>
      </p:cxnSp>
      <p:cxnSp>
        <p:nvCxnSpPr>
          <p:cNvPr id="11" name="Straight Arrow Connector 10">
            <a:extLst>
              <a:ext uri="{FF2B5EF4-FFF2-40B4-BE49-F238E27FC236}">
                <a16:creationId xmlns:a16="http://schemas.microsoft.com/office/drawing/2014/main" id="{6CC5284A-1A8C-4224-D566-26C39C6B3F77}"/>
              </a:ext>
            </a:extLst>
          </p:cNvPr>
          <p:cNvCxnSpPr>
            <a:cxnSpLocks/>
          </p:cNvCxnSpPr>
          <p:nvPr/>
        </p:nvCxnSpPr>
        <p:spPr>
          <a:xfrm flipV="1">
            <a:off x="5487434" y="2253285"/>
            <a:ext cx="0" cy="1008000"/>
          </a:xfrm>
          <a:prstGeom prst="straightConnector1">
            <a:avLst/>
          </a:prstGeom>
          <a:ln w="19050">
            <a:solidFill>
              <a:srgbClr val="DC0000"/>
            </a:solidFill>
            <a:tailEnd type="triangle"/>
          </a:ln>
        </p:spPr>
        <p:style>
          <a:lnRef idx="1">
            <a:schemeClr val="accent5"/>
          </a:lnRef>
          <a:fillRef idx="0">
            <a:schemeClr val="accent5"/>
          </a:fillRef>
          <a:effectRef idx="0">
            <a:schemeClr val="accent5"/>
          </a:effectRef>
          <a:fontRef idx="minor">
            <a:schemeClr val="tx1"/>
          </a:fontRef>
        </p:style>
      </p:cxnSp>
      <p:sp>
        <p:nvSpPr>
          <p:cNvPr id="13" name="TextBox 12">
            <a:extLst>
              <a:ext uri="{FF2B5EF4-FFF2-40B4-BE49-F238E27FC236}">
                <a16:creationId xmlns:a16="http://schemas.microsoft.com/office/drawing/2014/main" id="{84AE3387-9B69-697D-95E6-4F85273EA818}"/>
              </a:ext>
            </a:extLst>
          </p:cNvPr>
          <p:cNvSpPr txBox="1"/>
          <p:nvPr/>
        </p:nvSpPr>
        <p:spPr>
          <a:xfrm>
            <a:off x="3764012" y="2404255"/>
            <a:ext cx="657225" cy="246221"/>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264E"/>
              </a:buClr>
              <a:buSzTx/>
              <a:buFontTx/>
              <a:buNone/>
              <a:tabLst/>
              <a:defRPr/>
            </a:pPr>
            <a:r>
              <a:rPr kumimoji="0" lang="en-US" sz="1600" b="0" i="0" u="none" strike="noStrike" kern="1200" cap="none" spc="-30" normalizeH="0" baseline="0" noProof="0" dirty="0">
                <a:ln>
                  <a:noFill/>
                </a:ln>
                <a:solidFill>
                  <a:srgbClr val="2067CA"/>
                </a:solidFill>
                <a:effectLst/>
                <a:uLnTx/>
                <a:uFillTx/>
                <a:latin typeface="Work Sans Medium" pitchFamily="2" charset="0"/>
              </a:rPr>
              <a:t>+22%</a:t>
            </a:r>
          </a:p>
        </p:txBody>
      </p:sp>
      <p:sp>
        <p:nvSpPr>
          <p:cNvPr id="14" name="TextBox 13">
            <a:extLst>
              <a:ext uri="{FF2B5EF4-FFF2-40B4-BE49-F238E27FC236}">
                <a16:creationId xmlns:a16="http://schemas.microsoft.com/office/drawing/2014/main" id="{EE98BD92-AD81-B429-9680-B6B7C7595F3E}"/>
              </a:ext>
            </a:extLst>
          </p:cNvPr>
          <p:cNvSpPr txBox="1"/>
          <p:nvPr/>
        </p:nvSpPr>
        <p:spPr>
          <a:xfrm>
            <a:off x="5557234" y="2743554"/>
            <a:ext cx="657225" cy="246221"/>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264E"/>
              </a:buClr>
              <a:buSzTx/>
              <a:buFontTx/>
              <a:buNone/>
              <a:tabLst/>
              <a:defRPr/>
            </a:pPr>
            <a:r>
              <a:rPr kumimoji="0" lang="en-US" sz="1600" i="0" u="none" strike="noStrike" kern="1200" cap="none" spc="-30" normalizeH="0" baseline="0" noProof="0" dirty="0">
                <a:ln>
                  <a:noFill/>
                </a:ln>
                <a:solidFill>
                  <a:srgbClr val="2067CA"/>
                </a:solidFill>
                <a:effectLst/>
                <a:uLnTx/>
                <a:uFillTx/>
                <a:latin typeface="Work Sans Medium" pitchFamily="2" charset="0"/>
              </a:rPr>
              <a:t>+54%</a:t>
            </a:r>
          </a:p>
        </p:txBody>
      </p:sp>
      <p:sp>
        <p:nvSpPr>
          <p:cNvPr id="15" name="TextBox 14">
            <a:extLst>
              <a:ext uri="{FF2B5EF4-FFF2-40B4-BE49-F238E27FC236}">
                <a16:creationId xmlns:a16="http://schemas.microsoft.com/office/drawing/2014/main" id="{EFB61AF3-C108-AF66-7515-7666DECC8B4F}"/>
              </a:ext>
            </a:extLst>
          </p:cNvPr>
          <p:cNvSpPr txBox="1"/>
          <p:nvPr/>
        </p:nvSpPr>
        <p:spPr>
          <a:xfrm>
            <a:off x="633667" y="5968119"/>
            <a:ext cx="6008403" cy="553998"/>
          </a:xfrm>
          <a:prstGeom prst="rect">
            <a:avLst/>
          </a:prstGeom>
          <a:noFill/>
          <a:ln>
            <a:noFill/>
          </a:ln>
        </p:spPr>
        <p:txBody>
          <a:bodyPr wrap="square" lIns="0" tIns="0" rIns="0" bIns="0" rtlCol="0" anchor="t">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b="0" i="1" u="none" strike="noStrike" kern="1200" cap="none" spc="-30" normalizeH="0" baseline="0" noProof="0" dirty="0">
                <a:ln>
                  <a:noFill/>
                </a:ln>
                <a:solidFill>
                  <a:schemeClr val="tx1">
                    <a:lumMod val="50000"/>
                    <a:lumOff val="50000"/>
                  </a:schemeClr>
                </a:solidFill>
                <a:effectLst/>
                <a:uLnTx/>
                <a:uFillTx/>
                <a:ea typeface="+mn-ea"/>
                <a:cs typeface="+mn-cs"/>
              </a:rPr>
              <a:t>SPF study conducted by </a:t>
            </a:r>
            <a:r>
              <a:rPr kumimoji="0" lang="en-US" sz="1000" b="0" i="1" u="none" strike="noStrike" kern="1200" cap="none" spc="-30" normalizeH="0" baseline="0" noProof="0" dirty="0" err="1">
                <a:ln>
                  <a:noFill/>
                </a:ln>
                <a:solidFill>
                  <a:schemeClr val="tx1">
                    <a:lumMod val="50000"/>
                    <a:lumOff val="50000"/>
                  </a:schemeClr>
                </a:solidFill>
                <a:effectLst/>
                <a:uLnTx/>
                <a:uFillTx/>
                <a:ea typeface="+mn-ea"/>
                <a:cs typeface="+mn-cs"/>
              </a:rPr>
              <a:t>Helioscience</a:t>
            </a:r>
            <a:r>
              <a:rPr kumimoji="0" lang="en-US" sz="1000" b="0" i="1" u="none" strike="noStrike" kern="1200" cap="none" spc="-30" normalizeH="0" baseline="0" noProof="0" dirty="0">
                <a:ln>
                  <a:noFill/>
                </a:ln>
                <a:solidFill>
                  <a:schemeClr val="tx1">
                    <a:lumMod val="50000"/>
                    <a:lumOff val="50000"/>
                  </a:schemeClr>
                </a:solidFill>
                <a:effectLst/>
                <a:uLnTx/>
                <a:uFillTx/>
                <a:ea typeface="+mn-ea"/>
                <a:cs typeface="+mn-cs"/>
              </a:rPr>
              <a:t> using an adapted in vitro method for mineral sunscreens with good correlation with in vivo SPF method. </a:t>
            </a:r>
          </a:p>
          <a:p>
            <a:pPr marR="0" lvl="0" algn="l" defTabSz="914400" rtl="0" eaLnBrk="1" fontAlgn="auto" latinLnBrk="0" hangingPunct="1">
              <a:lnSpc>
                <a:spcPct val="100000"/>
              </a:lnSpc>
              <a:spcBef>
                <a:spcPts val="0"/>
              </a:spcBef>
              <a:spcAft>
                <a:spcPts val="0"/>
              </a:spcAft>
              <a:buClrTx/>
              <a:buSzTx/>
              <a:tabLst/>
              <a:defRPr/>
            </a:pPr>
            <a:endParaRPr kumimoji="0" lang="en-US" sz="1600" b="0" i="0" u="none" strike="noStrike" kern="1200" cap="none" spc="-30" normalizeH="0" baseline="0" noProof="0" dirty="0">
              <a:ln>
                <a:noFill/>
              </a:ln>
              <a:solidFill>
                <a:srgbClr val="00264E"/>
              </a:solidFill>
              <a:effectLst/>
              <a:uLnTx/>
              <a:uFillTx/>
              <a:ea typeface="+mn-ea"/>
              <a:cs typeface="+mn-cs"/>
            </a:endParaRPr>
          </a:p>
        </p:txBody>
      </p:sp>
    </p:spTree>
    <p:extLst>
      <p:ext uri="{BB962C8B-B14F-4D97-AF65-F5344CB8AC3E}">
        <p14:creationId xmlns:p14="http://schemas.microsoft.com/office/powerpoint/2010/main" val="30585520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3C27F3-507D-EF34-0BBE-69F53276524B}"/>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242CDEC3-92A5-1762-E110-29B882F7B2B8}"/>
              </a:ext>
            </a:extLst>
          </p:cNvPr>
          <p:cNvSpPr>
            <a:spLocks noGrp="1"/>
          </p:cNvSpPr>
          <p:nvPr>
            <p:ph type="ftr" sz="quarter" idx="11"/>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t>The Co-Development Company</a:t>
            </a:r>
            <a:endParaRPr lang="en-US" sz="1000" noProof="0"/>
          </a:p>
        </p:txBody>
      </p:sp>
      <p:sp>
        <p:nvSpPr>
          <p:cNvPr id="4" name="Slide Number Placeholder 3">
            <a:extLst>
              <a:ext uri="{FF2B5EF4-FFF2-40B4-BE49-F238E27FC236}">
                <a16:creationId xmlns:a16="http://schemas.microsoft.com/office/drawing/2014/main" id="{BE0964E4-99FC-FF51-CE69-21F543427847}"/>
              </a:ext>
            </a:extLst>
          </p:cNvPr>
          <p:cNvSpPr>
            <a:spLocks noGrp="1"/>
          </p:cNvSpPr>
          <p:nvPr>
            <p:ph type="sldNum" sz="quarter" idx="12"/>
          </p:nvPr>
        </p:nvSpPr>
        <p:spPr>
          <a:xfrm>
            <a:off x="11376660" y="6472030"/>
            <a:ext cx="372428" cy="153888"/>
          </a:xfrm>
          <a:prstGeom prst="rect">
            <a:avLst/>
          </a:prstGeom>
        </p:spPr>
        <p:txBody>
          <a:bodyPr vert="horz" wrap="squar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03DD7B-12C8-43B8-9F45-989336E79744}" type="slidenum">
              <a:rPr lang="en-US" sz="1000" smtClean="0"/>
              <a:pPr/>
              <a:t>8</a:t>
            </a:fld>
            <a:endParaRPr lang="en-US" sz="1000"/>
          </a:p>
        </p:txBody>
      </p:sp>
      <p:sp>
        <p:nvSpPr>
          <p:cNvPr id="7" name="Date Placeholder 6">
            <a:extLst>
              <a:ext uri="{FF2B5EF4-FFF2-40B4-BE49-F238E27FC236}">
                <a16:creationId xmlns:a16="http://schemas.microsoft.com/office/drawing/2014/main" id="{6310EFB9-F639-C5E6-6997-B729FA883563}"/>
              </a:ext>
            </a:extLst>
          </p:cNvPr>
          <p:cNvSpPr>
            <a:spLocks noGrp="1"/>
          </p:cNvSpPr>
          <p:nvPr>
            <p:ph type="dt" sz="half" idx="10"/>
          </p:nvPr>
        </p:nvSpPr>
        <p:spPr>
          <a:xfrm>
            <a:off x="10542897" y="6472030"/>
            <a:ext cx="626774"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60B2C05-1104-41BB-B925-7E3352CEED91}" type="datetime1">
              <a:rPr lang="en-GB" sz="1000" smtClean="0"/>
              <a:pPr/>
              <a:t>18/06/2025</a:t>
            </a:fld>
            <a:endParaRPr lang="en-US" sz="1000"/>
          </a:p>
        </p:txBody>
      </p:sp>
      <p:pic>
        <p:nvPicPr>
          <p:cNvPr id="15" name="Online Media 14" title="Comparative viscosity of Lipex SheaSolve">
            <a:hlinkClick r:id="" action="ppaction://media"/>
            <a:extLst>
              <a:ext uri="{FF2B5EF4-FFF2-40B4-BE49-F238E27FC236}">
                <a16:creationId xmlns:a16="http://schemas.microsoft.com/office/drawing/2014/main" id="{100BE667-97DF-39FC-2B2E-3B312C804D89}"/>
              </a:ext>
            </a:extLst>
          </p:cNvPr>
          <p:cNvPicPr>
            <a:picLocks noRot="1" noChangeAspect="1"/>
          </p:cNvPicPr>
          <p:nvPr>
            <a:videoFile r:link="rId1"/>
          </p:nvPr>
        </p:nvPicPr>
        <p:blipFill>
          <a:blip r:embed="rId3"/>
          <a:stretch>
            <a:fillRect/>
          </a:stretch>
        </p:blipFill>
        <p:spPr>
          <a:xfrm>
            <a:off x="1859280" y="1309324"/>
            <a:ext cx="8811327" cy="4978400"/>
          </a:xfrm>
          <a:prstGeom prst="rect">
            <a:avLst/>
          </a:prstGeom>
          <a:ln>
            <a:noFill/>
          </a:ln>
        </p:spPr>
      </p:pic>
      <p:pic>
        <p:nvPicPr>
          <p:cNvPr id="2" name="Picture 1">
            <a:extLst>
              <a:ext uri="{FF2B5EF4-FFF2-40B4-BE49-F238E27FC236}">
                <a16:creationId xmlns:a16="http://schemas.microsoft.com/office/drawing/2014/main" id="{C04A6A83-4243-999D-C53C-2BA167D1509D}"/>
              </a:ext>
            </a:extLst>
          </p:cNvPr>
          <p:cNvPicPr>
            <a:picLocks noChangeAspect="1"/>
          </p:cNvPicPr>
          <p:nvPr/>
        </p:nvPicPr>
        <p:blipFill>
          <a:blip r:embed="rId4"/>
          <a:stretch>
            <a:fillRect/>
          </a:stretch>
        </p:blipFill>
        <p:spPr>
          <a:xfrm>
            <a:off x="0" y="6310637"/>
            <a:ext cx="1322017" cy="543406"/>
          </a:xfrm>
          <a:prstGeom prst="rect">
            <a:avLst/>
          </a:prstGeom>
        </p:spPr>
      </p:pic>
      <p:sp>
        <p:nvSpPr>
          <p:cNvPr id="5" name="Titel 12">
            <a:extLst>
              <a:ext uri="{FF2B5EF4-FFF2-40B4-BE49-F238E27FC236}">
                <a16:creationId xmlns:a16="http://schemas.microsoft.com/office/drawing/2014/main" id="{D9C2EB66-D2F5-6C36-D2E2-DE6932BF275C}"/>
              </a:ext>
            </a:extLst>
          </p:cNvPr>
          <p:cNvSpPr>
            <a:spLocks noGrp="1"/>
          </p:cNvSpPr>
          <p:nvPr>
            <p:ph type="title"/>
          </p:nvPr>
        </p:nvSpPr>
        <p:spPr>
          <a:xfrm>
            <a:off x="299162" y="364810"/>
            <a:ext cx="10870509" cy="775597"/>
          </a:xfrm>
        </p:spPr>
        <p:txBody>
          <a:bodyPr/>
          <a:lstStyle/>
          <a:p>
            <a:r>
              <a:rPr lang="en-GB" sz="3200" dirty="0"/>
              <a:t>LIPEX</a:t>
            </a:r>
            <a:r>
              <a:rPr lang="en-GB" sz="3200" baseline="30000" dirty="0"/>
              <a:t>®</a:t>
            </a:r>
            <a:r>
              <a:rPr lang="en-GB" sz="3200" dirty="0"/>
              <a:t> SheaSolve</a:t>
            </a:r>
            <a:r>
              <a:rPr lang="en-GB" sz="3200" baseline="30000" dirty="0"/>
              <a:t>™</a:t>
            </a:r>
            <a:r>
              <a:rPr lang="en-GB" sz="3200" dirty="0"/>
              <a:t> in suncare </a:t>
            </a:r>
            <a:r>
              <a:rPr lang="en-US" dirty="0"/>
              <a:t>with inorganic UV filters</a:t>
            </a:r>
            <a:br>
              <a:rPr lang="en-GB" dirty="0"/>
            </a:br>
            <a:r>
              <a:rPr lang="en-US" sz="1800" dirty="0"/>
              <a:t>Achieve low viscosity and high flowability mineral UV filter dispersions</a:t>
            </a:r>
            <a:endParaRPr lang="da-DK" dirty="0">
              <a:solidFill>
                <a:srgbClr val="00264E"/>
              </a:solidFill>
            </a:endParaRPr>
          </a:p>
        </p:txBody>
      </p:sp>
      <p:sp>
        <p:nvSpPr>
          <p:cNvPr id="6" name="TextBox 5">
            <a:extLst>
              <a:ext uri="{FF2B5EF4-FFF2-40B4-BE49-F238E27FC236}">
                <a16:creationId xmlns:a16="http://schemas.microsoft.com/office/drawing/2014/main" id="{883DFD1E-3EEF-6AB7-8293-2C4C23054B01}"/>
              </a:ext>
            </a:extLst>
          </p:cNvPr>
          <p:cNvSpPr txBox="1"/>
          <p:nvPr/>
        </p:nvSpPr>
        <p:spPr>
          <a:xfrm>
            <a:off x="299162" y="1428750"/>
            <a:ext cx="1322016" cy="984885"/>
          </a:xfrm>
          <a:prstGeom prst="rect">
            <a:avLst/>
          </a:prstGeom>
          <a:noFill/>
          <a:ln>
            <a:noFill/>
          </a:ln>
        </p:spPr>
        <p:txBody>
          <a:bodyPr wrap="square" lIns="0" tIns="0" rIns="0" bIns="0" rtlCol="0">
            <a:spAutoFit/>
          </a:bodyPr>
          <a:lstStyle/>
          <a:p>
            <a:pPr algn="l">
              <a:buClr>
                <a:schemeClr val="tx2"/>
              </a:buClr>
            </a:pPr>
            <a:r>
              <a:rPr lang="fr-FR" sz="1600" spc="-30" dirty="0">
                <a:solidFill>
                  <a:srgbClr val="0070C0"/>
                </a:solidFill>
              </a:rPr>
              <a:t>This </a:t>
            </a:r>
            <a:r>
              <a:rPr lang="fr-FR" sz="1600" spc="-30" dirty="0" err="1">
                <a:solidFill>
                  <a:srgbClr val="0070C0"/>
                </a:solidFill>
              </a:rPr>
              <a:t>video</a:t>
            </a:r>
            <a:r>
              <a:rPr lang="fr-FR" sz="1600" spc="-30" dirty="0">
                <a:solidFill>
                  <a:srgbClr val="0070C0"/>
                </a:solidFill>
              </a:rPr>
              <a:t> </a:t>
            </a:r>
            <a:r>
              <a:rPr lang="fr-FR" sz="1600" spc="-30" dirty="0" err="1">
                <a:solidFill>
                  <a:srgbClr val="0070C0"/>
                </a:solidFill>
              </a:rPr>
              <a:t>says</a:t>
            </a:r>
            <a:r>
              <a:rPr lang="fr-FR" sz="1600" spc="-30" dirty="0">
                <a:solidFill>
                  <a:srgbClr val="0070C0"/>
                </a:solidFill>
              </a:rPr>
              <a:t> </a:t>
            </a:r>
            <a:r>
              <a:rPr lang="fr-FR" sz="1600" spc="-30" dirty="0" err="1">
                <a:solidFill>
                  <a:srgbClr val="0070C0"/>
                </a:solidFill>
              </a:rPr>
              <a:t>it</a:t>
            </a:r>
            <a:r>
              <a:rPr lang="fr-FR" sz="1600" spc="-30" dirty="0">
                <a:solidFill>
                  <a:srgbClr val="0070C0"/>
                </a:solidFill>
              </a:rPr>
              <a:t> all – </a:t>
            </a:r>
            <a:r>
              <a:rPr lang="fr-FR" sz="1600" spc="-30" dirty="0" err="1">
                <a:solidFill>
                  <a:srgbClr val="0070C0"/>
                </a:solidFill>
              </a:rPr>
              <a:t>watch</a:t>
            </a:r>
            <a:r>
              <a:rPr lang="fr-FR" sz="1600" spc="-30" dirty="0">
                <a:solidFill>
                  <a:srgbClr val="0070C0"/>
                </a:solidFill>
              </a:rPr>
              <a:t> for </a:t>
            </a:r>
            <a:r>
              <a:rPr lang="fr-FR" sz="1600" spc="-30" dirty="0" err="1">
                <a:solidFill>
                  <a:srgbClr val="0070C0"/>
                </a:solidFill>
              </a:rPr>
              <a:t>yourself</a:t>
            </a:r>
            <a:r>
              <a:rPr lang="fr-FR" sz="1600" spc="-30" dirty="0">
                <a:solidFill>
                  <a:srgbClr val="0070C0"/>
                </a:solidFill>
              </a:rPr>
              <a:t> !</a:t>
            </a:r>
            <a:endParaRPr lang="en-GB" sz="1600" spc="-30" dirty="0">
              <a:solidFill>
                <a:srgbClr val="0070C0"/>
              </a:solidFill>
            </a:endParaRPr>
          </a:p>
        </p:txBody>
      </p:sp>
    </p:spTree>
    <p:extLst>
      <p:ext uri="{BB962C8B-B14F-4D97-AF65-F5344CB8AC3E}">
        <p14:creationId xmlns:p14="http://schemas.microsoft.com/office/powerpoint/2010/main" val="250933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5"/>
                </p:tgtEl>
              </p:cMediaNode>
            </p:video>
            <p:seq concurrent="1" nextAc="seek">
              <p:cTn id="8" restart="whenNotActive" fill="hold" evtFilter="cancelBubble" nodeType="interactiveSeq">
                <p:stCondLst>
                  <p:cond evt="onClick" delay="0">
                    <p:tgtEl>
                      <p:spTgt spid="1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5"/>
                                        </p:tgtEl>
                                      </p:cBhvr>
                                    </p:cmd>
                                  </p:childTnLst>
                                </p:cTn>
                              </p:par>
                            </p:childTnLst>
                          </p:cTn>
                        </p:par>
                      </p:childTnLst>
                    </p:cTn>
                  </p:par>
                </p:childTnLst>
              </p:cTn>
              <p:nextCondLst>
                <p:cond evt="onClick" delay="0">
                  <p:tgtEl>
                    <p:spTgt spid="15"/>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7C0581F-41D7-4462-8D4C-77FEF1C693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 name="Object 6" hidden="1">
                        <a:extLst>
                          <a:ext uri="{FF2B5EF4-FFF2-40B4-BE49-F238E27FC236}">
                            <a16:creationId xmlns:a16="http://schemas.microsoft.com/office/drawing/2014/main" id="{D7C0581F-41D7-4462-8D4C-77FEF1C693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E3D832F2-81DC-4E34-8738-CBF02FBCA86B}"/>
              </a:ext>
            </a:extLst>
          </p:cNvPr>
          <p:cNvSpPr>
            <a:spLocks noGrp="1"/>
          </p:cNvSpPr>
          <p:nvPr>
            <p:ph type="dt" sz="half" idx="10"/>
          </p:nvPr>
        </p:nvSpPr>
        <p:spPr>
          <a:xfrm>
            <a:off x="10406641" y="6456641"/>
            <a:ext cx="763030" cy="184666"/>
          </a:xfrm>
          <a:prstGeom prst="rect">
            <a:avLst/>
          </a:prstGeom>
        </p:spPr>
        <p:txBody>
          <a:bodyPr vert="horz" wrap="non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0411AB-0EC6-4C54-94AD-6B1F155CCF3C}" type="datetime1">
              <a:rPr lang="en-GB" smtClean="0"/>
              <a:pPr/>
              <a:t>18/06/2025</a:t>
            </a:fld>
            <a:endParaRPr lang="en-US" noProof="0"/>
          </a:p>
        </p:txBody>
      </p:sp>
      <p:sp>
        <p:nvSpPr>
          <p:cNvPr id="4" name="Footer Placeholder 3">
            <a:extLst>
              <a:ext uri="{FF2B5EF4-FFF2-40B4-BE49-F238E27FC236}">
                <a16:creationId xmlns:a16="http://schemas.microsoft.com/office/drawing/2014/main" id="{DCF25026-2421-4744-AC85-03293FA5B3D2}"/>
              </a:ext>
            </a:extLst>
          </p:cNvPr>
          <p:cNvSpPr>
            <a:spLocks noGrp="1"/>
          </p:cNvSpPr>
          <p:nvPr>
            <p:ph type="ftr" sz="quarter" idx="11"/>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t>The Co-Development Company</a:t>
            </a:r>
            <a:endParaRPr lang="en-US" sz="1000" noProof="0" dirty="0"/>
          </a:p>
        </p:txBody>
      </p:sp>
      <p:sp>
        <p:nvSpPr>
          <p:cNvPr id="5" name="Slide Number Placeholder 4">
            <a:extLst>
              <a:ext uri="{FF2B5EF4-FFF2-40B4-BE49-F238E27FC236}">
                <a16:creationId xmlns:a16="http://schemas.microsoft.com/office/drawing/2014/main" id="{93A267AA-1C2F-46A3-916F-6DCFE934B179}"/>
              </a:ext>
            </a:extLst>
          </p:cNvPr>
          <p:cNvSpPr>
            <a:spLocks noGrp="1"/>
          </p:cNvSpPr>
          <p:nvPr>
            <p:ph type="sldNum" sz="quarter" idx="12"/>
          </p:nvPr>
        </p:nvSpPr>
        <p:spPr>
          <a:xfrm>
            <a:off x="11376660" y="6456641"/>
            <a:ext cx="372428" cy="184666"/>
          </a:xfrm>
          <a:prstGeom prst="rect">
            <a:avLst/>
          </a:prstGeom>
        </p:spPr>
        <p:txBody>
          <a:bodyPr vert="horz" wrap="squar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03DD7B-12C8-43B8-9F45-989336E79744}" type="slidenum">
              <a:rPr lang="en-US" smtClean="0"/>
              <a:pPr/>
              <a:t>9</a:t>
            </a:fld>
            <a:endParaRPr lang="en-US" noProof="0"/>
          </a:p>
        </p:txBody>
      </p:sp>
      <p:sp>
        <p:nvSpPr>
          <p:cNvPr id="8" name="Content Placeholder 7">
            <a:extLst>
              <a:ext uri="{FF2B5EF4-FFF2-40B4-BE49-F238E27FC236}">
                <a16:creationId xmlns:a16="http://schemas.microsoft.com/office/drawing/2014/main" id="{581B16BC-8F1B-4DD3-9468-D281D19937CA}"/>
              </a:ext>
            </a:extLst>
          </p:cNvPr>
          <p:cNvSpPr>
            <a:spLocks noGrp="1"/>
          </p:cNvSpPr>
          <p:nvPr>
            <p:ph sz="quarter" idx="13"/>
          </p:nvPr>
        </p:nvSpPr>
        <p:spPr>
          <a:xfrm>
            <a:off x="442913" y="1269509"/>
            <a:ext cx="8354578" cy="1633882"/>
          </a:xfrm>
          <a:noFill/>
        </p:spPr>
        <p:txBody>
          <a:bodyPr vert="horz" wrap="square" lIns="108000" tIns="108000" rIns="108000" bIns="108000" rtlCol="0" anchor="t">
            <a:spAutoFit/>
          </a:bodyPr>
          <a:lstStyle/>
          <a:p>
            <a:pPr marL="0" indent="0">
              <a:buNone/>
            </a:pPr>
            <a:r>
              <a:rPr lang="en-US" dirty="0">
                <a:solidFill>
                  <a:schemeClr val="tx1"/>
                </a:solidFill>
                <a:ea typeface="+mn-lt"/>
                <a:cs typeface="+mn-lt"/>
              </a:rPr>
              <a:t>We have previously seen that a 20% zinc oxide dispersion in </a:t>
            </a:r>
            <a:r>
              <a:rPr lang="en-GB" dirty="0">
                <a:solidFill>
                  <a:schemeClr val="tx1"/>
                </a:solidFill>
                <a:ea typeface="+mn-lt"/>
                <a:cs typeface="+mn-lt"/>
              </a:rPr>
              <a:t>LIPEX</a:t>
            </a:r>
            <a:r>
              <a:rPr lang="en-GB" baseline="30000" dirty="0">
                <a:solidFill>
                  <a:schemeClr val="tx1"/>
                </a:solidFill>
                <a:ea typeface="+mn-lt"/>
                <a:cs typeface="+mn-lt"/>
              </a:rPr>
              <a:t>®</a:t>
            </a:r>
            <a:r>
              <a:rPr lang="en-GB" dirty="0">
                <a:solidFill>
                  <a:schemeClr val="tx1"/>
                </a:solidFill>
                <a:ea typeface="+mn-lt"/>
                <a:cs typeface="+mn-lt"/>
              </a:rPr>
              <a:t> SheaSolve</a:t>
            </a:r>
            <a:r>
              <a:rPr lang="en-GB" baseline="30000" dirty="0">
                <a:solidFill>
                  <a:schemeClr val="tx1"/>
                </a:solidFill>
                <a:ea typeface="+mn-lt"/>
                <a:cs typeface="+mn-lt"/>
              </a:rPr>
              <a:t>™</a:t>
            </a:r>
            <a:r>
              <a:rPr lang="en-US" dirty="0">
                <a:solidFill>
                  <a:schemeClr val="tx1"/>
                </a:solidFill>
                <a:ea typeface="+mn-lt"/>
                <a:cs typeface="+mn-lt"/>
              </a:rPr>
              <a:t> </a:t>
            </a:r>
          </a:p>
          <a:p>
            <a:pPr marL="0" indent="0">
              <a:buNone/>
            </a:pPr>
            <a:r>
              <a:rPr lang="en-US" dirty="0">
                <a:solidFill>
                  <a:schemeClr val="tx1"/>
                </a:solidFill>
                <a:ea typeface="+mn-lt"/>
                <a:cs typeface="+mn-lt"/>
              </a:rPr>
              <a:t>delivers:</a:t>
            </a:r>
          </a:p>
          <a:p>
            <a:pPr marL="447675" indent="-266700">
              <a:buSzPct val="80000"/>
              <a:buFont typeface="Wingdings" panose="05000000000000000000" pitchFamily="2" charset="2"/>
              <a:buChar char="ü"/>
            </a:pPr>
            <a:r>
              <a:rPr lang="en-US" dirty="0">
                <a:solidFill>
                  <a:schemeClr val="tx1"/>
                </a:solidFill>
                <a:ea typeface="+mn-lt"/>
                <a:cs typeface="+mn-lt"/>
              </a:rPr>
              <a:t>Improved wetting</a:t>
            </a:r>
          </a:p>
          <a:p>
            <a:pPr marL="447675" indent="-266700">
              <a:buSzPct val="80000"/>
              <a:buFont typeface="Wingdings" panose="05000000000000000000" pitchFamily="2" charset="2"/>
              <a:buChar char="ü"/>
            </a:pPr>
            <a:r>
              <a:rPr lang="en-US" dirty="0">
                <a:solidFill>
                  <a:schemeClr val="tx1"/>
                </a:solidFill>
                <a:ea typeface="+mn-lt"/>
                <a:cs typeface="+mn-lt"/>
              </a:rPr>
              <a:t>Lower agglomeration</a:t>
            </a:r>
          </a:p>
          <a:p>
            <a:pPr marL="447675" indent="-266700">
              <a:buSzPct val="80000"/>
              <a:buFont typeface="Wingdings" panose="05000000000000000000" pitchFamily="2" charset="2"/>
              <a:buChar char="ü"/>
            </a:pPr>
            <a:r>
              <a:rPr lang="en-US" dirty="0">
                <a:solidFill>
                  <a:schemeClr val="tx1"/>
                </a:solidFill>
                <a:ea typeface="+mn-lt"/>
                <a:cs typeface="+mn-lt"/>
              </a:rPr>
              <a:t>Lower viscosity</a:t>
            </a:r>
          </a:p>
        </p:txBody>
      </p:sp>
      <p:sp>
        <p:nvSpPr>
          <p:cNvPr id="2" name="Title 1">
            <a:extLst>
              <a:ext uri="{FF2B5EF4-FFF2-40B4-BE49-F238E27FC236}">
                <a16:creationId xmlns:a16="http://schemas.microsoft.com/office/drawing/2014/main" id="{664AC047-39B1-4AEA-ABB2-23DCDC9BAED1}"/>
              </a:ext>
            </a:extLst>
          </p:cNvPr>
          <p:cNvSpPr>
            <a:spLocks noGrp="1"/>
          </p:cNvSpPr>
          <p:nvPr>
            <p:ph type="title"/>
          </p:nvPr>
        </p:nvSpPr>
        <p:spPr>
          <a:xfrm>
            <a:off x="442913" y="354040"/>
            <a:ext cx="9558337" cy="775597"/>
          </a:xfrm>
        </p:spPr>
        <p:txBody>
          <a:bodyPr vert="horz"/>
          <a:lstStyle/>
          <a:p>
            <a:r>
              <a:rPr lang="fr-FR" spc="-150" noProof="0" dirty="0"/>
              <a:t>LIPEX</a:t>
            </a:r>
            <a:r>
              <a:rPr lang="fr-FR" spc="-150" baseline="30000" noProof="0" dirty="0"/>
              <a:t>®</a:t>
            </a:r>
            <a:r>
              <a:rPr lang="fr-FR" spc="-150" noProof="0" dirty="0"/>
              <a:t> SheaSolve</a:t>
            </a:r>
            <a:r>
              <a:rPr lang="fr-FR" spc="-150" baseline="30000" noProof="0" dirty="0"/>
              <a:t>™ </a:t>
            </a:r>
            <a:r>
              <a:rPr lang="en-GB" sz="2800" spc="-150" dirty="0">
                <a:latin typeface="Work Sans Medium" pitchFamily="2" charset="0"/>
              </a:rPr>
              <a:t>in suncare </a:t>
            </a:r>
            <a:r>
              <a:rPr lang="en-US" spc="-150" dirty="0">
                <a:latin typeface="Work Sans Medium" pitchFamily="2" charset="0"/>
              </a:rPr>
              <a:t>with inorganic UV filters </a:t>
            </a:r>
            <a:r>
              <a:rPr lang="en-GB" sz="2800" spc="-150" dirty="0">
                <a:latin typeface="Work Sans Medium" pitchFamily="2" charset="0"/>
              </a:rPr>
              <a:t> </a:t>
            </a:r>
            <a:br>
              <a:rPr lang="fr-FR" baseline="30000" noProof="0" dirty="0"/>
            </a:br>
            <a:r>
              <a:rPr lang="en-US" sz="1800" noProof="0" dirty="0"/>
              <a:t>R</a:t>
            </a:r>
            <a:r>
              <a:rPr lang="en-US" sz="1800" dirty="0"/>
              <a:t>educed ghosting of your formulations</a:t>
            </a:r>
            <a:endParaRPr lang="fr-FR" sz="1800" noProof="0" dirty="0">
              <a:solidFill>
                <a:srgbClr val="00264E"/>
              </a:solidFill>
            </a:endParaRPr>
          </a:p>
        </p:txBody>
      </p:sp>
      <p:pic>
        <p:nvPicPr>
          <p:cNvPr id="13" name="Picture Placeholder 12" descr="A person with a white face and hat&#10;&#10;AI-generated content may be incorrect.">
            <a:extLst>
              <a:ext uri="{FF2B5EF4-FFF2-40B4-BE49-F238E27FC236}">
                <a16:creationId xmlns:a16="http://schemas.microsoft.com/office/drawing/2014/main" id="{63D9786C-78BD-0CE9-C30C-F4FE1104BD25}"/>
              </a:ext>
            </a:extLst>
          </p:cNvPr>
          <p:cNvPicPr>
            <a:picLocks noGrp="1" noChangeAspect="1"/>
          </p:cNvPicPr>
          <p:nvPr>
            <p:ph type="pic" sz="quarter" idx="15"/>
          </p:nvPr>
        </p:nvPicPr>
        <p:blipFill>
          <a:blip r:embed="rId5"/>
          <a:srcRect l="5538" r="5538"/>
          <a:stretch>
            <a:fillRect/>
          </a:stretch>
        </p:blipFill>
        <p:spPr/>
      </p:pic>
      <p:sp>
        <p:nvSpPr>
          <p:cNvPr id="9" name="TextBox 8">
            <a:extLst>
              <a:ext uri="{FF2B5EF4-FFF2-40B4-BE49-F238E27FC236}">
                <a16:creationId xmlns:a16="http://schemas.microsoft.com/office/drawing/2014/main" id="{7807BC6D-2568-47B0-B03F-E3FEC9191FF8}"/>
              </a:ext>
            </a:extLst>
          </p:cNvPr>
          <p:cNvSpPr txBox="1"/>
          <p:nvPr/>
        </p:nvSpPr>
        <p:spPr>
          <a:xfrm>
            <a:off x="430284" y="6115933"/>
            <a:ext cx="6651606" cy="161583"/>
          </a:xfrm>
          <a:prstGeom prst="rect">
            <a:avLst/>
          </a:prstGeom>
          <a:noFill/>
          <a:ln>
            <a:noFill/>
          </a:ln>
        </p:spPr>
        <p:txBody>
          <a:bodyPr wrap="square" lIns="0" tIns="0" rIns="0" bIns="0" rtlCol="0">
            <a:spAutoFit/>
          </a:bodyPr>
          <a:lstStyle/>
          <a:p>
            <a:pPr algn="l">
              <a:buClr>
                <a:schemeClr val="tx2"/>
              </a:buClr>
            </a:pPr>
            <a:r>
              <a:rPr lang="en-US" sz="1050" spc="-30" dirty="0">
                <a:solidFill>
                  <a:schemeClr val="tx2"/>
                </a:solidFill>
              </a:rPr>
              <a:t> </a:t>
            </a:r>
          </a:p>
        </p:txBody>
      </p:sp>
      <p:pic>
        <p:nvPicPr>
          <p:cNvPr id="17" name="Picture 16">
            <a:extLst>
              <a:ext uri="{FF2B5EF4-FFF2-40B4-BE49-F238E27FC236}">
                <a16:creationId xmlns:a16="http://schemas.microsoft.com/office/drawing/2014/main" id="{D1FB743B-27AB-4C68-9FD7-EBDBAC43C283}"/>
              </a:ext>
            </a:extLst>
          </p:cNvPr>
          <p:cNvPicPr>
            <a:picLocks noChangeAspect="1"/>
          </p:cNvPicPr>
          <p:nvPr/>
        </p:nvPicPr>
        <p:blipFill rotWithShape="1">
          <a:blip r:embed="rId6"/>
          <a:srcRect l="9451" t="36611" r="84605" b="38672"/>
          <a:stretch/>
        </p:blipFill>
        <p:spPr>
          <a:xfrm>
            <a:off x="1521379" y="2882251"/>
            <a:ext cx="1539186" cy="1800000"/>
          </a:xfrm>
          <a:prstGeom prst="rect">
            <a:avLst/>
          </a:prstGeom>
          <a:effectLst>
            <a:softEdge rad="31750"/>
          </a:effectLst>
        </p:spPr>
      </p:pic>
      <p:sp>
        <p:nvSpPr>
          <p:cNvPr id="6" name="Title 1">
            <a:extLst>
              <a:ext uri="{FF2B5EF4-FFF2-40B4-BE49-F238E27FC236}">
                <a16:creationId xmlns:a16="http://schemas.microsoft.com/office/drawing/2014/main" id="{88C4487A-558E-C9E6-F539-93CF2860CF47}"/>
              </a:ext>
            </a:extLst>
          </p:cNvPr>
          <p:cNvSpPr txBox="1">
            <a:spLocks/>
          </p:cNvSpPr>
          <p:nvPr/>
        </p:nvSpPr>
        <p:spPr>
          <a:xfrm>
            <a:off x="425372" y="5712901"/>
            <a:ext cx="6750628" cy="453588"/>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kern="1200" spc="-30" baseline="0">
                <a:solidFill>
                  <a:schemeClr val="accent1"/>
                </a:solidFill>
                <a:latin typeface="+mj-lt"/>
                <a:ea typeface="+mj-ea"/>
                <a:cs typeface="+mj-cs"/>
              </a:defRPr>
            </a:lvl1pPr>
          </a:lstStyle>
          <a:p>
            <a:pPr marL="0" indent="0">
              <a:buNone/>
            </a:pPr>
            <a:r>
              <a:rPr lang="en-GB" sz="1100" dirty="0">
                <a:solidFill>
                  <a:srgbClr val="00264E"/>
                </a:solidFill>
                <a:cs typeface="Arial"/>
              </a:rPr>
              <a:t>Watch the following video to learn more!</a:t>
            </a:r>
          </a:p>
          <a:p>
            <a:r>
              <a:rPr lang="sv-SE" sz="1100" spc="-30" dirty="0" err="1">
                <a:solidFill>
                  <a:schemeClr val="tx2"/>
                </a:solidFill>
                <a:hlinkClick r:id="rId7"/>
              </a:rPr>
              <a:t>Reduced</a:t>
            </a:r>
            <a:r>
              <a:rPr lang="sv-SE" sz="1100" spc="-30" dirty="0">
                <a:solidFill>
                  <a:schemeClr val="tx2"/>
                </a:solidFill>
                <a:hlinkClick r:id="rId7"/>
              </a:rPr>
              <a:t> </a:t>
            </a:r>
            <a:r>
              <a:rPr lang="sv-SE" sz="1100" spc="-30" dirty="0" err="1">
                <a:solidFill>
                  <a:schemeClr val="tx2"/>
                </a:solidFill>
                <a:hlinkClick r:id="rId7"/>
              </a:rPr>
              <a:t>whitening</a:t>
            </a:r>
            <a:r>
              <a:rPr lang="sv-SE" sz="1100" spc="-30" dirty="0">
                <a:solidFill>
                  <a:schemeClr val="tx2"/>
                </a:solidFill>
                <a:hlinkClick r:id="rId7"/>
              </a:rPr>
              <a:t> </a:t>
            </a:r>
            <a:r>
              <a:rPr lang="sv-SE" sz="1100" spc="-30" dirty="0" err="1">
                <a:solidFill>
                  <a:schemeClr val="tx2"/>
                </a:solidFill>
                <a:hlinkClick r:id="rId7"/>
              </a:rPr>
              <a:t>effect</a:t>
            </a:r>
            <a:r>
              <a:rPr lang="sv-SE" sz="1100" spc="-30" dirty="0">
                <a:solidFill>
                  <a:schemeClr val="tx2"/>
                </a:solidFill>
                <a:hlinkClick r:id="rId7"/>
              </a:rPr>
              <a:t> </a:t>
            </a:r>
            <a:r>
              <a:rPr lang="sv-SE" sz="1100" spc="-30" dirty="0" err="1">
                <a:solidFill>
                  <a:schemeClr val="tx2"/>
                </a:solidFill>
                <a:hlinkClick r:id="rId7"/>
              </a:rPr>
              <a:t>of</a:t>
            </a:r>
            <a:r>
              <a:rPr lang="sv-SE" sz="1100" spc="-30" dirty="0">
                <a:solidFill>
                  <a:schemeClr val="tx2"/>
                </a:solidFill>
                <a:hlinkClick r:id="rId7"/>
              </a:rPr>
              <a:t> mineral UV filters </a:t>
            </a:r>
            <a:r>
              <a:rPr lang="sv-SE" sz="1100" spc="-30" dirty="0" err="1">
                <a:solidFill>
                  <a:schemeClr val="tx2"/>
                </a:solidFill>
                <a:hlinkClick r:id="rId7"/>
              </a:rPr>
              <a:t>with</a:t>
            </a:r>
            <a:r>
              <a:rPr lang="sv-SE" sz="1100" spc="-30" dirty="0">
                <a:solidFill>
                  <a:schemeClr val="tx2"/>
                </a:solidFill>
                <a:hlinkClick r:id="rId7"/>
              </a:rPr>
              <a:t> LIPEX</a:t>
            </a:r>
            <a:r>
              <a:rPr lang="sv-SE" sz="1100" spc="-30" baseline="30000" dirty="0">
                <a:solidFill>
                  <a:schemeClr val="tx2"/>
                </a:solidFill>
                <a:hlinkClick r:id="rId7"/>
              </a:rPr>
              <a:t>®</a:t>
            </a:r>
            <a:r>
              <a:rPr lang="sv-SE" sz="1100" spc="-30" dirty="0">
                <a:solidFill>
                  <a:schemeClr val="tx2"/>
                </a:solidFill>
                <a:hlinkClick r:id="rId7"/>
              </a:rPr>
              <a:t> </a:t>
            </a:r>
            <a:r>
              <a:rPr lang="sv-SE" sz="1100" spc="-30" dirty="0" err="1">
                <a:solidFill>
                  <a:schemeClr val="tx2"/>
                </a:solidFill>
                <a:hlinkClick r:id="rId7"/>
              </a:rPr>
              <a:t>SheaSolve</a:t>
            </a:r>
            <a:r>
              <a:rPr lang="sv-SE" sz="1100" spc="-30" baseline="30000" dirty="0" err="1">
                <a:solidFill>
                  <a:schemeClr val="tx2"/>
                </a:solidFill>
                <a:hlinkClick r:id="rId7"/>
              </a:rPr>
              <a:t>TM</a:t>
            </a:r>
            <a:r>
              <a:rPr lang="sv-SE" sz="1100" spc="-30" dirty="0">
                <a:solidFill>
                  <a:schemeClr val="tx2"/>
                </a:solidFill>
                <a:hlinkClick r:id="rId7"/>
              </a:rPr>
              <a:t> – Youtube</a:t>
            </a:r>
            <a:endParaRPr lang="en-US" sz="1100" dirty="0"/>
          </a:p>
        </p:txBody>
      </p:sp>
      <p:pic>
        <p:nvPicPr>
          <p:cNvPr id="10" name="Picture 9">
            <a:extLst>
              <a:ext uri="{FF2B5EF4-FFF2-40B4-BE49-F238E27FC236}">
                <a16:creationId xmlns:a16="http://schemas.microsoft.com/office/drawing/2014/main" id="{20969480-4258-00D7-CC5B-05BEB4CA9CF5}"/>
              </a:ext>
            </a:extLst>
          </p:cNvPr>
          <p:cNvPicPr>
            <a:picLocks noChangeAspect="1"/>
          </p:cNvPicPr>
          <p:nvPr/>
        </p:nvPicPr>
        <p:blipFill rotWithShape="1">
          <a:blip r:embed="rId6"/>
          <a:srcRect l="23196" t="37893" r="70986" b="37279"/>
          <a:stretch/>
        </p:blipFill>
        <p:spPr>
          <a:xfrm>
            <a:off x="5401642" y="2882251"/>
            <a:ext cx="1499710" cy="1800000"/>
          </a:xfrm>
          <a:prstGeom prst="rect">
            <a:avLst/>
          </a:prstGeom>
          <a:effectLst>
            <a:softEdge rad="31750"/>
          </a:effectLst>
        </p:spPr>
      </p:pic>
      <p:pic>
        <p:nvPicPr>
          <p:cNvPr id="14" name="Picture 13">
            <a:extLst>
              <a:ext uri="{FF2B5EF4-FFF2-40B4-BE49-F238E27FC236}">
                <a16:creationId xmlns:a16="http://schemas.microsoft.com/office/drawing/2014/main" id="{38D1F27B-5D77-2D6D-39B6-628BA50CF360}"/>
              </a:ext>
            </a:extLst>
          </p:cNvPr>
          <p:cNvPicPr>
            <a:picLocks noChangeAspect="1"/>
          </p:cNvPicPr>
          <p:nvPr/>
        </p:nvPicPr>
        <p:blipFill rotWithShape="1">
          <a:blip r:embed="rId6"/>
          <a:srcRect l="3316" t="35763" r="90713" b="39290"/>
          <a:stretch/>
        </p:blipFill>
        <p:spPr>
          <a:xfrm>
            <a:off x="3466292" y="2882251"/>
            <a:ext cx="1531914" cy="1800000"/>
          </a:xfrm>
          <a:prstGeom prst="rect">
            <a:avLst/>
          </a:prstGeom>
          <a:effectLst>
            <a:softEdge rad="31750"/>
          </a:effectLst>
        </p:spPr>
      </p:pic>
      <p:sp>
        <p:nvSpPr>
          <p:cNvPr id="15" name="TextBox 14">
            <a:extLst>
              <a:ext uri="{FF2B5EF4-FFF2-40B4-BE49-F238E27FC236}">
                <a16:creationId xmlns:a16="http://schemas.microsoft.com/office/drawing/2014/main" id="{169AABBF-9DE0-8F40-944A-544A139BE7D4}"/>
              </a:ext>
            </a:extLst>
          </p:cNvPr>
          <p:cNvSpPr txBox="1"/>
          <p:nvPr/>
        </p:nvSpPr>
        <p:spPr>
          <a:xfrm>
            <a:off x="1516749" y="4738056"/>
            <a:ext cx="1531914" cy="369332"/>
          </a:xfrm>
          <a:prstGeom prst="rect">
            <a:avLst/>
          </a:prstGeom>
          <a:noFill/>
          <a:ln>
            <a:noFill/>
          </a:ln>
        </p:spPr>
        <p:txBody>
          <a:bodyPr wrap="square" lIns="0" tIns="0" rIns="0" bIns="0" rtlCol="0">
            <a:spAutoFit/>
          </a:bodyPr>
          <a:lstStyle/>
          <a:p>
            <a:pPr algn="ctr">
              <a:buClr>
                <a:schemeClr val="tx2"/>
              </a:buClr>
            </a:pPr>
            <a:r>
              <a:rPr lang="fr-FR" sz="1200" spc="-30" dirty="0" err="1">
                <a:solidFill>
                  <a:schemeClr val="tx2"/>
                </a:solidFill>
              </a:rPr>
              <a:t>Caprylic</a:t>
            </a:r>
            <a:r>
              <a:rPr lang="fr-FR" sz="1200" spc="-30" dirty="0">
                <a:solidFill>
                  <a:schemeClr val="tx2"/>
                </a:solidFill>
              </a:rPr>
              <a:t>/</a:t>
            </a:r>
            <a:r>
              <a:rPr lang="fr-FR" sz="1200" spc="-30" dirty="0" err="1">
                <a:solidFill>
                  <a:schemeClr val="tx2"/>
                </a:solidFill>
              </a:rPr>
              <a:t>capric</a:t>
            </a:r>
            <a:r>
              <a:rPr lang="fr-FR" sz="1200" spc="-30" dirty="0">
                <a:solidFill>
                  <a:schemeClr val="tx2"/>
                </a:solidFill>
              </a:rPr>
              <a:t> </a:t>
            </a:r>
            <a:r>
              <a:rPr lang="fr-FR" sz="1200" spc="-30" dirty="0" err="1">
                <a:solidFill>
                  <a:schemeClr val="tx2"/>
                </a:solidFill>
              </a:rPr>
              <a:t>triglyceride</a:t>
            </a:r>
            <a:endParaRPr lang="en-GB" sz="1200" spc="-30" dirty="0">
              <a:solidFill>
                <a:schemeClr val="tx2"/>
              </a:solidFill>
            </a:endParaRPr>
          </a:p>
        </p:txBody>
      </p:sp>
      <p:sp>
        <p:nvSpPr>
          <p:cNvPr id="16" name="TextBox 15">
            <a:extLst>
              <a:ext uri="{FF2B5EF4-FFF2-40B4-BE49-F238E27FC236}">
                <a16:creationId xmlns:a16="http://schemas.microsoft.com/office/drawing/2014/main" id="{65E4BC86-16C7-5853-DCFD-3A20C755FFF6}"/>
              </a:ext>
            </a:extLst>
          </p:cNvPr>
          <p:cNvSpPr txBox="1"/>
          <p:nvPr/>
        </p:nvSpPr>
        <p:spPr>
          <a:xfrm>
            <a:off x="5340384" y="4738056"/>
            <a:ext cx="1531914" cy="184666"/>
          </a:xfrm>
          <a:prstGeom prst="rect">
            <a:avLst/>
          </a:prstGeom>
          <a:noFill/>
          <a:ln>
            <a:noFill/>
          </a:ln>
        </p:spPr>
        <p:txBody>
          <a:bodyPr wrap="square" lIns="0" tIns="0" rIns="0" bIns="0" rtlCol="0">
            <a:spAutoFit/>
          </a:bodyPr>
          <a:lstStyle/>
          <a:p>
            <a:pPr algn="ctr">
              <a:buClr>
                <a:schemeClr val="tx2"/>
              </a:buClr>
            </a:pPr>
            <a:r>
              <a:rPr lang="fr-FR" sz="1200" spc="-30" dirty="0">
                <a:solidFill>
                  <a:schemeClr val="tx2"/>
                </a:solidFill>
              </a:rPr>
              <a:t>C12-15 Alkyl Benzoate</a:t>
            </a:r>
            <a:endParaRPr lang="en-GB" sz="1200" spc="-30" dirty="0">
              <a:solidFill>
                <a:schemeClr val="tx2"/>
              </a:solidFill>
            </a:endParaRPr>
          </a:p>
        </p:txBody>
      </p:sp>
      <p:sp>
        <p:nvSpPr>
          <p:cNvPr id="18" name="TextBox 17">
            <a:extLst>
              <a:ext uri="{FF2B5EF4-FFF2-40B4-BE49-F238E27FC236}">
                <a16:creationId xmlns:a16="http://schemas.microsoft.com/office/drawing/2014/main" id="{AF05AF4B-B4F6-A0E0-95E2-BE8B2BDF4AC7}"/>
              </a:ext>
            </a:extLst>
          </p:cNvPr>
          <p:cNvSpPr txBox="1"/>
          <p:nvPr/>
        </p:nvSpPr>
        <p:spPr>
          <a:xfrm>
            <a:off x="3446198" y="4738056"/>
            <a:ext cx="1531914" cy="184666"/>
          </a:xfrm>
          <a:prstGeom prst="rect">
            <a:avLst/>
          </a:prstGeom>
          <a:noFill/>
          <a:ln>
            <a:noFill/>
          </a:ln>
        </p:spPr>
        <p:txBody>
          <a:bodyPr wrap="square" lIns="0" tIns="0" rIns="0" bIns="0" rtlCol="0">
            <a:spAutoFit/>
          </a:bodyPr>
          <a:lstStyle/>
          <a:p>
            <a:pPr algn="ctr">
              <a:buClr>
                <a:schemeClr val="tx2"/>
              </a:buClr>
            </a:pPr>
            <a:r>
              <a:rPr lang="fr-FR" sz="1200" spc="-30" dirty="0">
                <a:solidFill>
                  <a:srgbClr val="2067CA"/>
                </a:solidFill>
              </a:rPr>
              <a:t>Lipex SheaSolve</a:t>
            </a:r>
            <a:endParaRPr lang="en-GB" sz="1200" spc="-30" dirty="0">
              <a:solidFill>
                <a:srgbClr val="2067CA"/>
              </a:solidFill>
            </a:endParaRPr>
          </a:p>
        </p:txBody>
      </p:sp>
      <p:sp>
        <p:nvSpPr>
          <p:cNvPr id="19" name="Content Placeholder 7">
            <a:extLst>
              <a:ext uri="{FF2B5EF4-FFF2-40B4-BE49-F238E27FC236}">
                <a16:creationId xmlns:a16="http://schemas.microsoft.com/office/drawing/2014/main" id="{5501EFFE-4599-4066-32AD-4E652338FC0F}"/>
              </a:ext>
            </a:extLst>
          </p:cNvPr>
          <p:cNvSpPr txBox="1">
            <a:spLocks/>
          </p:cNvSpPr>
          <p:nvPr/>
        </p:nvSpPr>
        <p:spPr>
          <a:xfrm>
            <a:off x="442913" y="5226973"/>
            <a:ext cx="7273925" cy="467408"/>
          </a:xfrm>
          <a:prstGeom prst="rect">
            <a:avLst/>
          </a:prstGeom>
          <a:noFill/>
        </p:spPr>
        <p:txBody>
          <a:bodyPr vert="horz" wrap="square" lIns="108000" tIns="108000" rIns="108000" bIns="108000" rtlCol="0" anchor="t">
            <a:sp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dirty="0">
                <a:solidFill>
                  <a:srgbClr val="2067CA"/>
                </a:solidFill>
                <a:ea typeface="+mn-lt"/>
                <a:cs typeface="+mn-lt"/>
              </a:rPr>
              <a:t>This translates into reduced ghosting when applied to the skin.</a:t>
            </a:r>
          </a:p>
        </p:txBody>
      </p:sp>
      <p:sp>
        <p:nvSpPr>
          <p:cNvPr id="11" name="Slide Number Placeholder 3">
            <a:extLst>
              <a:ext uri="{FF2B5EF4-FFF2-40B4-BE49-F238E27FC236}">
                <a16:creationId xmlns:a16="http://schemas.microsoft.com/office/drawing/2014/main" id="{24E4EC8D-8404-81E7-CBD3-C5D051BF7FEA}"/>
              </a:ext>
            </a:extLst>
          </p:cNvPr>
          <p:cNvSpPr txBox="1">
            <a:spLocks/>
          </p:cNvSpPr>
          <p:nvPr/>
        </p:nvSpPr>
        <p:spPr>
          <a:xfrm>
            <a:off x="11376660" y="6472030"/>
            <a:ext cx="372428" cy="153888"/>
          </a:xfrm>
          <a:prstGeom prst="rect">
            <a:avLst/>
          </a:prstGeom>
        </p:spPr>
        <p:txBody>
          <a:bodyPr vert="horz" wrap="squar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03DD7B-12C8-43B8-9F45-989336E79744}" type="slidenum">
              <a:rPr lang="en-US" sz="1000" smtClean="0"/>
              <a:pPr/>
              <a:t>9</a:t>
            </a:fld>
            <a:endParaRPr lang="en-US" sz="1000"/>
          </a:p>
        </p:txBody>
      </p:sp>
      <p:sp>
        <p:nvSpPr>
          <p:cNvPr id="12" name="Date Placeholder 6">
            <a:extLst>
              <a:ext uri="{FF2B5EF4-FFF2-40B4-BE49-F238E27FC236}">
                <a16:creationId xmlns:a16="http://schemas.microsoft.com/office/drawing/2014/main" id="{D3F73961-EB61-47DB-BEAE-AEB7C60CF259}"/>
              </a:ext>
            </a:extLst>
          </p:cNvPr>
          <p:cNvSpPr txBox="1">
            <a:spLocks/>
          </p:cNvSpPr>
          <p:nvPr/>
        </p:nvSpPr>
        <p:spPr>
          <a:xfrm>
            <a:off x="10542897" y="6472030"/>
            <a:ext cx="626774"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60B2C05-1104-41BB-B925-7E3352CEED91}" type="datetime1">
              <a:rPr lang="en-GB" sz="1000" smtClean="0"/>
              <a:pPr/>
              <a:t>18/06/2025</a:t>
            </a:fld>
            <a:endParaRPr lang="en-US" sz="1000"/>
          </a:p>
        </p:txBody>
      </p:sp>
    </p:spTree>
    <p:extLst>
      <p:ext uri="{BB962C8B-B14F-4D97-AF65-F5344CB8AC3E}">
        <p14:creationId xmlns:p14="http://schemas.microsoft.com/office/powerpoint/2010/main" val="17522949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AAK 16:9 White Background">
  <a:themeElements>
    <a:clrScheme name="241210_AAK 16-9_Colors">
      <a:dk1>
        <a:srgbClr val="000000"/>
      </a:dk1>
      <a:lt1>
        <a:sysClr val="window" lastClr="FFFFFF"/>
      </a:lt1>
      <a:dk2>
        <a:srgbClr val="00264E"/>
      </a:dk2>
      <a:lt2>
        <a:srgbClr val="BFC9D3"/>
      </a:lt2>
      <a:accent1>
        <a:srgbClr val="00264E"/>
      </a:accent1>
      <a:accent2>
        <a:srgbClr val="4A7B10"/>
      </a:accent2>
      <a:accent3>
        <a:srgbClr val="B1D33B"/>
      </a:accent3>
      <a:accent4>
        <a:srgbClr val="FFD84E"/>
      </a:accent4>
      <a:accent5>
        <a:srgbClr val="FF8300"/>
      </a:accent5>
      <a:accent6>
        <a:srgbClr val="8A411C"/>
      </a:accent6>
      <a:hlink>
        <a:srgbClr val="2067CA"/>
      </a:hlink>
      <a:folHlink>
        <a:srgbClr val="00264E"/>
      </a:folHlink>
    </a:clrScheme>
    <a:fontScheme name="210208_AAK 16-9_Fonts">
      <a:majorFont>
        <a:latin typeface="Work Sans Light"/>
        <a:ea typeface=""/>
        <a:cs typeface=""/>
      </a:majorFont>
      <a:minorFont>
        <a:latin typeface="Work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cap="flat">
          <a:noFill/>
          <a:prstDash val="solid"/>
          <a:miter/>
        </a:ln>
      </a:spPr>
      <a:bodyPr lIns="72000" tIns="72000" rIns="72000" bIns="72000" rtlCol="0" anchor="ctr"/>
      <a:lstStyle>
        <a:defPPr algn="l">
          <a:defRPr sz="1600" spc="-30">
            <a:solidFill>
              <a:schemeClr val="bg1"/>
            </a:solidFill>
          </a:defRPr>
        </a:defPPr>
      </a:lstStyle>
    </a:spDef>
    <a:lnDef>
      <a:spPr>
        <a:ln>
          <a:solidFill>
            <a:schemeClr val="accent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lgn="l">
          <a:buClr>
            <a:schemeClr val="tx2"/>
          </a:buClr>
          <a:defRPr sz="1600" spc="-30" smtClean="0">
            <a:solidFill>
              <a:schemeClr val="tx2"/>
            </a:solidFill>
          </a:defRPr>
        </a:defPPr>
      </a:lstStyle>
    </a:txDef>
  </a:objectDefaults>
  <a:extraClrSchemeLst/>
  <a:custClrLst>
    <a:custClr name="AAK Sky Blue">
      <a:srgbClr val="2067CA"/>
    </a:custClr>
    <a:custClr name="Soya Bean Green">
      <a:srgbClr val="4A7B10"/>
    </a:custClr>
    <a:custClr name="Palm Leaf Green">
      <a:srgbClr val="B1D33B"/>
    </a:custClr>
    <a:custClr name="Rapeseed Yellow">
      <a:srgbClr val="FFD84E"/>
    </a:custClr>
    <a:custClr name="Sunflower Orange">
      <a:srgbClr val="FF8300"/>
    </a:custClr>
    <a:custClr name="Palm fruit red">
      <a:srgbClr val="DC0000"/>
    </a:custClr>
    <a:custClr name="Shea Brown">
      <a:srgbClr val="8A411C"/>
    </a:custClr>
    <a:custClr name="White">
      <a:srgbClr val="FFFFFF"/>
    </a:custClr>
    <a:custClr name="Coconut Shell">
      <a:srgbClr val="422310"/>
    </a:custClr>
    <a:custClr name="Black Olive Navy">
      <a:srgbClr val="00264E"/>
    </a:custClr>
    <a:custClr name="AAK Sky Blue 75%">
      <a:srgbClr val="588DD7"/>
    </a:custClr>
    <a:custClr name="Soya Bean Green 75%">
      <a:srgbClr val="779C4C"/>
    </a:custClr>
    <a:custClr name="Palm Leaf Green 75%">
      <a:srgbClr val="C5DE6C"/>
    </a:custClr>
    <a:custClr name="Rapeseed Yellow 75%">
      <a:srgbClr val="FFE27A"/>
    </a:custClr>
    <a:custClr name="Sunflower Orange 75%">
      <a:srgbClr val="FFA240"/>
    </a:custClr>
    <a:custClr name="Palm Fruit Red 75%">
      <a:srgbClr val="E54040"/>
    </a:custClr>
    <a:custClr name="Shea Brown 75%">
      <a:srgbClr val="A77155"/>
    </a:custClr>
    <a:custClr name="White">
      <a:srgbClr val="FFFFFF"/>
    </a:custClr>
    <a:custClr name="Coconut Shell 75%">
      <a:srgbClr val="715A4C"/>
    </a:custClr>
    <a:custClr name="Black Olive Navy 75%">
      <a:srgbClr val="405C7A"/>
    </a:custClr>
    <a:custClr name="AAK Sky Blue 50%">
      <a:srgbClr val="8FB3E4"/>
    </a:custClr>
    <a:custClr name="Soya Bean Green 50%">
      <a:srgbClr val="A4BD87"/>
    </a:custClr>
    <a:custClr name="Palm Leaf Green 50%">
      <a:srgbClr val="D8E99D"/>
    </a:custClr>
    <a:custClr name="Rapeseed Yellow 50%">
      <a:srgbClr val="FFEBA6"/>
    </a:custClr>
    <a:custClr name="Sunflower Orange 50%">
      <a:srgbClr val="FFC17F"/>
    </a:custClr>
    <a:custClr name="Palm Fruit Red 50%">
      <a:srgbClr val="ED7F7F"/>
    </a:custClr>
    <a:custClr name="Shea Brown 50%">
      <a:srgbClr val="C4A08D"/>
    </a:custClr>
    <a:custClr name="White">
      <a:srgbClr val="FFFFFF"/>
    </a:custClr>
    <a:custClr name="Coconut Shell 50%">
      <a:srgbClr val="A09187"/>
    </a:custClr>
    <a:custClr name="Black Olive Navy 50%">
      <a:srgbClr val="7F92A6"/>
    </a:custClr>
    <a:custClr name="AAK Sky Blue 25%">
      <a:srgbClr val="C7D9F2"/>
    </a:custClr>
    <a:custClr name="Soya Bean Green 25%">
      <a:srgbClr val="D2DEC3"/>
    </a:custClr>
    <a:custClr name="Palm Leaf Green 25%">
      <a:srgbClr val="EBF4CE"/>
    </a:custClr>
    <a:custClr name="Rapeseed Yellow 25%">
      <a:srgbClr val="FFF5D3"/>
    </a:custClr>
    <a:custClr name="Sunflower Orange 25%">
      <a:srgbClr val="FFE0BF"/>
    </a:custClr>
    <a:custClr name="Palm Fruit Red 25%">
      <a:srgbClr val="F6BFBF"/>
    </a:custClr>
    <a:custClr name="Shea Brown 25%">
      <a:srgbClr val="E2CFC6"/>
    </a:custClr>
    <a:custClr name="White">
      <a:srgbClr val="FFFFFF"/>
    </a:custClr>
    <a:custClr name="Coconut Shell 25%">
      <a:srgbClr val="D0C8C3"/>
    </a:custClr>
    <a:custClr name="Black Olive Navy 25%">
      <a:srgbClr val="BFC9D3"/>
    </a:custClr>
  </a:custClrLst>
  <a:extLst>
    <a:ext uri="{05A4C25C-085E-4340-85A3-A5531E510DB2}">
      <thm15:themeFamily xmlns:thm15="http://schemas.microsoft.com/office/thememl/2012/main" name="AAK PowerPoint template (20250212).potx" id="{6E5A2A4D-55FD-4CF3-A412-1D142F067F7C}" vid="{CBD49F9C-D02B-4526-961B-386767A29451}"/>
    </a:ext>
  </a:extLst>
</a:theme>
</file>

<file path=ppt/theme/theme2.xml><?xml version="1.0" encoding="utf-8"?>
<a:theme xmlns:a="http://schemas.openxmlformats.org/drawingml/2006/main" name="1_AAK 16:9 Grey Background">
  <a:themeElements>
    <a:clrScheme name="241210_AAK 16-9_Colors">
      <a:dk1>
        <a:srgbClr val="000000"/>
      </a:dk1>
      <a:lt1>
        <a:sysClr val="window" lastClr="FFFFFF"/>
      </a:lt1>
      <a:dk2>
        <a:srgbClr val="00264E"/>
      </a:dk2>
      <a:lt2>
        <a:srgbClr val="BFC9D3"/>
      </a:lt2>
      <a:accent1>
        <a:srgbClr val="00264E"/>
      </a:accent1>
      <a:accent2>
        <a:srgbClr val="4A7B10"/>
      </a:accent2>
      <a:accent3>
        <a:srgbClr val="B1D33B"/>
      </a:accent3>
      <a:accent4>
        <a:srgbClr val="FFD84E"/>
      </a:accent4>
      <a:accent5>
        <a:srgbClr val="FF8300"/>
      </a:accent5>
      <a:accent6>
        <a:srgbClr val="8A411C"/>
      </a:accent6>
      <a:hlink>
        <a:srgbClr val="2067CA"/>
      </a:hlink>
      <a:folHlink>
        <a:srgbClr val="00264E"/>
      </a:folHlink>
    </a:clrScheme>
    <a:fontScheme name="210208_AAK 16-9_Fonts">
      <a:majorFont>
        <a:latin typeface="Work Sans Light"/>
        <a:ea typeface=""/>
        <a:cs typeface=""/>
      </a:majorFont>
      <a:minorFont>
        <a:latin typeface="Work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cap="flat">
          <a:noFill/>
          <a:prstDash val="solid"/>
          <a:miter/>
        </a:ln>
      </a:spPr>
      <a:bodyPr lIns="72000" tIns="72000" rIns="72000" bIns="72000" rtlCol="0" anchor="ctr"/>
      <a:lstStyle>
        <a:defPPr algn="l">
          <a:defRPr sz="1600" spc="-30">
            <a:solidFill>
              <a:schemeClr val="bg1"/>
            </a:solidFill>
          </a:defRPr>
        </a:defPPr>
      </a:lstStyle>
    </a:spDef>
    <a:lnDef>
      <a:spPr>
        <a:ln>
          <a:solidFill>
            <a:schemeClr val="accent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lgn="l">
          <a:buClr>
            <a:schemeClr val="tx2"/>
          </a:buClr>
          <a:defRPr sz="1600" spc="-30" smtClean="0">
            <a:solidFill>
              <a:schemeClr val="tx2"/>
            </a:solidFill>
          </a:defRPr>
        </a:defPPr>
      </a:lstStyle>
    </a:txDef>
  </a:objectDefaults>
  <a:extraClrSchemeLst/>
  <a:custClrLst>
    <a:custClr name="AAK Sky Blue">
      <a:srgbClr val="2067CA"/>
    </a:custClr>
    <a:custClr name="Soya Bean Green">
      <a:srgbClr val="4A7B10"/>
    </a:custClr>
    <a:custClr name="Palm Leaf Green">
      <a:srgbClr val="B1D33B"/>
    </a:custClr>
    <a:custClr name="Rapeseed Yellow">
      <a:srgbClr val="FFD84E"/>
    </a:custClr>
    <a:custClr name="Sunflower Orange">
      <a:srgbClr val="FF8300"/>
    </a:custClr>
    <a:custClr name="Palm fruit red">
      <a:srgbClr val="DC0000"/>
    </a:custClr>
    <a:custClr name="Shea Brown">
      <a:srgbClr val="8A411C"/>
    </a:custClr>
    <a:custClr name="White">
      <a:srgbClr val="FFFFFF"/>
    </a:custClr>
    <a:custClr name="Coconut Shell">
      <a:srgbClr val="422310"/>
    </a:custClr>
    <a:custClr name="Black Olive Navy">
      <a:srgbClr val="00264E"/>
    </a:custClr>
    <a:custClr name="AAK Sky Blue 75%">
      <a:srgbClr val="588DD7"/>
    </a:custClr>
    <a:custClr name="Soya Bean Green 75%">
      <a:srgbClr val="779C4C"/>
    </a:custClr>
    <a:custClr name="Palm Leaf Green 75%">
      <a:srgbClr val="C5DE6C"/>
    </a:custClr>
    <a:custClr name="Rapeseed Yellow 75%">
      <a:srgbClr val="FFE27A"/>
    </a:custClr>
    <a:custClr name="Sunflower Orange 75%">
      <a:srgbClr val="FFA240"/>
    </a:custClr>
    <a:custClr name="Palm Fruit Red 75%">
      <a:srgbClr val="E54040"/>
    </a:custClr>
    <a:custClr name="Shea Brown 75%">
      <a:srgbClr val="A77155"/>
    </a:custClr>
    <a:custClr name="White">
      <a:srgbClr val="FFFFFF"/>
    </a:custClr>
    <a:custClr name="Coconut Shell 75%">
      <a:srgbClr val="715A4C"/>
    </a:custClr>
    <a:custClr name="Black Olive Navy 75%">
      <a:srgbClr val="405C7A"/>
    </a:custClr>
    <a:custClr name="AAK Sky Blue 50%">
      <a:srgbClr val="8FB3E4"/>
    </a:custClr>
    <a:custClr name="Soya Bean Green 50%">
      <a:srgbClr val="A4BD87"/>
    </a:custClr>
    <a:custClr name="Palm Leaf Green 50%">
      <a:srgbClr val="D8E99D"/>
    </a:custClr>
    <a:custClr name="Rapeseed Yellow 50%">
      <a:srgbClr val="FFEBA6"/>
    </a:custClr>
    <a:custClr name="Sunflower Orange 50%">
      <a:srgbClr val="FFC17F"/>
    </a:custClr>
    <a:custClr name="Palm Fruit Red 50%">
      <a:srgbClr val="ED7F7F"/>
    </a:custClr>
    <a:custClr name="Shea Brown 50%">
      <a:srgbClr val="C4A08D"/>
    </a:custClr>
    <a:custClr name="White">
      <a:srgbClr val="FFFFFF"/>
    </a:custClr>
    <a:custClr name="Coconut Shell 50%">
      <a:srgbClr val="A09187"/>
    </a:custClr>
    <a:custClr name="Black Olive Navy 50%">
      <a:srgbClr val="7F92A6"/>
    </a:custClr>
    <a:custClr name="AAK Sky Blue 25%">
      <a:srgbClr val="C7D9F2"/>
    </a:custClr>
    <a:custClr name="Soya Bean Green 25%">
      <a:srgbClr val="D2DEC3"/>
    </a:custClr>
    <a:custClr name="Palm Leaf Green 25%">
      <a:srgbClr val="EBF4CE"/>
    </a:custClr>
    <a:custClr name="Rapeseed Yellow 25%">
      <a:srgbClr val="FFF5D3"/>
    </a:custClr>
    <a:custClr name="Sunflower Orange 25%">
      <a:srgbClr val="FFE0BF"/>
    </a:custClr>
    <a:custClr name="Palm Fruit Red 25%">
      <a:srgbClr val="F6BFBF"/>
    </a:custClr>
    <a:custClr name="Shea Brown 25%">
      <a:srgbClr val="E2CFC6"/>
    </a:custClr>
    <a:custClr name="White">
      <a:srgbClr val="FFFFFF"/>
    </a:custClr>
    <a:custClr name="Coconut Shell 25%">
      <a:srgbClr val="D0C8C3"/>
    </a:custClr>
    <a:custClr name="Black Olive Navy 25%">
      <a:srgbClr val="BFC9D3"/>
    </a:custClr>
  </a:custClrLst>
  <a:extLst>
    <a:ext uri="{05A4C25C-085E-4340-85A3-A5531E510DB2}">
      <thm15:themeFamily xmlns:thm15="http://schemas.microsoft.com/office/thememl/2012/main" name="AAK PowerPoint template (20250212).potx" id="{6E5A2A4D-55FD-4CF3-A412-1D142F067F7C}" vid="{80B91EC0-3B4E-4F93-A335-45EE32A4D4CF}"/>
    </a:ext>
  </a:extLst>
</a:theme>
</file>

<file path=ppt/theme/theme3.xml><?xml version="1.0" encoding="utf-8"?>
<a:theme xmlns:a="http://schemas.openxmlformats.org/drawingml/2006/main" name="Office Theme">
  <a:themeElements>
    <a:clrScheme name="210121_AAK">
      <a:dk1>
        <a:srgbClr val="000000"/>
      </a:dk1>
      <a:lt1>
        <a:sysClr val="window" lastClr="FFFFFF"/>
      </a:lt1>
      <a:dk2>
        <a:srgbClr val="00264E"/>
      </a:dk2>
      <a:lt2>
        <a:srgbClr val="BFBFBF"/>
      </a:lt2>
      <a:accent1>
        <a:srgbClr val="2067CA"/>
      </a:accent1>
      <a:accent2>
        <a:srgbClr val="4A7B10"/>
      </a:accent2>
      <a:accent3>
        <a:srgbClr val="B1D33B"/>
      </a:accent3>
      <a:accent4>
        <a:srgbClr val="FFD84E"/>
      </a:accent4>
      <a:accent5>
        <a:srgbClr val="FF8300"/>
      </a:accent5>
      <a:accent6>
        <a:srgbClr val="8A411C"/>
      </a:accent6>
      <a:hlink>
        <a:srgbClr val="2067CA"/>
      </a:hlink>
      <a:folHlink>
        <a:srgbClr val="00264E"/>
      </a:folHlink>
    </a:clrScheme>
    <a:fontScheme name="210111_AAK_Light">
      <a:majorFont>
        <a:latin typeface="Work Sans Light"/>
        <a:ea typeface=""/>
        <a:cs typeface=""/>
      </a:majorFont>
      <a:minorFont>
        <a:latin typeface="Work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AK Sky Blue">
      <a:srgbClr val="2067CA"/>
    </a:custClr>
    <a:custClr name="Soya Bean Green">
      <a:srgbClr val="4A7B10"/>
    </a:custClr>
    <a:custClr name="Palm Leaf Green">
      <a:srgbClr val="B1D33B"/>
    </a:custClr>
    <a:custClr name="Rapeseed Yellow">
      <a:srgbClr val="FFD84E"/>
    </a:custClr>
    <a:custClr name="Sunflower Orange">
      <a:srgbClr val="FF8300"/>
    </a:custClr>
    <a:custClr name="Palm fruit red">
      <a:srgbClr val="DC0000"/>
    </a:custClr>
    <a:custClr name="Shea Brown">
      <a:srgbClr val="8A411C"/>
    </a:custClr>
    <a:custClr name="White">
      <a:srgbClr val="FFFFFF"/>
    </a:custClr>
    <a:custClr name="Coconut Shell">
      <a:srgbClr val="422310"/>
    </a:custClr>
    <a:custClr name="Black Olive Navy">
      <a:srgbClr val="00264E"/>
    </a:custClr>
    <a:custClr name="AAK Sky Blue 75%">
      <a:srgbClr val="588DD7"/>
    </a:custClr>
    <a:custClr name="Soya Bean Green 75%">
      <a:srgbClr val="779C4C"/>
    </a:custClr>
    <a:custClr name="Palm Leaf Green 75%">
      <a:srgbClr val="C5DE6C"/>
    </a:custClr>
    <a:custClr name="Rapeseed Yellow 75%">
      <a:srgbClr val="FFE27A"/>
    </a:custClr>
    <a:custClr name="Sunflower Orange 75%">
      <a:srgbClr val="FFA240"/>
    </a:custClr>
    <a:custClr name="Palm Fruit Red 75%">
      <a:srgbClr val="E54040"/>
    </a:custClr>
    <a:custClr name="Shea Brown 75%">
      <a:srgbClr val="A77155"/>
    </a:custClr>
    <a:custClr name="White">
      <a:srgbClr val="FFFFFF"/>
    </a:custClr>
    <a:custClr name="Coconut Shell 75%">
      <a:srgbClr val="715A4C"/>
    </a:custClr>
    <a:custClr name="Black Olive Navy 75%">
      <a:srgbClr val="405C7A"/>
    </a:custClr>
    <a:custClr name="AAK Sky Blue 50%">
      <a:srgbClr val="8FB3E4"/>
    </a:custClr>
    <a:custClr name="Soya Bean Green 50%">
      <a:srgbClr val="A4BD87"/>
    </a:custClr>
    <a:custClr name="Palm Leaf Green 50%">
      <a:srgbClr val="D8E99D"/>
    </a:custClr>
    <a:custClr name="Rapeseed Yellow 50%">
      <a:srgbClr val="FFEBA6"/>
    </a:custClr>
    <a:custClr name="Sunflower Orange 50%">
      <a:srgbClr val="FFC17F"/>
    </a:custClr>
    <a:custClr name="Palm Fruit Red 50%">
      <a:srgbClr val="ED7F7F"/>
    </a:custClr>
    <a:custClr name="Shea Brown 50%">
      <a:srgbClr val="C4A08D"/>
    </a:custClr>
    <a:custClr name="White">
      <a:srgbClr val="FFFFFF"/>
    </a:custClr>
    <a:custClr name="Coconut Shell 50%">
      <a:srgbClr val="A09187"/>
    </a:custClr>
    <a:custClr name="Black Olive Navy 50%">
      <a:srgbClr val="7F92A6"/>
    </a:custClr>
    <a:custClr name="AAK Sky Blue 25%">
      <a:srgbClr val="C7D9F2"/>
    </a:custClr>
    <a:custClr name="Soya Bean Green 25%">
      <a:srgbClr val="D2DEC3"/>
    </a:custClr>
    <a:custClr name="Palm Leaf Green 25%">
      <a:srgbClr val="EBF4CE"/>
    </a:custClr>
    <a:custClr name="Rapeseed Yellow 25%">
      <a:srgbClr val="FFF5D3"/>
    </a:custClr>
    <a:custClr name="Sunflower Orange 25%">
      <a:srgbClr val="FFE0BF"/>
    </a:custClr>
    <a:custClr name="Palm Fruit Red 25%">
      <a:srgbClr val="F6BFBF"/>
    </a:custClr>
    <a:custClr name="Shea Brown 25%">
      <a:srgbClr val="E2CFC6"/>
    </a:custClr>
    <a:custClr name="White">
      <a:srgbClr val="FFFFFF"/>
    </a:custClr>
    <a:custClr name="Coconut Shell 25%">
      <a:srgbClr val="D0C8C3"/>
    </a:custClr>
    <a:custClr name="Black Olive Navy 25%">
      <a:srgbClr val="BFC9D3"/>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210106_AAK">
      <a:dk1>
        <a:sysClr val="windowText" lastClr="000000"/>
      </a:dk1>
      <a:lt1>
        <a:sysClr val="window" lastClr="FFFFFF"/>
      </a:lt1>
      <a:dk2>
        <a:srgbClr val="00264E"/>
      </a:dk2>
      <a:lt2>
        <a:srgbClr val="BFBFBF"/>
      </a:lt2>
      <a:accent1>
        <a:srgbClr val="2067CA"/>
      </a:accent1>
      <a:accent2>
        <a:srgbClr val="4A7B10"/>
      </a:accent2>
      <a:accent3>
        <a:srgbClr val="B1D33B"/>
      </a:accent3>
      <a:accent4>
        <a:srgbClr val="FFD84E"/>
      </a:accent4>
      <a:accent5>
        <a:srgbClr val="FF8300"/>
      </a:accent5>
      <a:accent6>
        <a:srgbClr val="DC0000"/>
      </a:accent6>
      <a:hlink>
        <a:srgbClr val="2067CA"/>
      </a:hlink>
      <a:folHlink>
        <a:srgbClr val="00264E"/>
      </a:folHlink>
    </a:clrScheme>
    <a:fontScheme name="210121_AAK_Work Sans Light">
      <a:majorFont>
        <a:latin typeface="Work Sans Light"/>
        <a:ea typeface=""/>
        <a:cs typeface=""/>
      </a:majorFont>
      <a:minorFont>
        <a:latin typeface="Work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AK Sky Blue">
      <a:srgbClr val="2067CA"/>
    </a:custClr>
    <a:custClr name="Soya Bean Green">
      <a:srgbClr val="4A7B10"/>
    </a:custClr>
    <a:custClr name="Palm Leaf Green">
      <a:srgbClr val="B1D33B"/>
    </a:custClr>
    <a:custClr name="Rapeseed Yellow">
      <a:srgbClr val="FFD84E"/>
    </a:custClr>
    <a:custClr name="Sunflower Orange">
      <a:srgbClr val="FF8300"/>
    </a:custClr>
    <a:custClr name="Palm fruit red">
      <a:srgbClr val="DC0000"/>
    </a:custClr>
    <a:custClr name="Shea Brown">
      <a:srgbClr val="8A411C"/>
    </a:custClr>
    <a:custClr name="White">
      <a:srgbClr val="FFFFFF"/>
    </a:custClr>
    <a:custClr name="Coconut Shell">
      <a:srgbClr val="422310"/>
    </a:custClr>
    <a:custClr name="Black Olive Navy">
      <a:srgbClr val="00264E"/>
    </a:custClr>
    <a:custClr name="AAK Sky Blue 75%">
      <a:srgbClr val="588DD7"/>
    </a:custClr>
    <a:custClr name="Soya Bean Green 75%">
      <a:srgbClr val="779C4C"/>
    </a:custClr>
    <a:custClr name="Palm Leaf Green 75%">
      <a:srgbClr val="C5DE6C"/>
    </a:custClr>
    <a:custClr name="Rapeseed Yellow 75%">
      <a:srgbClr val="FFE27A"/>
    </a:custClr>
    <a:custClr name="Sunflower Orange 75%">
      <a:srgbClr val="FFA240"/>
    </a:custClr>
    <a:custClr name="Palm Fruit Red 75%">
      <a:srgbClr val="E54040"/>
    </a:custClr>
    <a:custClr name="Shea Brown 75%">
      <a:srgbClr val="A77155"/>
    </a:custClr>
    <a:custClr name="White">
      <a:srgbClr val="FFFFFF"/>
    </a:custClr>
    <a:custClr name="Coconut Shell 75%">
      <a:srgbClr val="715A4C"/>
    </a:custClr>
    <a:custClr name="Black Olive Navy 75%">
      <a:srgbClr val="405C7A"/>
    </a:custClr>
    <a:custClr name="AAK Sky Blue 50%">
      <a:srgbClr val="8FB3E4"/>
    </a:custClr>
    <a:custClr name="Soya Bean Green 50%">
      <a:srgbClr val="A4BD87"/>
    </a:custClr>
    <a:custClr name="Palm Leaf Green 50%">
      <a:srgbClr val="D8E99D"/>
    </a:custClr>
    <a:custClr name="Rapeseed Yellow 50%">
      <a:srgbClr val="FFEBA6"/>
    </a:custClr>
    <a:custClr name="Sunflower Orange 50%">
      <a:srgbClr val="FFC17F"/>
    </a:custClr>
    <a:custClr name="Palm Fruit Red 50%">
      <a:srgbClr val="ED7F7F"/>
    </a:custClr>
    <a:custClr name="Shea Brown 50%">
      <a:srgbClr val="C4A08D"/>
    </a:custClr>
    <a:custClr name="White">
      <a:srgbClr val="FFFFFF"/>
    </a:custClr>
    <a:custClr name="Coconut Shell 50%">
      <a:srgbClr val="A09187"/>
    </a:custClr>
    <a:custClr name="Black Olive Navy 50%">
      <a:srgbClr val="7F92A6"/>
    </a:custClr>
    <a:custClr name="AAK Sky Blue 25%">
      <a:srgbClr val="C7D9F2"/>
    </a:custClr>
    <a:custClr name="Soya Bean Green 25%">
      <a:srgbClr val="D2DEC3"/>
    </a:custClr>
    <a:custClr name="Palm Leaf Green 25%">
      <a:srgbClr val="EBF4CE"/>
    </a:custClr>
    <a:custClr name="Rapeseed Yellow 25%">
      <a:srgbClr val="FFF5D3"/>
    </a:custClr>
    <a:custClr name="Sunflower Orange 25%">
      <a:srgbClr val="FFE0BF"/>
    </a:custClr>
    <a:custClr name="Palm Fruit Red 25%">
      <a:srgbClr val="F6BFBF"/>
    </a:custClr>
    <a:custClr name="Shea Brown 25%">
      <a:srgbClr val="E2CFC6"/>
    </a:custClr>
    <a:custClr name="White">
      <a:srgbClr val="FFFFFF"/>
    </a:custClr>
    <a:custClr name="Coconut Shell 25%">
      <a:srgbClr val="D0C8C3"/>
    </a:custClr>
    <a:custClr name="Black Olive Navy 25%">
      <a:srgbClr val="BFC9D3"/>
    </a:custClr>
  </a:custClr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7">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A135C586-252D-472A-A64D-92FB8C5113B2}">
  <we:reference id="wa104381063" version="1.0.0.1" store="en-US" storeType="OMEX"/>
  <we:alternateReferences>
    <we:reference id="WA104381063" version="1.0.0.1"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1455c80-a63d-45a0-bebb-f6c55f89d3d4">
      <Terms xmlns="http://schemas.microsoft.com/office/infopath/2007/PartnerControls"/>
    </lcf76f155ced4ddcb4097134ff3c332f>
    <TaxCatchAll xmlns="4c5e112a-3df1-4895-94c7-5dfc138efbe9" xsi:nil="true"/>
    <SharedWithUsers xmlns="4c5e112a-3df1-4895-94c7-5dfc138efbe9">
      <UserInfo>
        <DisplayName>Ellen Hemme</DisplayName>
        <AccountId>153</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B9FED54F1F956469E51E7FF2314746D" ma:contentTypeVersion="16" ma:contentTypeDescription="Create a new document." ma:contentTypeScope="" ma:versionID="94b47117d78347d0ffd90b76e68f0d06">
  <xsd:schema xmlns:xsd="http://www.w3.org/2001/XMLSchema" xmlns:xs="http://www.w3.org/2001/XMLSchema" xmlns:p="http://schemas.microsoft.com/office/2006/metadata/properties" xmlns:ns2="61455c80-a63d-45a0-bebb-f6c55f89d3d4" xmlns:ns3="4c5e112a-3df1-4895-94c7-5dfc138efbe9" targetNamespace="http://schemas.microsoft.com/office/2006/metadata/properties" ma:root="true" ma:fieldsID="1a6ba2034e1f2c0f7fc2008aede52214" ns2:_="" ns3:_="">
    <xsd:import namespace="61455c80-a63d-45a0-bebb-f6c55f89d3d4"/>
    <xsd:import namespace="4c5e112a-3df1-4895-94c7-5dfc138efbe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bjectDetectorVersions"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455c80-a63d-45a0-bebb-f6c55f89d3d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a355ffa-8fa6-42ae-a745-2760b2df6f74"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c5e112a-3df1-4895-94c7-5dfc138efbe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8c734a4e-e14c-4859-a041-6b6dcf88181a}" ma:internalName="TaxCatchAll" ma:showField="CatchAllData" ma:web="4c5e112a-3df1-4895-94c7-5dfc138efbe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4B9F62-174C-4F8E-AFC7-329F855DE520}">
  <ds:schemaRefs>
    <ds:schemaRef ds:uri="http://purl.org/dc/elements/1.1/"/>
    <ds:schemaRef ds:uri="http://schemas.openxmlformats.org/package/2006/metadata/core-properties"/>
    <ds:schemaRef ds:uri="http://schemas.microsoft.com/office/2006/metadata/properties"/>
    <ds:schemaRef ds:uri="4c5e112a-3df1-4895-94c7-5dfc138efbe9"/>
    <ds:schemaRef ds:uri="http://purl.org/dc/dcmitype/"/>
    <ds:schemaRef ds:uri="61455c80-a63d-45a0-bebb-f6c55f89d3d4"/>
    <ds:schemaRef ds:uri="http://www.w3.org/XML/1998/namespace"/>
    <ds:schemaRef ds:uri="http://schemas.microsoft.com/office/infopath/2007/PartnerControls"/>
    <ds:schemaRef ds:uri="http://schemas.microsoft.com/office/2006/documentManagement/types"/>
    <ds:schemaRef ds:uri="http://purl.org/dc/terms/"/>
  </ds:schemaRefs>
</ds:datastoreItem>
</file>

<file path=customXml/itemProps2.xml><?xml version="1.0" encoding="utf-8"?>
<ds:datastoreItem xmlns:ds="http://schemas.openxmlformats.org/officeDocument/2006/customXml" ds:itemID="{270FC9FC-60AA-4D6D-B914-551CC25215DD}"/>
</file>

<file path=customXml/itemProps3.xml><?xml version="1.0" encoding="utf-8"?>
<ds:datastoreItem xmlns:ds="http://schemas.openxmlformats.org/officeDocument/2006/customXml" ds:itemID="{B94F92EA-E1CB-4E2F-A416-1352D02213D3}">
  <ds:schemaRefs>
    <ds:schemaRef ds:uri="http://schemas.microsoft.com/sharepoint/v3/contenttype/forms"/>
  </ds:schemaRefs>
</ds:datastoreItem>
</file>

<file path=docMetadata/LabelInfo.xml><?xml version="1.0" encoding="utf-8"?>
<clbl:labelList xmlns:clbl="http://schemas.microsoft.com/office/2020/mipLabelMetadata">
  <clbl:label id="{3ead7b91-47cd-4bef-8f3a-fe484682600b}" enabled="0" method="" siteId="{3ead7b91-47cd-4bef-8f3a-fe484682600b}" removed="1"/>
</clbl:labelList>
</file>

<file path=docProps/app.xml><?xml version="1.0" encoding="utf-8"?>
<Properties xmlns="http://schemas.openxmlformats.org/officeDocument/2006/extended-properties" xmlns:vt="http://schemas.openxmlformats.org/officeDocument/2006/docPropsVTypes">
  <Template>AAK PowerPoint template (20250212)</Template>
  <TotalTime>3614</TotalTime>
  <Words>3759</Words>
  <Application>Microsoft Office PowerPoint</Application>
  <PresentationFormat>Widescreen</PresentationFormat>
  <Paragraphs>494</Paragraphs>
  <Slides>37</Slides>
  <Notes>10</Notes>
  <HiddenSlides>0</HiddenSlides>
  <MMClips>1</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54" baseType="lpstr">
      <vt:lpstr>Work Sans Light Italic</vt:lpstr>
      <vt:lpstr>Work Sans Light</vt:lpstr>
      <vt:lpstr>Work Sans Medium Roman</vt:lpstr>
      <vt:lpstr>Playfair Display Black</vt:lpstr>
      <vt:lpstr>Work Sans</vt:lpstr>
      <vt:lpstr>Arial</vt:lpstr>
      <vt:lpstr>Wingdings</vt:lpstr>
      <vt:lpstr>Work Sans Regular Roman</vt:lpstr>
      <vt:lpstr>Work Sans SemiBold</vt:lpstr>
      <vt:lpstr>Work Sans Medium</vt:lpstr>
      <vt:lpstr>Calibri</vt:lpstr>
      <vt:lpstr>Playfair Display</vt:lpstr>
      <vt:lpstr>Times New Roman</vt:lpstr>
      <vt:lpstr>WORK SANS LIGHT ROMAN</vt:lpstr>
      <vt:lpstr>2_AAK 16:9 White Background</vt:lpstr>
      <vt:lpstr>1_AAK 16:9 Grey Background</vt:lpstr>
      <vt:lpstr>think-cell Slide</vt:lpstr>
      <vt:lpstr>AAK Personal Care</vt:lpstr>
      <vt:lpstr>Agenda</vt:lpstr>
      <vt:lpstr>Discover how  Lipex® SheaSolveTM  enables the creation of high-performance formulations in different categories. </vt:lpstr>
      <vt:lpstr>LIPEX® SheaSolve™</vt:lpstr>
      <vt:lpstr>The benefits of LIPEX® SheaSolve™</vt:lpstr>
      <vt:lpstr>LIPEX® SheaSolve™ in Suncare</vt:lpstr>
      <vt:lpstr>LIPEX® SheaSolve™ in suncare with inorganic UV filters Provides SPF boosting &amp; ensure the SPF value that you formulate for</vt:lpstr>
      <vt:lpstr>LIPEX® SheaSolve™ in suncare with inorganic UV filters Achieve low viscosity and high flowability mineral UV filter dispersions</vt:lpstr>
      <vt:lpstr>LIPEX® SheaSolve™ in suncare with inorganic UV filters   Reduced ghosting of your formulations</vt:lpstr>
      <vt:lpstr>LIPEX® SheaSolve™ in suncare with organic UV filters   Provides solubilization of organic filters</vt:lpstr>
      <vt:lpstr>LIPEX® SheaSolve™ in suncare  Photostability et photoxicity datas</vt:lpstr>
      <vt:lpstr>LIPEX® SheaSolve™ in suncare  Get inspired with our formulations</vt:lpstr>
      <vt:lpstr>LIPEX® SheaSolve™ in Make-up</vt:lpstr>
      <vt:lpstr>LIPEX® SheaSolve in make-up  Shows the best dispersing capabilities and processing conditions</vt:lpstr>
      <vt:lpstr>PowerPoint Presentation</vt:lpstr>
      <vt:lpstr> LIPEX® SheaSolve in make-up  Able to produce the lowest viscosity dispersions at different levels and with different coating</vt:lpstr>
      <vt:lpstr>LIPEX® SheaSolve™ in Make-up  Get inspired with our formulations</vt:lpstr>
      <vt:lpstr>LIPEX® SheaSolve™ in Hair care</vt:lpstr>
      <vt:lpstr>LIPEX® SheaSolve™ in Hair Care</vt:lpstr>
      <vt:lpstr>Achieve natural, lightweight and silicon-like textures in skin care &amp; hair care with  Lipex® SheaLuxe TRTM </vt:lpstr>
      <vt:lpstr>LIPEX® SheaLuxe TR™</vt:lpstr>
      <vt:lpstr>The benefits of LIPEX® SheaLuxe TR™</vt:lpstr>
      <vt:lpstr>LIPEX® SheaLuxe TR™  Processed to have a low viscosity</vt:lpstr>
      <vt:lpstr>LIPEX® SheaLuxe TR™ in Skin care</vt:lpstr>
      <vt:lpstr>LIPEX® SheaLuxe TR™ in skincare Similar sensory profile in application and after-feel to a low viscosity dimethicone</vt:lpstr>
      <vt:lpstr>LIPEX® SheaLuxe TR ™ in skincare Show a similar short and long-term effect in reducing TEWL than dimethicone</vt:lpstr>
      <vt:lpstr>LIPEX® SheaLuxe TR  reduces the soaping effect</vt:lpstr>
      <vt:lpstr>PowerPoint Presentation</vt:lpstr>
      <vt:lpstr>LIPEX® SheaLuxe TR in skin care Get inspired with our formulations</vt:lpstr>
      <vt:lpstr>LIPEX® SheaLuxe TR™ in Hair care</vt:lpstr>
      <vt:lpstr>LIPEX® SheaLuxe TR in haircare A superior short- and long-term anti-frizzing effect to dimethicone</vt:lpstr>
      <vt:lpstr>LIPEX® SheaLuxe TR in haircare – in formulation Has a superior short- and long-term anti-frizzing effect to dimethicone</vt:lpstr>
      <vt:lpstr>LIPEX® SheaLuxe TR in haircare  A higher long-term shine effect than dimethicone</vt:lpstr>
      <vt:lpstr>LIPEX® SheaLuxe TR in haircare – in formulation Has a higher long-term shine effect than dimethicone</vt:lpstr>
      <vt:lpstr>LIPEX® SheaLuxe TR in haircare Show a similar combing ease effect than dimethicone </vt:lpstr>
      <vt:lpstr>LIPEX® SheaLuxe™ in haircare  Get inspired with our formulations</vt:lpstr>
      <vt:lpstr>PowerPoint Presentation</vt:lpstr>
    </vt:vector>
  </TitlesOfParts>
  <Company>AA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harlotte Leproust</dc:creator>
  <cp:lastModifiedBy>Charlotte Leproust</cp:lastModifiedBy>
  <cp:revision>4</cp:revision>
  <cp:lastPrinted>2021-01-07T14:29:43Z</cp:lastPrinted>
  <dcterms:created xsi:type="dcterms:W3CDTF">2025-04-16T11:40:33Z</dcterms:created>
  <dcterms:modified xsi:type="dcterms:W3CDTF">2025-06-18T10:04: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B9FED54F1F956469E51E7FF2314746D</vt:lpwstr>
  </property>
  <property fmtid="{D5CDD505-2E9C-101B-9397-08002B2CF9AE}" pid="3" name="MediaServiceImageTags">
    <vt:lpwstr/>
  </property>
</Properties>
</file>